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4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15.xml" ContentType="application/vnd.openxmlformats-officedocument.presentationml.notesSlid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256" r:id="rId2"/>
    <p:sldId id="257" r:id="rId3"/>
    <p:sldId id="325" r:id="rId4"/>
    <p:sldId id="350" r:id="rId5"/>
    <p:sldId id="258" r:id="rId6"/>
    <p:sldId id="261" r:id="rId7"/>
    <p:sldId id="260" r:id="rId8"/>
    <p:sldId id="348" r:id="rId9"/>
    <p:sldId id="326" r:id="rId10"/>
    <p:sldId id="339" r:id="rId11"/>
    <p:sldId id="340" r:id="rId12"/>
    <p:sldId id="341" r:id="rId13"/>
    <p:sldId id="266" r:id="rId14"/>
    <p:sldId id="288" r:id="rId15"/>
    <p:sldId id="291" r:id="rId16"/>
    <p:sldId id="327" r:id="rId17"/>
    <p:sldId id="336" r:id="rId18"/>
    <p:sldId id="329" r:id="rId19"/>
    <p:sldId id="330" r:id="rId20"/>
    <p:sldId id="335" r:id="rId21"/>
    <p:sldId id="332" r:id="rId22"/>
    <p:sldId id="333" r:id="rId23"/>
    <p:sldId id="349" r:id="rId24"/>
    <p:sldId id="338" r:id="rId25"/>
    <p:sldId id="344" r:id="rId26"/>
    <p:sldId id="331" r:id="rId27"/>
    <p:sldId id="342" r:id="rId28"/>
    <p:sldId id="345" r:id="rId29"/>
    <p:sldId id="343" r:id="rId30"/>
    <p:sldId id="347" r:id="rId31"/>
    <p:sldId id="337" r:id="rId32"/>
    <p:sldId id="316" r:id="rId33"/>
  </p:sldIdLst>
  <p:sldSz cx="12192000" cy="6858000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679C"/>
    <a:srgbClr val="6FBDD1"/>
    <a:srgbClr val="4472C4"/>
    <a:srgbClr val="7FAF4B"/>
    <a:srgbClr val="FFC409"/>
    <a:srgbClr val="729ACA"/>
    <a:srgbClr val="AFC97A"/>
    <a:srgbClr val="276A7C"/>
    <a:srgbClr val="5F7530"/>
    <a:srgbClr val="2C4D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31" autoAdjust="0"/>
    <p:restoredTop sz="92954" autoAdjust="0"/>
  </p:normalViewPr>
  <p:slideViewPr>
    <p:cSldViewPr snapToGrid="0">
      <p:cViewPr varScale="1">
        <p:scale>
          <a:sx n="64" d="100"/>
          <a:sy n="64" d="100"/>
        </p:scale>
        <p:origin x="72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.gudkov\Desktop\&#1051;&#1080;&#1087;&#1077;&#1094;&#1082;\&#1050;&#1086;&#1087;&#1080;&#1103;%20&#1051;&#1080;&#1087;&#1077;&#1094;&#1082;&#1072;&#1103;%20&#1086;&#1073;&#1083;&#1072;&#1089;&#1090;&#1100;%20(&#1075;&#1072;&#1079;%202018)%202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6;&#1072;&#1079;&#1074;&#1080;&#1090;&#1080;&#1077;%20&#1058;&#1086;&#1074;&#1072;&#1088;&#1085;&#1099;&#1093;%20&#1056;&#1099;&#1085;&#1082;&#1086;&#1074;\&#1057;&#1090;&#1072;&#1090;&#1080;&#1089;&#1090;&#1080;&#1082;&#1072;\&#1054;&#1073;&#1097;&#1072;&#1103;%20&#1089;&#1090;&#1072;&#1090;&#1080;&#1089;&#1090;&#1080;&#1082;&#1072;%20&#1087;&#1086;%20&#1089;&#1077;&#1082;&#1094;&#1080;&#1103;&#1084;%20%202016-2019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\\SHARE\Homes\&#1054;&#1073;&#1097;&#1080;&#1077;%20&#1076;&#1086;&#1082;&#1091;&#1084;&#1077;&#1085;&#1090;&#1099;\&#1041;&#1072;&#1085;&#1082;%20&#1087;&#1088;&#1077;&#1079;&#1077;&#1085;&#1090;&#1072;&#1094;&#1080;&#1081;\1_&#1054;&#1073;&#1097;&#1077;&#1073;&#1080;&#1088;&#1078;&#1077;&#1074;&#1072;&#1103;%20&#1087;&#1088;&#1077;&#1079;&#1077;&#1085;&#1090;&#1072;&#1094;&#1080;&#1103;%20&amp;%20&#1050;&#1088;&#1072;&#1090;&#1082;&#1072;&#1103;%20&#1089;&#1087;&#1088;&#1072;&#1074;&#1082;&#1072;\&#1054;&#1073;&#1097;&#1077;&#1073;&#1080;&#1088;&#1078;&#1077;&#1074;&#1072;&#1103;%20&#1087;&#1088;&#1077;&#1079;&#1077;&#1085;&#1090;&#1072;&#1094;&#1080;&#1103;\2018\&#1080;&#1089;&#1093;&#1086;&#1076;&#1085;&#1080;&#1082;&#1080;2018\&#1060;&#1072;&#1081;&#1083;-&#1080;&#1089;&#1093;&#1086;&#1076;&#1085;&#1080;&#1082;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328697027492211"/>
          <c:y val="0.11158573928258968"/>
          <c:w val="0.8403625399952398"/>
          <c:h val="0.7909529017206183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EB2DA">
                <a:alpha val="84706"/>
              </a:srgb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A17-4F94-9689-D76BECBF106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A17-4F94-9689-D76BECBF106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A17-4F94-9689-D76BECBF106B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A17-4F94-9689-D76BECBF106B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A17-4F94-9689-D76BECBF106B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A17-4F94-9689-D76BECBF106B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A17-4F94-9689-D76BECBF106B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A17-4F94-9689-D76BECBF106B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A17-4F94-9689-D76BECBF106B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A17-4F94-9689-D76BECBF106B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9A17-4F94-9689-D76BECBF106B}"/>
              </c:ext>
            </c:extLst>
          </c:dPt>
          <c:dLbls>
            <c:dLbl>
              <c:idx val="0"/>
              <c:layout>
                <c:manualLayout>
                  <c:x val="0"/>
                  <c:y val="-8.772236803732874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8EB2DA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9A17-4F94-9689-D76BECBF106B}"/>
                </c:ext>
              </c:extLst>
            </c:dLbl>
            <c:dLbl>
              <c:idx val="1"/>
              <c:layout>
                <c:manualLayout>
                  <c:x val="-2.3343060834038372E-3"/>
                  <c:y val="-8.707895888013998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8EB2DA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A17-4F94-9689-D76BECBF106B}"/>
                </c:ext>
              </c:extLst>
            </c:dLbl>
            <c:dLbl>
              <c:idx val="2"/>
              <c:layout>
                <c:manualLayout>
                  <c:x val="0"/>
                  <c:y val="-5.476341498979302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8EB2DA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9A17-4F94-9689-D76BECBF106B}"/>
                </c:ext>
              </c:extLst>
            </c:dLbl>
            <c:dLbl>
              <c:idx val="3"/>
              <c:layout>
                <c:manualLayout>
                  <c:x val="-4.2795117156225114E-17"/>
                  <c:y val="1.543817439486645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8EB2DA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A17-4F94-9689-D76BECBF106B}"/>
                </c:ext>
              </c:extLst>
            </c:dLbl>
            <c:dLbl>
              <c:idx val="4"/>
              <c:layout>
                <c:manualLayout>
                  <c:x val="0"/>
                  <c:y val="-1.285469524642761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8EB2DA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9A17-4F94-9689-D76BECBF10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lt1"/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сл 2 Все секции'!$B$7:$L$7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'сл 2 Все секции'!$B$8:$L$8</c:f>
              <c:numCache>
                <c:formatCode>General</c:formatCode>
                <c:ptCount val="11"/>
                <c:pt idx="0">
                  <c:v>52</c:v>
                </c:pt>
                <c:pt idx="1">
                  <c:v>1192</c:v>
                </c:pt>
                <c:pt idx="2">
                  <c:v>9179</c:v>
                </c:pt>
                <c:pt idx="3">
                  <c:v>19350</c:v>
                </c:pt>
                <c:pt idx="4">
                  <c:v>18239</c:v>
                </c:pt>
                <c:pt idx="5">
                  <c:v>94940</c:v>
                </c:pt>
                <c:pt idx="6">
                  <c:v>131812</c:v>
                </c:pt>
                <c:pt idx="7">
                  <c:v>107181</c:v>
                </c:pt>
                <c:pt idx="8">
                  <c:v>130220</c:v>
                </c:pt>
                <c:pt idx="9" formatCode="[$-10419]#\ ##0">
                  <c:v>160120</c:v>
                </c:pt>
                <c:pt idx="10" formatCode="[$-10419]#\ ##0">
                  <c:v>1757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A17-4F94-9689-D76BECBF106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06206208"/>
        <c:axId val="68523072"/>
      </c:barChart>
      <c:catAx>
        <c:axId val="106206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ru-RU"/>
          </a:p>
        </c:txPr>
        <c:crossAx val="68523072"/>
        <c:crosses val="autoZero"/>
        <c:auto val="1"/>
        <c:lblAlgn val="ctr"/>
        <c:lblOffset val="100"/>
        <c:noMultiLvlLbl val="0"/>
      </c:catAx>
      <c:valAx>
        <c:axId val="68523072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06206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86900886192482E-2"/>
          <c:y val="4.7844912782477766E-2"/>
          <c:w val="0.91435766671977359"/>
          <c:h val="0.76891885162177454"/>
        </c:manualLayout>
      </c:layout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12137728"/>
        <c:axId val="43778624"/>
      </c:barChart>
      <c:catAx>
        <c:axId val="1121377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3778624"/>
        <c:crosses val="autoZero"/>
        <c:auto val="1"/>
        <c:lblAlgn val="ctr"/>
        <c:lblOffset val="100"/>
        <c:noMultiLvlLbl val="0"/>
      </c:catAx>
      <c:valAx>
        <c:axId val="43778624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112137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86894900783744E-2"/>
          <c:y val="6.2067138986425623E-2"/>
          <c:w val="0.91435766671977359"/>
          <c:h val="0.76861949777623739"/>
        </c:manualLayout>
      </c:layout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1"/>
        <c:axId val="112137728"/>
        <c:axId val="43778624"/>
      </c:barChart>
      <c:catAx>
        <c:axId val="1121377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3778624"/>
        <c:crosses val="autoZero"/>
        <c:auto val="1"/>
        <c:lblAlgn val="ctr"/>
        <c:lblOffset val="100"/>
        <c:noMultiLvlLbl val="0"/>
      </c:catAx>
      <c:valAx>
        <c:axId val="43778624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112137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26511576899215"/>
          <c:y val="2.6296487549543422E-2"/>
          <c:w val="0.87106429487588155"/>
          <c:h val="0.6868171748688701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D$39</c:f>
              <c:strCache>
                <c:ptCount val="1"/>
                <c:pt idx="0">
                  <c:v>Цена ФАС России на ГРС (опт.цена+ПССУ+доплата за калорийность)</c:v>
                </c:pt>
              </c:strCache>
            </c:strRef>
          </c:tx>
          <c:spPr>
            <a:ln w="63500" cap="rnd">
              <a:solidFill>
                <a:schemeClr val="tx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Лист1!$C$40:$C$51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Лист1!$D$40:$D$51</c:f>
              <c:numCache>
                <c:formatCode>#,##0.00</c:formatCode>
                <c:ptCount val="12"/>
                <c:pt idx="0">
                  <c:v>4729.41</c:v>
                </c:pt>
                <c:pt idx="1">
                  <c:v>4729.41</c:v>
                </c:pt>
                <c:pt idx="2">
                  <c:v>4729.41</c:v>
                </c:pt>
                <c:pt idx="3">
                  <c:v>4729.41</c:v>
                </c:pt>
                <c:pt idx="4">
                  <c:v>4729.41</c:v>
                </c:pt>
                <c:pt idx="5">
                  <c:v>4729.41</c:v>
                </c:pt>
                <c:pt idx="6">
                  <c:v>4729.41</c:v>
                </c:pt>
                <c:pt idx="7">
                  <c:v>4887.71</c:v>
                </c:pt>
                <c:pt idx="8">
                  <c:v>4887.71</c:v>
                </c:pt>
                <c:pt idx="9">
                  <c:v>4887.71</c:v>
                </c:pt>
                <c:pt idx="10">
                  <c:v>4887.71</c:v>
                </c:pt>
                <c:pt idx="11">
                  <c:v>4887.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F78-48C8-ACFF-898AD64427BE}"/>
            </c:ext>
          </c:extLst>
        </c:ser>
        <c:ser>
          <c:idx val="1"/>
          <c:order val="1"/>
          <c:tx>
            <c:strRef>
              <c:f>Лист1!$E$39</c:f>
              <c:strCache>
                <c:ptCount val="1"/>
                <c:pt idx="0">
                  <c:v>Цена газа, приобретенного на Бирже (цена торгов+цена транспортировки до ГРС+вознаграждения координаторов+стоимость отвлечения оборотных средств)</c:v>
                </c:pt>
              </c:strCache>
            </c:strRef>
          </c:tx>
          <c:spPr>
            <a:ln w="76200" cap="rnd">
              <a:solidFill>
                <a:srgbClr val="6FBDD1"/>
              </a:solidFill>
              <a:round/>
            </a:ln>
            <a:effectLst/>
          </c:spPr>
          <c:marker>
            <c:symbol val="none"/>
          </c:marker>
          <c:dPt>
            <c:idx val="9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BF78-48C8-ACFF-898AD64427BE}"/>
              </c:ext>
            </c:extLst>
          </c:dPt>
          <c:cat>
            <c:strRef>
              <c:f>Лист1!$C$40:$C$51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Лист1!$E$40:$E$51</c:f>
              <c:numCache>
                <c:formatCode>#,##0.00</c:formatCode>
                <c:ptCount val="12"/>
                <c:pt idx="0">
                  <c:v>4571.68</c:v>
                </c:pt>
                <c:pt idx="1">
                  <c:v>4544.82</c:v>
                </c:pt>
                <c:pt idx="2">
                  <c:v>4565.7700000000004</c:v>
                </c:pt>
                <c:pt idx="3">
                  <c:v>4525.45</c:v>
                </c:pt>
                <c:pt idx="4">
                  <c:v>4487.09</c:v>
                </c:pt>
                <c:pt idx="5">
                  <c:v>4530.57</c:v>
                </c:pt>
                <c:pt idx="6">
                  <c:v>4575.3999999999996</c:v>
                </c:pt>
                <c:pt idx="7">
                  <c:v>4650.49</c:v>
                </c:pt>
                <c:pt idx="8">
                  <c:v>4742.87</c:v>
                </c:pt>
                <c:pt idx="9">
                  <c:v>4817.8100000000004</c:v>
                </c:pt>
                <c:pt idx="10">
                  <c:v>4775.34</c:v>
                </c:pt>
                <c:pt idx="11">
                  <c:v>4826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F78-48C8-ACFF-898AD64427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9630687"/>
        <c:axId val="459643167"/>
      </c:lineChart>
      <c:catAx>
        <c:axId val="459630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59643167"/>
        <c:crosses val="autoZero"/>
        <c:auto val="1"/>
        <c:lblAlgn val="ctr"/>
        <c:lblOffset val="100"/>
        <c:noMultiLvlLbl val="0"/>
      </c:catAx>
      <c:valAx>
        <c:axId val="459643167"/>
        <c:scaling>
          <c:orientation val="minMax"/>
          <c:max val="4900"/>
          <c:min val="44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596306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9518789293917846E-2"/>
          <c:y val="0.79688355663271937"/>
          <c:w val="0.87441892991804315"/>
          <c:h val="0.180184485554556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86900886192482E-2"/>
          <c:y val="4.7844912782477766E-2"/>
          <c:w val="0.91435766671977359"/>
          <c:h val="0.76891885162177454"/>
        </c:manualLayout>
      </c:layout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12137728"/>
        <c:axId val="43778624"/>
      </c:barChart>
      <c:catAx>
        <c:axId val="1121377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3778624"/>
        <c:crosses val="autoZero"/>
        <c:auto val="1"/>
        <c:lblAlgn val="ctr"/>
        <c:lblOffset val="100"/>
        <c:noMultiLvlLbl val="0"/>
      </c:catAx>
      <c:valAx>
        <c:axId val="43778624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112137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86894900783744E-2"/>
          <c:y val="6.2067138986425623E-2"/>
          <c:w val="0.91435766671977359"/>
          <c:h val="0.76861949777623739"/>
        </c:manualLayout>
      </c:layout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1"/>
        <c:axId val="112137728"/>
        <c:axId val="43778624"/>
      </c:barChart>
      <c:catAx>
        <c:axId val="1121377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3778624"/>
        <c:crosses val="autoZero"/>
        <c:auto val="1"/>
        <c:lblAlgn val="ctr"/>
        <c:lblOffset val="100"/>
        <c:noMultiLvlLbl val="0"/>
      </c:catAx>
      <c:valAx>
        <c:axId val="43778624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112137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08573928258967"/>
          <c:y val="9.3067220764071146E-2"/>
          <c:w val="0.86235870516185475"/>
          <c:h val="0.7909529017206183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69A12B">
                <a:alpha val="84706"/>
              </a:srgbClr>
            </a:solidFill>
            <a:ln w="9525" cap="flat" cmpd="sng" algn="ctr">
              <a:solidFill>
                <a:srgbClr val="9CBC5C">
                  <a:alpha val="50000"/>
                </a:srgb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A8C-42A7-A8CB-39A9395F948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A8C-42A7-A8CB-39A9395F948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A8C-42A7-A8CB-39A9395F948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A8C-42A7-A8CB-39A9395F948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A8C-42A7-A8CB-39A9395F948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A8C-42A7-A8CB-39A9395F948D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A8C-42A7-A8CB-39A9395F948D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FA8C-42A7-A8CB-39A9395F948D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FA8C-42A7-A8CB-39A9395F948D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FA8C-42A7-A8CB-39A9395F948D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FA8C-42A7-A8CB-39A9395F948D}"/>
              </c:ext>
            </c:extLst>
          </c:dPt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9A12B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A8C-42A7-A8CB-39A9395F948D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9A12B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A8C-42A7-A8CB-39A9395F948D}"/>
                </c:ext>
              </c:extLst>
            </c:dLbl>
            <c:dLbl>
              <c:idx val="2"/>
              <c:layout>
                <c:manualLayout>
                  <c:x val="2.3372285916301761E-3"/>
                  <c:y val="-1.0623359580052578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69A12B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FA8C-42A7-A8CB-39A9395F948D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/>
                <c15:showLeaderLines val="0"/>
              </c:ext>
            </c:extLst>
          </c:dLbls>
          <c:cat>
            <c:numRef>
              <c:f>'сл 2 Все секции'!$B$4:$L$4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'сл 2 Все секции'!$B$5:$L$5</c:f>
              <c:numCache>
                <c:formatCode>General</c:formatCode>
                <c:ptCount val="11"/>
                <c:pt idx="0">
                  <c:v>0.37</c:v>
                </c:pt>
                <c:pt idx="1">
                  <c:v>13.21</c:v>
                </c:pt>
                <c:pt idx="2">
                  <c:v>90.8</c:v>
                </c:pt>
                <c:pt idx="3">
                  <c:v>284.85500000000002</c:v>
                </c:pt>
                <c:pt idx="4">
                  <c:v>271.60000000000002</c:v>
                </c:pt>
                <c:pt idx="5">
                  <c:v>409.4</c:v>
                </c:pt>
                <c:pt idx="6">
                  <c:v>536.6</c:v>
                </c:pt>
                <c:pt idx="7">
                  <c:v>532.49599999999998</c:v>
                </c:pt>
                <c:pt idx="8">
                  <c:v>610.9</c:v>
                </c:pt>
                <c:pt idx="9">
                  <c:v>763</c:v>
                </c:pt>
                <c:pt idx="10">
                  <c:v>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A8C-42A7-A8CB-39A9395F948D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1"/>
        <c:axId val="104795136"/>
        <c:axId val="68521344"/>
      </c:barChart>
      <c:catAx>
        <c:axId val="104795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ru-RU"/>
          </a:p>
        </c:txPr>
        <c:crossAx val="68521344"/>
        <c:crosses val="autoZero"/>
        <c:auto val="1"/>
        <c:lblAlgn val="ctr"/>
        <c:lblOffset val="100"/>
        <c:noMultiLvlLbl val="0"/>
      </c:catAx>
      <c:valAx>
        <c:axId val="68521344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04795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330887866529276E-2"/>
          <c:y val="5.35632183908046E-2"/>
          <c:w val="0.89916039916575263"/>
          <c:h val="0.8496804555475688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69A12B">
                <a:alpha val="85000"/>
              </a:srgbClr>
            </a:solidFill>
            <a:ln w="9525" cap="flat" cmpd="sng" algn="ctr">
              <a:solidFill>
                <a:srgbClr val="69A12B">
                  <a:alpha val="50000"/>
                </a:srgb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B13-42D0-9065-11F9320924B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1B13-42D0-9065-11F9320924B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B13-42D0-9065-11F9320924B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B13-42D0-9065-11F9320924B1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1B13-42D0-9065-11F9320924B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1B13-42D0-9065-11F9320924B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1B13-42D0-9065-11F9320924B1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1B13-42D0-9065-11F9320924B1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1B13-42D0-9065-11F9320924B1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1B13-42D0-9065-11F9320924B1}"/>
              </c:ext>
            </c:extLst>
          </c:dPt>
          <c:dLbls>
            <c:dLbl>
              <c:idx val="0"/>
              <c:layout>
                <c:manualLayout>
                  <c:x val="8.4059059763013019E-3"/>
                  <c:y val="-7.239533553622910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9CBC5C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9783978144644463E-2"/>
                      <c:h val="5.794021019349126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1B13-42D0-9065-11F9320924B1}"/>
                </c:ext>
              </c:extLst>
            </c:dLbl>
            <c:dLbl>
              <c:idx val="1"/>
              <c:layout>
                <c:manualLayout>
                  <c:x val="-3.8526623995199637E-17"/>
                  <c:y val="-8.021441180214990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9CBC5C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B13-42D0-9065-11F9320924B1}"/>
                </c:ext>
              </c:extLst>
            </c:dLbl>
            <c:dLbl>
              <c:idx val="2"/>
              <c:layout>
                <c:manualLayout>
                  <c:x val="2.1014764940752869E-3"/>
                  <c:y val="-1.70070134168889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9CBC5C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1B13-42D0-9065-11F9320924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lt1"/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сл Нефтепродукты'!$A$46:$A$56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'сл Нефтепродукты'!$B$46:$B$56</c:f>
              <c:numCache>
                <c:formatCode>General</c:formatCode>
                <c:ptCount val="11"/>
                <c:pt idx="0">
                  <c:v>0</c:v>
                </c:pt>
                <c:pt idx="1">
                  <c:v>13</c:v>
                </c:pt>
                <c:pt idx="2">
                  <c:v>90</c:v>
                </c:pt>
                <c:pt idx="3">
                  <c:v>273</c:v>
                </c:pt>
                <c:pt idx="4">
                  <c:v>254</c:v>
                </c:pt>
                <c:pt idx="5">
                  <c:v>389</c:v>
                </c:pt>
                <c:pt idx="6">
                  <c:v>522</c:v>
                </c:pt>
                <c:pt idx="7">
                  <c:v>496</c:v>
                </c:pt>
                <c:pt idx="8">
                  <c:v>566</c:v>
                </c:pt>
                <c:pt idx="9" formatCode="[$-10419]#\ ##0">
                  <c:v>676</c:v>
                </c:pt>
                <c:pt idx="10">
                  <c:v>8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B13-42D0-9065-11F9320924B1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1"/>
        <c:axId val="106767360"/>
        <c:axId val="43828928"/>
      </c:barChart>
      <c:catAx>
        <c:axId val="106767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ru-RU"/>
          </a:p>
        </c:txPr>
        <c:crossAx val="43828928"/>
        <c:crosses val="autoZero"/>
        <c:auto val="1"/>
        <c:lblAlgn val="ctr"/>
        <c:lblOffset val="100"/>
        <c:noMultiLvlLbl val="0"/>
      </c:catAx>
      <c:valAx>
        <c:axId val="43828928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06767360"/>
        <c:crosses val="autoZero"/>
        <c:crossBetween val="between"/>
        <c:majorUnit val="1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572781414998986"/>
          <c:y val="8.8184680168515286E-2"/>
          <c:w val="0.82899833629638719"/>
          <c:h val="0.7991680705107111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EB2DA">
                <a:alpha val="85000"/>
              </a:srgb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801-4AF7-AB11-D5136683002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801-4AF7-AB11-D5136683002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801-4AF7-AB11-D5136683002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801-4AF7-AB11-D51366830021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801-4AF7-AB11-D5136683002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801-4AF7-AB11-D5136683002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801-4AF7-AB11-D51366830021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801-4AF7-AB11-D51366830021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801-4AF7-AB11-D51366830021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B801-4AF7-AB11-D5136683002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8EB2DA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B801-4AF7-AB11-D51366830021}"/>
                </c:ext>
              </c:extLst>
            </c:dLbl>
            <c:dLbl>
              <c:idx val="1"/>
              <c:layout>
                <c:manualLayout>
                  <c:x val="0"/>
                  <c:y val="4.846497186842759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8EB2DA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801-4AF7-AB11-D513668300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lt1"/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'сл Нефтепродукты'!$C$46:$C$56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'сл Нефтепродукты'!$D$46:$D$56</c:f>
              <c:numCache>
                <c:formatCode>General</c:formatCode>
                <c:ptCount val="11"/>
                <c:pt idx="0">
                  <c:v>27</c:v>
                </c:pt>
                <c:pt idx="1">
                  <c:v>846</c:v>
                </c:pt>
                <c:pt idx="2">
                  <c:v>4920</c:v>
                </c:pt>
                <c:pt idx="3">
                  <c:v>11568</c:v>
                </c:pt>
                <c:pt idx="4">
                  <c:v>9574</c:v>
                </c:pt>
                <c:pt idx="5">
                  <c:v>12637</c:v>
                </c:pt>
                <c:pt idx="6">
                  <c:v>17392</c:v>
                </c:pt>
                <c:pt idx="7">
                  <c:v>15923</c:v>
                </c:pt>
                <c:pt idx="8">
                  <c:v>17164</c:v>
                </c:pt>
                <c:pt idx="9" formatCode="[$-10419]#\ ##0">
                  <c:v>18724</c:v>
                </c:pt>
                <c:pt idx="10" formatCode="#,##0">
                  <c:v>19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801-4AF7-AB11-D51366830021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1"/>
        <c:axId val="111508480"/>
        <c:axId val="43832384"/>
      </c:barChart>
      <c:catAx>
        <c:axId val="111508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ru-RU"/>
          </a:p>
        </c:txPr>
        <c:crossAx val="43832384"/>
        <c:crosses val="autoZero"/>
        <c:auto val="1"/>
        <c:lblAlgn val="ctr"/>
        <c:lblOffset val="100"/>
        <c:noMultiLvlLbl val="0"/>
      </c:catAx>
      <c:valAx>
        <c:axId val="43832384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11508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210311984197849"/>
          <c:y val="0.25704336957880264"/>
          <c:w val="0.32398923072760233"/>
          <c:h val="0.59860867391576056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F46-48A7-B4C9-51C5529A705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F46-48A7-B4C9-51C5529A705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F46-48A7-B4C9-51C5529A705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F46-48A7-B4C9-51C5529A705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F46-48A7-B4C9-51C5529A7055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F46-48A7-B4C9-51C5529A7055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5F46-48A7-B4C9-51C5529A7055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5F46-48A7-B4C9-51C5529A7055}"/>
              </c:ext>
            </c:extLst>
          </c:dPt>
          <c:dLbls>
            <c:dLbl>
              <c:idx val="0"/>
              <c:layout>
                <c:manualLayout>
                  <c:x val="0.18584298648910813"/>
                  <c:y val="-0.106928357024426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5F46-48A7-B4C9-51C5529A7055}"/>
                </c:ext>
              </c:extLst>
            </c:dLbl>
            <c:dLbl>
              <c:idx val="1"/>
              <c:layout>
                <c:manualLayout>
                  <c:x val="0.23316105096428752"/>
                  <c:y val="4.289507573416409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972916896019887"/>
                      <c:h val="0.2058301974621015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5F46-48A7-B4C9-51C5529A7055}"/>
                </c:ext>
              </c:extLst>
            </c:dLbl>
            <c:dLbl>
              <c:idx val="2"/>
              <c:layout>
                <c:manualLayout>
                  <c:x val="0.12799765405274752"/>
                  <c:y val="-0.2405693207438665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52920962199314"/>
                      <c:h val="0.226190476190476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5F46-48A7-B4C9-51C5529A7055}"/>
                </c:ext>
              </c:extLst>
            </c:dLbl>
            <c:dLbl>
              <c:idx val="3"/>
              <c:layout>
                <c:manualLayout>
                  <c:x val="-9.2944981404907534E-2"/>
                  <c:y val="0.3470609996748427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rgbClr val="FFC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5F46-48A7-B4C9-51C5529A7055}"/>
                </c:ext>
              </c:extLst>
            </c:dLbl>
            <c:dLbl>
              <c:idx val="4"/>
              <c:layout>
                <c:manualLayout>
                  <c:x val="-1.4595650423019975E-2"/>
                  <c:y val="0.2019244291609600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1" i="0" u="none" strike="noStrike" kern="1200" baseline="0">
                        <a:solidFill>
                          <a:srgbClr val="5B9BD5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BF6392C-7DA1-48AF-ADEA-F57E3E813393}" type="CATEGORYNAME">
                      <a:rPr lang="ru-RU" sz="1050">
                        <a:solidFill>
                          <a:srgbClr val="5B9BD5"/>
                        </a:solidFill>
                      </a:rPr>
                      <a:pPr>
                        <a:defRPr sz="1100" b="1">
                          <a:solidFill>
                            <a:srgbClr val="5B9BD5"/>
                          </a:solidFill>
                        </a:defRPr>
                      </a:pPr>
                      <a:t>[ИМЯ КАТЕГОРИИ]</a:t>
                    </a:fld>
                    <a:r>
                      <a:rPr lang="ru-RU" sz="1050" baseline="0" dirty="0">
                        <a:solidFill>
                          <a:srgbClr val="5B9BD5"/>
                        </a:solidFill>
                      </a:rPr>
                      <a:t>
</a:t>
                    </a:r>
                    <a:fld id="{47FE9B84-2907-4107-88F3-52BACA921210}" type="PERCENTAGE">
                      <a:rPr lang="ru-RU" sz="1050" baseline="0">
                        <a:solidFill>
                          <a:srgbClr val="5B9BD5"/>
                        </a:solidFill>
                      </a:rPr>
                      <a:pPr>
                        <a:defRPr sz="1100" b="1">
                          <a:solidFill>
                            <a:srgbClr val="5B9BD5"/>
                          </a:solidFill>
                        </a:defRPr>
                      </a:pPr>
                      <a:t>[ПРОЦЕНТ]</a:t>
                    </a:fld>
                    <a:endParaRPr lang="ru-RU" sz="1050" baseline="0" dirty="0">
                      <a:solidFill>
                        <a:srgbClr val="5B9BD5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rgbClr val="5B9BD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879350464509748"/>
                      <c:h val="0.3498127434760293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5F46-48A7-B4C9-51C5529A7055}"/>
                </c:ext>
              </c:extLst>
            </c:dLbl>
            <c:dLbl>
              <c:idx val="5"/>
              <c:layout>
                <c:manualLayout>
                  <c:x val="-0.14443084960082678"/>
                  <c:y val="7.098221070486861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5F46-48A7-B4C9-51C5529A7055}"/>
                </c:ext>
              </c:extLst>
            </c:dLbl>
            <c:dLbl>
              <c:idx val="6"/>
              <c:layout>
                <c:manualLayout>
                  <c:x val="-7.9746935627891868E-2"/>
                  <c:y val="-0.110247469066366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accent1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5F46-48A7-B4C9-51C5529A7055}"/>
                </c:ext>
              </c:extLst>
            </c:dLbl>
            <c:dLbl>
              <c:idx val="7"/>
              <c:layout>
                <c:manualLayout>
                  <c:x val="1.113016062674301E-2"/>
                  <c:y val="-0.1075105944823595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accent4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F-5F46-48A7-B4C9-51C5529A70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B$23:$B$30</c:f>
              <c:strCache>
                <c:ptCount val="8"/>
                <c:pt idx="0">
                  <c:v>Самовывоз А/Т</c:v>
                </c:pt>
                <c:pt idx="1">
                  <c:v>Франко-вагон станция назначения</c:v>
                </c:pt>
                <c:pt idx="2">
                  <c:v>Франко-вагон станция отправления</c:v>
                </c:pt>
                <c:pt idx="3">
                  <c:v>Франко-резервуар </c:v>
                </c:pt>
                <c:pt idx="4">
                  <c:v>Ф/в станция назначения с возможностью поставки в резервуар покупателя</c:v>
                </c:pt>
                <c:pt idx="5">
                  <c:v>Самовывоз Ж/Д транспортом</c:v>
                </c:pt>
                <c:pt idx="6">
                  <c:v>Франко-труба</c:v>
                </c:pt>
                <c:pt idx="7">
                  <c:v>Прочие</c:v>
                </c:pt>
              </c:strCache>
            </c:strRef>
          </c:cat>
          <c:val>
            <c:numRef>
              <c:f>Лист1!$C$23:$C$30</c:f>
              <c:numCache>
                <c:formatCode>_-* #\ ##0\ _₽_-;\-* #\ ##0\ _₽_-;_-* "-"??\ _₽_-;_-@_-</c:formatCode>
                <c:ptCount val="8"/>
                <c:pt idx="0">
                  <c:v>345078</c:v>
                </c:pt>
                <c:pt idx="1">
                  <c:v>846884</c:v>
                </c:pt>
                <c:pt idx="2">
                  <c:v>16377794</c:v>
                </c:pt>
                <c:pt idx="3">
                  <c:v>161100</c:v>
                </c:pt>
                <c:pt idx="4">
                  <c:v>458640</c:v>
                </c:pt>
                <c:pt idx="5">
                  <c:v>757008</c:v>
                </c:pt>
                <c:pt idx="6">
                  <c:v>909700</c:v>
                </c:pt>
                <c:pt idx="7">
                  <c:v>116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F46-48A7-B4C9-51C5529A70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4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86900886192482E-2"/>
          <c:y val="4.7844912782477766E-2"/>
          <c:w val="0.91435766671977359"/>
          <c:h val="0.76891885162177454"/>
        </c:manualLayout>
      </c:layout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12137728"/>
        <c:axId val="43778624"/>
      </c:barChart>
      <c:catAx>
        <c:axId val="1121377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3778624"/>
        <c:crosses val="autoZero"/>
        <c:auto val="1"/>
        <c:lblAlgn val="ctr"/>
        <c:lblOffset val="100"/>
        <c:noMultiLvlLbl val="0"/>
      </c:catAx>
      <c:valAx>
        <c:axId val="43778624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112137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86894900783744E-2"/>
          <c:y val="6.2067138986425623E-2"/>
          <c:w val="0.91435766671977359"/>
          <c:h val="0.76861949777623739"/>
        </c:manualLayout>
      </c:layout>
      <c:barChart>
        <c:barDir val="col"/>
        <c:grouping val="clustered"/>
        <c:varyColors val="0"/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1"/>
        <c:axId val="112137728"/>
        <c:axId val="43778624"/>
      </c:barChart>
      <c:catAx>
        <c:axId val="1121377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3778624"/>
        <c:crosses val="autoZero"/>
        <c:auto val="1"/>
        <c:lblAlgn val="ctr"/>
        <c:lblOffset val="100"/>
        <c:noMultiLvlLbl val="0"/>
      </c:catAx>
      <c:valAx>
        <c:axId val="43778624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112137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170042050921955E-2"/>
          <c:y val="2.5164112937702317E-2"/>
          <c:w val="0.93982928161255064"/>
          <c:h val="0.59946935274152746"/>
        </c:manualLayout>
      </c:layout>
      <c:lineChart>
        <c:grouping val="standard"/>
        <c:varyColors val="0"/>
        <c:ser>
          <c:idx val="0"/>
          <c:order val="0"/>
          <c:spPr>
            <a:ln w="31750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37F6-4043-B84D-1198C138949B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37F6-4043-B84D-1198C138949B}"/>
                </c:ext>
              </c:extLst>
            </c:dLbl>
            <c:dLbl>
              <c:idx val="8"/>
              <c:layout>
                <c:manualLayout>
                  <c:x val="-8.2501489924599897E-3"/>
                  <c:y val="1.02271426899772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37F6-4043-B84D-1198C138949B}"/>
                </c:ext>
              </c:extLst>
            </c:dLbl>
            <c:dLbl>
              <c:idx val="9"/>
              <c:layout>
                <c:manualLayout>
                  <c:x val="-2.9777652497035855E-2"/>
                  <c:y val="-3.24203936334021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7F6-4043-B84D-1198C138949B}"/>
                </c:ext>
              </c:extLst>
            </c:dLbl>
            <c:dLbl>
              <c:idx val="10"/>
              <c:layout>
                <c:manualLayout>
                  <c:x val="-8.2501489924600366E-3"/>
                  <c:y val="2.00688818415261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37F6-4043-B84D-1198C138949B}"/>
                </c:ext>
              </c:extLst>
            </c:dLbl>
            <c:dLbl>
              <c:idx val="13"/>
              <c:layout>
                <c:manualLayout>
                  <c:x val="-2.3446033819219423E-2"/>
                  <c:y val="3.64717804274414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37F6-4043-B84D-1198C138949B}"/>
                </c:ext>
              </c:extLst>
            </c:dLbl>
            <c:dLbl>
              <c:idx val="15"/>
              <c:layout>
                <c:manualLayout>
                  <c:x val="-2.3446033819219423E-2"/>
                  <c:y val="3.31912007102584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37F6-4043-B84D-1198C138949B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37F6-4043-B84D-1198C138949B}"/>
                </c:ext>
              </c:extLst>
            </c:dLbl>
            <c:dLbl>
              <c:idx val="18"/>
              <c:layout>
                <c:manualLayout>
                  <c:x val="-2.0913386348092946E-2"/>
                  <c:y val="-3.57009733505852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37F6-4043-B84D-1198C138949B}"/>
                </c:ext>
              </c:extLst>
            </c:dLbl>
            <c:dLbl>
              <c:idx val="19"/>
              <c:layout>
                <c:manualLayout>
                  <c:x val="-2.3446033819219423E-2"/>
                  <c:y val="2.99106209930753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37F6-4043-B84D-1198C138949B}"/>
                </c:ext>
              </c:extLst>
            </c:dLbl>
            <c:dLbl>
              <c:idx val="21"/>
              <c:layout>
                <c:manualLayout>
                  <c:x val="-2.3446033819219517E-2"/>
                  <c:y val="3.64717804274413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37F6-4043-B84D-1198C138949B}"/>
                </c:ext>
              </c:extLst>
            </c:dLbl>
            <c:dLbl>
              <c:idx val="26"/>
              <c:layout>
                <c:manualLayout>
                  <c:x val="-2.2179710083656139E-2"/>
                  <c:y val="2.66300412758923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37F6-4043-B84D-1198C138949B}"/>
                </c:ext>
              </c:extLst>
            </c:dLbl>
            <c:dLbl>
              <c:idx val="29"/>
              <c:layout>
                <c:manualLayout>
                  <c:x val="-1.4581767670276514E-2"/>
                  <c:y val="3.31912007102584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37F6-4043-B84D-1198C138949B}"/>
                </c:ext>
              </c:extLst>
            </c:dLbl>
            <c:dLbl>
              <c:idx val="31"/>
              <c:layout>
                <c:manualLayout>
                  <c:x val="-2.2179710083656323E-2"/>
                  <c:y val="2.66300412758923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37F6-4043-B84D-1198C138949B}"/>
                </c:ext>
              </c:extLst>
            </c:dLbl>
            <c:dLbl>
              <c:idx val="32"/>
              <c:layout>
                <c:manualLayout>
                  <c:x val="-2.3446033819219423E-2"/>
                  <c:y val="-4.22621327849513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B-37F6-4043-B84D-1198C138949B}"/>
                </c:ext>
              </c:extLst>
            </c:dLbl>
            <c:dLbl>
              <c:idx val="3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37F6-4043-B84D-1198C138949B}"/>
                </c:ext>
              </c:extLst>
            </c:dLbl>
            <c:dLbl>
              <c:idx val="34"/>
              <c:layout>
                <c:manualLayout>
                  <c:x val="-1.9647062612529659E-2"/>
                  <c:y val="-2.9139813916219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C-37F6-4043-B84D-1198C138949B}"/>
                </c:ext>
              </c:extLst>
            </c:dLbl>
            <c:dLbl>
              <c:idx val="35"/>
              <c:layout>
                <c:manualLayout>
                  <c:x val="-2.3446033819219517E-2"/>
                  <c:y val="4.18468822437230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37F6-4043-B84D-1198C138949B}"/>
                </c:ext>
              </c:extLst>
            </c:dLbl>
            <c:dLbl>
              <c:idx val="38"/>
              <c:layout>
                <c:manualLayout>
                  <c:x val="-2.2179710083656139E-2"/>
                  <c:y val="4.84081654000667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E-37F6-4043-B84D-1198C138949B}"/>
                </c:ext>
              </c:extLst>
            </c:dLbl>
            <c:dLbl>
              <c:idx val="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37F6-4043-B84D-1198C138949B}"/>
                </c:ext>
              </c:extLst>
            </c:dLbl>
            <c:dLbl>
              <c:idx val="42"/>
              <c:layout>
                <c:manualLayout>
                  <c:x val="-2.6288880750293821E-2"/>
                  <c:y val="-3.36063735974480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5-37F6-4043-B84D-1198C138949B}"/>
                </c:ext>
              </c:extLst>
            </c:dLbl>
            <c:dLbl>
              <c:idx val="43"/>
              <c:layout>
                <c:manualLayout>
                  <c:x val="-2.7555204485857108E-2"/>
                  <c:y val="4.80613455324756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4-37F6-4043-B84D-1198C138949B}"/>
                </c:ext>
              </c:extLst>
            </c:dLbl>
            <c:dLbl>
              <c:idx val="45"/>
              <c:layout>
                <c:manualLayout>
                  <c:x val="-2.6288880750293821E-2"/>
                  <c:y val="3.71723163151524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37F6-4043-B84D-1198C138949B}"/>
                </c:ext>
              </c:extLst>
            </c:dLbl>
            <c:dLbl>
              <c:idx val="46"/>
              <c:layout>
                <c:manualLayout>
                  <c:x val="-1.9957262072477392E-2"/>
                  <c:y val="-4.44954028147711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37F6-4043-B84D-1198C138949B}"/>
                </c:ext>
              </c:extLst>
            </c:dLbl>
            <c:dLbl>
              <c:idx val="48"/>
              <c:layout>
                <c:manualLayout>
                  <c:x val="-2.5022557014730537E-2"/>
                  <c:y val="4.261683092381404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37F6-4043-B84D-1198C138949B}"/>
                </c:ext>
              </c:extLst>
            </c:dLbl>
            <c:dLbl>
              <c:idx val="50"/>
              <c:layout>
                <c:manualLayout>
                  <c:x val="-2.3731106225535276E-4"/>
                  <c:y val="4.80613455324756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0-37F6-4043-B84D-1198C138949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сл 10 Газ все БП'!$A$6:$A$56</c:f>
              <c:strCache>
                <c:ptCount val="51"/>
                <c:pt idx="0">
                  <c:v>Октябрь 2014</c:v>
                </c:pt>
                <c:pt idx="1">
                  <c:v>Ноябрь 2014</c:v>
                </c:pt>
                <c:pt idx="2">
                  <c:v>Декабрь 2014</c:v>
                </c:pt>
                <c:pt idx="3">
                  <c:v>Январь 2015</c:v>
                </c:pt>
                <c:pt idx="4">
                  <c:v>Февраль 2015</c:v>
                </c:pt>
                <c:pt idx="5">
                  <c:v>Март 2015</c:v>
                </c:pt>
                <c:pt idx="6">
                  <c:v>Апрель 2015</c:v>
                </c:pt>
                <c:pt idx="7">
                  <c:v>Май 2015</c:v>
                </c:pt>
                <c:pt idx="8">
                  <c:v>Июнь 2015</c:v>
                </c:pt>
                <c:pt idx="9">
                  <c:v>Июль 2015</c:v>
                </c:pt>
                <c:pt idx="10">
                  <c:v>Август 2015</c:v>
                </c:pt>
                <c:pt idx="11">
                  <c:v>Сентябрь 2015</c:v>
                </c:pt>
                <c:pt idx="12">
                  <c:v>Октябрь 2015</c:v>
                </c:pt>
                <c:pt idx="13">
                  <c:v>Ноябрь 2015</c:v>
                </c:pt>
                <c:pt idx="14">
                  <c:v>Декабрь 2015</c:v>
                </c:pt>
                <c:pt idx="15">
                  <c:v>Январь 2016</c:v>
                </c:pt>
                <c:pt idx="16">
                  <c:v>Февраль 2016</c:v>
                </c:pt>
                <c:pt idx="17">
                  <c:v>Март 2016</c:v>
                </c:pt>
                <c:pt idx="18">
                  <c:v>Апрель 2016</c:v>
                </c:pt>
                <c:pt idx="19">
                  <c:v>Май 2016</c:v>
                </c:pt>
                <c:pt idx="20">
                  <c:v>Июнь 2016</c:v>
                </c:pt>
                <c:pt idx="21">
                  <c:v>Июль 2016</c:v>
                </c:pt>
                <c:pt idx="22">
                  <c:v>Август 2016</c:v>
                </c:pt>
                <c:pt idx="23">
                  <c:v>Сентябрь 2016</c:v>
                </c:pt>
                <c:pt idx="24">
                  <c:v>Октябрь 2016</c:v>
                </c:pt>
                <c:pt idx="25">
                  <c:v>Ноябрь 2016</c:v>
                </c:pt>
                <c:pt idx="26">
                  <c:v>Декабрь 2016</c:v>
                </c:pt>
                <c:pt idx="27">
                  <c:v>Январь 2017</c:v>
                </c:pt>
                <c:pt idx="28">
                  <c:v>Февраль 2017</c:v>
                </c:pt>
                <c:pt idx="29">
                  <c:v> Март 2017</c:v>
                </c:pt>
                <c:pt idx="30">
                  <c:v>Апрель 2017</c:v>
                </c:pt>
                <c:pt idx="31">
                  <c:v>Май 2017</c:v>
                </c:pt>
                <c:pt idx="32">
                  <c:v>Июнь 2017</c:v>
                </c:pt>
                <c:pt idx="33">
                  <c:v>Июль 2017</c:v>
                </c:pt>
                <c:pt idx="34">
                  <c:v>Август 2017</c:v>
                </c:pt>
                <c:pt idx="35">
                  <c:v>Сентябрь 2017</c:v>
                </c:pt>
                <c:pt idx="36">
                  <c:v>Октябрь 2017</c:v>
                </c:pt>
                <c:pt idx="37">
                  <c:v>Ноябрь 2017</c:v>
                </c:pt>
                <c:pt idx="38">
                  <c:v>Декабрь 2017</c:v>
                </c:pt>
                <c:pt idx="39">
                  <c:v>Январь 2018</c:v>
                </c:pt>
                <c:pt idx="40">
                  <c:v>Февраль 2018</c:v>
                </c:pt>
                <c:pt idx="41">
                  <c:v>Март 2018</c:v>
                </c:pt>
                <c:pt idx="42">
                  <c:v>Апрель 2018</c:v>
                </c:pt>
                <c:pt idx="43">
                  <c:v>Май 2018</c:v>
                </c:pt>
                <c:pt idx="44">
                  <c:v>Июнь 2018</c:v>
                </c:pt>
                <c:pt idx="45">
                  <c:v>Июль 2018</c:v>
                </c:pt>
                <c:pt idx="46">
                  <c:v>Август 2018</c:v>
                </c:pt>
                <c:pt idx="47">
                  <c:v>Сентябрь 2018</c:v>
                </c:pt>
                <c:pt idx="48">
                  <c:v>Октябрь 2018</c:v>
                </c:pt>
                <c:pt idx="49">
                  <c:v>Ноябрь 2018</c:v>
                </c:pt>
                <c:pt idx="50">
                  <c:v>Декабрь 2018</c:v>
                </c:pt>
              </c:strCache>
            </c:strRef>
          </c:cat>
          <c:val>
            <c:numRef>
              <c:f>'сл 10 Газ все БП'!$D$6:$D$56</c:f>
              <c:numCache>
                <c:formatCode>0</c:formatCode>
                <c:ptCount val="51"/>
                <c:pt idx="0">
                  <c:v>55.250399999999999</c:v>
                </c:pt>
                <c:pt idx="1">
                  <c:v>534.12699999999995</c:v>
                </c:pt>
                <c:pt idx="2">
                  <c:v>845.81740000000002</c:v>
                </c:pt>
                <c:pt idx="3">
                  <c:v>360.53120000000001</c:v>
                </c:pt>
                <c:pt idx="4">
                  <c:v>406.42189999999999</c:v>
                </c:pt>
                <c:pt idx="5">
                  <c:v>347.58429999999998</c:v>
                </c:pt>
                <c:pt idx="6">
                  <c:v>641.75</c:v>
                </c:pt>
                <c:pt idx="7">
                  <c:v>923.45450000000005</c:v>
                </c:pt>
                <c:pt idx="8">
                  <c:v>1448.1106</c:v>
                </c:pt>
                <c:pt idx="9">
                  <c:v>2314.8325</c:v>
                </c:pt>
                <c:pt idx="10">
                  <c:v>2602.3561</c:v>
                </c:pt>
                <c:pt idx="11">
                  <c:v>3573.3787000000002</c:v>
                </c:pt>
                <c:pt idx="12">
                  <c:v>4463.2929999999997</c:v>
                </c:pt>
                <c:pt idx="13">
                  <c:v>1045.0365999999999</c:v>
                </c:pt>
                <c:pt idx="14">
                  <c:v>2915.1651000000002</c:v>
                </c:pt>
                <c:pt idx="15">
                  <c:v>2513.8870000000002</c:v>
                </c:pt>
                <c:pt idx="16">
                  <c:v>3065.8307</c:v>
                </c:pt>
                <c:pt idx="17">
                  <c:v>3310.5068999999999</c:v>
                </c:pt>
                <c:pt idx="18">
                  <c:v>3186.9969999999998</c:v>
                </c:pt>
                <c:pt idx="19">
                  <c:v>2922.3719000000001</c:v>
                </c:pt>
                <c:pt idx="20">
                  <c:v>4653.5859</c:v>
                </c:pt>
                <c:pt idx="21">
                  <c:v>4227.7897000000003</c:v>
                </c:pt>
                <c:pt idx="22">
                  <c:v>5061.0466999999999</c:v>
                </c:pt>
                <c:pt idx="23">
                  <c:v>5782.2264999999998</c:v>
                </c:pt>
                <c:pt idx="24">
                  <c:v>4458.8188799999998</c:v>
                </c:pt>
                <c:pt idx="25">
                  <c:v>3937.56963</c:v>
                </c:pt>
                <c:pt idx="26">
                  <c:v>3411</c:v>
                </c:pt>
                <c:pt idx="27">
                  <c:v>3663.29259</c:v>
                </c:pt>
                <c:pt idx="28">
                  <c:v>4681.3880900000004</c:v>
                </c:pt>
                <c:pt idx="29" formatCode="General">
                  <c:v>4920.5685100000001</c:v>
                </c:pt>
                <c:pt idx="30" formatCode="General">
                  <c:v>6045.0626499999998</c:v>
                </c:pt>
                <c:pt idx="31" formatCode="General">
                  <c:v>5596.1064299999998</c:v>
                </c:pt>
                <c:pt idx="32" formatCode="General">
                  <c:v>5780.4061799999999</c:v>
                </c:pt>
                <c:pt idx="33" formatCode="0.00">
                  <c:v>5506.1463100000001</c:v>
                </c:pt>
                <c:pt idx="34" formatCode="0.00">
                  <c:v>5280.4331300000003</c:v>
                </c:pt>
                <c:pt idx="35" formatCode="0.00">
                  <c:v>4481.75101</c:v>
                </c:pt>
                <c:pt idx="36" formatCode="0.00">
                  <c:v>5737.7106599999997</c:v>
                </c:pt>
                <c:pt idx="37" formatCode="0.00">
                  <c:v>4636.85808</c:v>
                </c:pt>
                <c:pt idx="38" formatCode="0.00">
                  <c:v>4142.2997500000001</c:v>
                </c:pt>
                <c:pt idx="39" formatCode="0.00">
                  <c:v>4955.7825300000004</c:v>
                </c:pt>
                <c:pt idx="40" formatCode="0.00">
                  <c:v>5380.9537</c:v>
                </c:pt>
                <c:pt idx="41" formatCode="0.00">
                  <c:v>4703.9326099999998</c:v>
                </c:pt>
                <c:pt idx="42" formatCode="0.00">
                  <c:v>4538.0567199999996</c:v>
                </c:pt>
                <c:pt idx="43" formatCode="0.00">
                  <c:v>3556.2032300000001</c:v>
                </c:pt>
                <c:pt idx="44" formatCode="0.00">
                  <c:v>4645.7703499999998</c:v>
                </c:pt>
                <c:pt idx="45" formatCode="0.00">
                  <c:v>3101.0848500000002</c:v>
                </c:pt>
                <c:pt idx="46" formatCode="0.00">
                  <c:v>5200.1011699999999</c:v>
                </c:pt>
                <c:pt idx="47" formatCode="0.00">
                  <c:v>2722.1928800000001</c:v>
                </c:pt>
                <c:pt idx="48" formatCode="0.00">
                  <c:v>2242.79907</c:v>
                </c:pt>
                <c:pt idx="49" formatCode="0.00">
                  <c:v>4404.4485000000004</c:v>
                </c:pt>
                <c:pt idx="50" formatCode="0.00">
                  <c:v>2979.19178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37F6-4043-B84D-1198C13894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2271872"/>
        <c:axId val="43783808"/>
      </c:lineChart>
      <c:catAx>
        <c:axId val="112271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ru-RU"/>
          </a:p>
        </c:txPr>
        <c:crossAx val="43783808"/>
        <c:crosses val="autoZero"/>
        <c:auto val="1"/>
        <c:lblAlgn val="ctr"/>
        <c:lblOffset val="100"/>
        <c:tickLblSkip val="2"/>
        <c:noMultiLvlLbl val="0"/>
      </c:catAx>
      <c:valAx>
        <c:axId val="43783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ru-RU"/>
          </a:p>
        </c:txPr>
        <c:crossAx val="112271872"/>
        <c:crosses val="autoZero"/>
        <c:crossBetween val="between"/>
        <c:majorUnit val="10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86900886192482E-2"/>
          <c:y val="4.7844912782477766E-2"/>
          <c:w val="0.91435766671977359"/>
          <c:h val="0.7404870013837089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EB2DA">
                <a:alpha val="85000"/>
              </a:srgbClr>
            </a:solidFill>
            <a:ln w="9525" cap="flat" cmpd="sng" algn="ctr">
              <a:solidFill>
                <a:srgbClr val="8EB2DA">
                  <a:alpha val="50000"/>
                </a:srgbClr>
              </a:solidFill>
              <a:round/>
            </a:ln>
            <a:effectLst/>
          </c:spPr>
          <c:invertIfNegative val="0"/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C112-4E59-850E-4AB40B973FA8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C112-4E59-850E-4AB40B973FA8}"/>
              </c:ext>
            </c:extLst>
          </c:dPt>
          <c:dPt>
            <c:idx val="16"/>
            <c:invertIfNegative val="0"/>
            <c:bubble3D val="0"/>
            <c:spPr>
              <a:solidFill>
                <a:srgbClr val="8EB2DA">
                  <a:alpha val="85000"/>
                </a:srgbClr>
              </a:solidFill>
              <a:ln w="9525" cap="flat" cmpd="sng" algn="ctr">
                <a:solidFill>
                  <a:srgbClr val="8EB2DA">
                    <a:alpha val="50000"/>
                  </a:srgb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C112-4E59-850E-4AB40B973FA8}"/>
              </c:ext>
            </c:extLst>
          </c:dPt>
          <c:dLbls>
            <c:dLbl>
              <c:idx val="0"/>
              <c:layout>
                <c:manualLayout>
                  <c:x val="-1.2648984593731994E-17"/>
                  <c:y val="1.020752691724288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8EB2DA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C112-4E59-850E-4AB40B973FA8}"/>
                </c:ext>
              </c:extLst>
            </c:dLbl>
            <c:dLbl>
              <c:idx val="1"/>
              <c:layout>
                <c:manualLayout>
                  <c:x val="0"/>
                  <c:y val="-3.709257381419389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8EB2DA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C112-4E59-850E-4AB40B973FA8}"/>
                </c:ext>
              </c:extLst>
            </c:dLbl>
            <c:dLbl>
              <c:idx val="2"/>
              <c:layout>
                <c:manualLayout>
                  <c:x val="0"/>
                  <c:y val="9.178935203201456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8EB2DA"/>
                      </a:solidFill>
                      <a:latin typeface="Arial Black" panose="020B0A040201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C112-4E59-850E-4AB40B973F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lt1"/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сл 10 Газ все БП'!$I$5:$I$21</c:f>
              <c:strCache>
                <c:ptCount val="17"/>
                <c:pt idx="0">
                  <c:v>4 кв. 2014</c:v>
                </c:pt>
                <c:pt idx="1">
                  <c:v>1 кв. 2015</c:v>
                </c:pt>
                <c:pt idx="2">
                  <c:v>2 кв. 2015</c:v>
                </c:pt>
                <c:pt idx="3">
                  <c:v>3 кв. 2015</c:v>
                </c:pt>
                <c:pt idx="4">
                  <c:v>4 кв. 2015</c:v>
                </c:pt>
                <c:pt idx="5">
                  <c:v>1 кв. 2016</c:v>
                </c:pt>
                <c:pt idx="6">
                  <c:v>2 кв. 2016</c:v>
                </c:pt>
                <c:pt idx="7">
                  <c:v>3 кв. 2016</c:v>
                </c:pt>
                <c:pt idx="8">
                  <c:v>4 кв. 2016</c:v>
                </c:pt>
                <c:pt idx="9">
                  <c:v>1 кв. 2017</c:v>
                </c:pt>
                <c:pt idx="10">
                  <c:v>2 кв. 2017</c:v>
                </c:pt>
                <c:pt idx="11">
                  <c:v>3 кв. 2017</c:v>
                </c:pt>
                <c:pt idx="12">
                  <c:v>4 кв. 2017</c:v>
                </c:pt>
                <c:pt idx="13">
                  <c:v>1 кв. 2018</c:v>
                </c:pt>
                <c:pt idx="14">
                  <c:v>2 кв. 2018</c:v>
                </c:pt>
                <c:pt idx="15">
                  <c:v>3 кв. 2018</c:v>
                </c:pt>
                <c:pt idx="16">
                  <c:v>4 кв. 2018</c:v>
                </c:pt>
              </c:strCache>
            </c:strRef>
          </c:cat>
          <c:val>
            <c:numRef>
              <c:f>'сл 10 Газ все БП'!$J$5:$J$21</c:f>
              <c:numCache>
                <c:formatCode>0</c:formatCode>
                <c:ptCount val="17"/>
                <c:pt idx="0">
                  <c:v>534.20000000000005</c:v>
                </c:pt>
                <c:pt idx="1">
                  <c:v>417.20000000000005</c:v>
                </c:pt>
                <c:pt idx="2">
                  <c:v>1123.4000000000001</c:v>
                </c:pt>
                <c:pt idx="3">
                  <c:v>3096.4</c:v>
                </c:pt>
                <c:pt idx="4">
                  <c:v>3012.7</c:v>
                </c:pt>
                <c:pt idx="5">
                  <c:v>3173.1</c:v>
                </c:pt>
                <c:pt idx="6">
                  <c:v>4115.5</c:v>
                </c:pt>
                <c:pt idx="7">
                  <c:v>5557.1</c:v>
                </c:pt>
                <c:pt idx="8">
                  <c:v>4409.0230000000001</c:v>
                </c:pt>
                <c:pt idx="9">
                  <c:v>4562.63</c:v>
                </c:pt>
                <c:pt idx="10">
                  <c:v>6228.4400000000005</c:v>
                </c:pt>
                <c:pt idx="11">
                  <c:v>5000.88</c:v>
                </c:pt>
                <c:pt idx="12">
                  <c:v>4554.38</c:v>
                </c:pt>
                <c:pt idx="13">
                  <c:v>4792.79</c:v>
                </c:pt>
                <c:pt idx="14">
                  <c:v>4105.26</c:v>
                </c:pt>
                <c:pt idx="15">
                  <c:v>3410.88</c:v>
                </c:pt>
                <c:pt idx="16">
                  <c:v>2825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112-4E59-850E-4AB40B973FA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51"/>
        <c:axId val="112137728"/>
        <c:axId val="43778624"/>
      </c:barChart>
      <c:catAx>
        <c:axId val="1121377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3778624"/>
        <c:crosses val="autoZero"/>
        <c:auto val="1"/>
        <c:lblAlgn val="ctr"/>
        <c:lblOffset val="100"/>
        <c:noMultiLvlLbl val="0"/>
      </c:catAx>
      <c:valAx>
        <c:axId val="43778624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112137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05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0159CB-A8F7-4F58-B4FB-7BFA556D3B7A}" type="datetimeFigureOut">
              <a:rPr lang="ru-RU" smtClean="0"/>
              <a:t>13.02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CEC984-8666-4189-94A4-FC883392AAA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83754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71376E-6C61-47B8-AD90-7525529D0C48}" type="datetimeFigureOut">
              <a:rPr lang="ru-RU" smtClean="0"/>
              <a:t>13.0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C5A455-554C-46DF-9921-2D28E2942AF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2521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08717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53574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74824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87402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2108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67517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76471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53223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0807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00190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85067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9907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86117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69524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87838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03115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40750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C5A455-554C-46DF-9921-2D28E2942AFA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4785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3902242-79AD-4E13-B85E-BEB36939CC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CF16C82B-BD20-490B-9C69-A1B3E9E0F6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1757C51-04F3-44ED-BF8B-339561D111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3E652D-A4A4-4CA2-A0A0-B6E602F52322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97D8499-26B7-4412-BB81-AA0B4A891A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F63A6CD-B3E9-4D85-B9D4-10F6B0944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25C90C-EA0F-46C0-AEC2-905FB644DD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17609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D68AE0A-DC62-4706-BE15-E0772C4B5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42DF834-ECD3-468D-832B-93AEB557AA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D45BF94-847A-4181-8A10-5A680867BA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870EF-4953-4427-B82B-EFB9FC3382B6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C4C95A0-8260-4C89-9B09-DE568B5BF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84D0F4E-998A-4AD1-9FC7-D7C070154C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1CE372-5336-451C-9CA8-8E00F4C3D3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6946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1719948E-55A7-45D6-8252-1C0D28E694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366088F-93E3-464B-BB96-68E6720E55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12E62B1-F6FA-4087-8B26-65A200BB10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0AC5A9-A687-4D91-83C2-0B7CD3F9C360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61D1E70-0D94-4826-8E4D-AA4844207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8DCE818-921D-4F78-B198-46A8B1CA5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F65A25-4574-4E94-8EAB-B208F01715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82820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487490" y="116635"/>
            <a:ext cx="10704513" cy="62154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ru-RU" sz="3200" kern="1200" dirty="0">
                <a:solidFill>
                  <a:schemeClr val="tx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7488" y="692698"/>
            <a:ext cx="10704512" cy="5400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cs typeface="Segoe U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 userDrawn="1">
            <p:extLst/>
          </p:nvPr>
        </p:nvGraphicFramePr>
        <p:xfrm>
          <a:off x="143344" y="-25754"/>
          <a:ext cx="1307033" cy="67671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r:id="rId3" imgW="722384" imgH="4986299" progId="">
                  <p:embed/>
                </p:oleObj>
              </mc:Choice>
              <mc:Fallback>
                <p:oleObj r:id="rId3" imgW="722384" imgH="4986299" progId="">
                  <p:embed/>
                  <p:pic>
                    <p:nvPicPr>
                      <p:cNvPr id="7" name="Объект 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3344" y="-25754"/>
                        <a:ext cx="1307033" cy="67671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43345" y="6381329"/>
            <a:ext cx="1344679" cy="432048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ru-RU" dirty="0"/>
              <a:t>Слайд </a:t>
            </a:r>
            <a:fld id="{8A883B3C-0F63-49CF-83A2-AD4574F642BA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1488023" y="1268414"/>
            <a:ext cx="10703983" cy="4320827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532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47DDD7D-06F5-46CA-9F57-DC6A3B8CC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48FBC63-93B1-4AB5-8B03-84E2F09703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EF09AEF-A0FE-4D2C-B780-BD203083D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1D1533-A43F-4DD8-9DE6-C66E12C6FB32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79AD605-C527-445D-A972-76910B2C6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D543847-FB67-4FB3-A052-95866AB26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21C3D2-B0A6-4DCF-9D3C-263533E7A2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9422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00300B-BFA3-4A49-B3F4-B9E4A18564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8DDE468-1E72-47A0-841F-90978537FD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324193F-8AEA-4031-846B-B6ABB1779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2F3B4B-F7C8-4FB9-A324-42B6DC598343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61F2C0A-3376-40F2-9D96-E09F38771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F45C3FF-842B-4AAB-87BA-84368105D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061006-5916-47E3-AAA7-6119EB3E6DA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23938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1756AD6-0B5C-4D83-9A9E-EC57C29B2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BAC744E-965E-4E40-995B-FA303176A1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9843351-33F5-49D4-B999-D74842638B9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1F556D99-5E99-4454-A72C-C56335DEA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490131-471A-4751-967A-F4B67B20DDA5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5E192667-AEDD-4A7E-868A-0537A734A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AF69A40-5DCE-46FD-826C-89E66677F4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3A2044-84C9-4D7F-B004-317F9533B9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9185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FC3019B-0C64-45A7-93C9-10B274406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F5E895E-2954-48BE-A73D-420CAF2FD6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DFB94B3-9EB7-49EC-ADFE-220C20EAD15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95C29DEB-3CB9-4054-B11F-F3AE679621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B07E23ED-0AAE-4B99-8A97-3A59526D05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2C418EF7-0544-45AB-8CB8-5F40BBB79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E13D7F-85E3-460A-ACA8-EF99CA0B9C9C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5757E124-DAD9-447A-9AA7-526C18772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60B64A39-86E4-42B9-AFE7-74739A633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3A9C33-D0B0-4A8A-AC35-BFF82971BC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3275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6F7C27-45B5-4814-AA74-E2B1917BD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C528C32F-6AD0-4CFF-85C3-638C8B6AF4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D7E8A5-5837-4342-8997-3B926860C28E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D113294F-DB68-4ABF-B792-82692D8B8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6063B70F-1954-44E0-B99D-BAF5938BB3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5144FA-0696-4289-A641-3106478025C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47057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A03FB26E-A1E4-4004-8508-B70D64CD3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2D4F6-1C84-4800-B40D-25F1DE11BB6C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FB5090E8-5A0D-456C-9117-791D322256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F2E21E5C-6BD2-4DD6-8138-E80CCADFE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8F18E5-C73C-4524-A122-48E49DD45E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62842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46B84A1-684C-4628-A7B9-C5B14D5B5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40DF883-C449-4846-ADFC-67CAF8A90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0452B86-6EF8-42C6-B577-E5DE6398C9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425DAC13-84D9-4019-B881-DE14DD94AE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812968-032F-4E53-B917-EAE52BE4CDB9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40B82EA3-E917-4823-A922-649A5839D3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E544FE15-9FE5-461E-B409-BC0B33DEF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B5EF73-4D15-4F66-91AC-A5B63229DC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97615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D8A5DA4-678C-4FB1-8D2B-B73BFE832C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3EBD96DC-DCC7-4D46-9996-684671CEDE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3BD4027-3E2B-4759-8A8F-1DB164EACD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A3D26355-9740-4185-8E04-E9BA305BDA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3E6C04-D85D-4F1C-99F7-7BD4ADC26CE7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E50AD52B-D216-4ACE-BA2A-D36172F00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6D165E54-0A21-4BE6-AFD3-DBFB7E567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43570-92B5-4493-9BE7-0CDA9BB071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7415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587CB734-77D3-426C-B472-0DBF4BECEA6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:a16="http://schemas.microsoft.com/office/drawing/2014/main" id="{72C71D51-C872-47DE-93B4-15F4C2951F9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7B692FF-7855-44BD-9187-4D28AE29120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DFC1573-CE01-461A-A099-C0891976E918}" type="datetimeFigureOut">
              <a:rPr lang="ru-RU"/>
              <a:pPr>
                <a:defRPr/>
              </a:pPr>
              <a:t>13.02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26E98B5-C0B8-497C-B477-641A734860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FD7A4F1-9266-40EA-885E-2C5BA29CF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75BE66D-0CC7-42A6-A6FF-D55996A9C0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7" Type="http://schemas.openxmlformats.org/officeDocument/2006/relationships/chart" Target="../charts/chart9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notesSlide" Target="../notesSlides/notesSlide1.xml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w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slideLayout" Target="../slideLayouts/slideLayout12.xml"/><Relationship Id="rId128" Type="http://schemas.openxmlformats.org/officeDocument/2006/relationships/image" Target="../media/image23.png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134" Type="http://schemas.openxmlformats.org/officeDocument/2006/relationships/image" Target="../media/image29.png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24" Type="http://schemas.openxmlformats.org/officeDocument/2006/relationships/notesSlide" Target="../notesSlides/notesSlide16.xml"/><Relationship Id="rId129" Type="http://schemas.openxmlformats.org/officeDocument/2006/relationships/image" Target="../media/image24.png"/><Relationship Id="rId54" Type="http://schemas.openxmlformats.org/officeDocument/2006/relationships/tags" Target="../tags/tag54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image" Target="../media/image25.png"/><Relationship Id="rId135" Type="http://schemas.openxmlformats.org/officeDocument/2006/relationships/image" Target="../media/image30.png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image" Target="../media/image20.png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image" Target="../media/image26.png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image" Target="../media/image21.png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3" Type="http://schemas.openxmlformats.org/officeDocument/2006/relationships/tags" Target="../tags/tag3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image" Target="../media/image27.png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image" Target="../media/image22.png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26" Type="http://schemas.openxmlformats.org/officeDocument/2006/relationships/tags" Target="../tags/tag26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image" Target="../media/image2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33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2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hyperlink" Target="http://spimex.com/clearing/how_to/" TargetMode="External"/><Relationship Id="rId5" Type="http://schemas.openxmlformats.org/officeDocument/2006/relationships/hyperlink" Target="http://spimex.com/participant/how_to/" TargetMode="External"/><Relationship Id="rId4" Type="http://schemas.openxmlformats.org/officeDocument/2006/relationships/image" Target="../media/image2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2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w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2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hyperlink" Target="https://twitter.com/spimex" TargetMode="External"/><Relationship Id="rId3" Type="http://schemas.openxmlformats.org/officeDocument/2006/relationships/image" Target="../media/image36.wmf"/><Relationship Id="rId7" Type="http://schemas.openxmlformats.org/officeDocument/2006/relationships/hyperlink" Target="https://www.facebook.com/SPIMEX/" TargetMode="External"/><Relationship Id="rId12" Type="http://schemas.openxmlformats.org/officeDocument/2006/relationships/image" Target="../media/image4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wmf"/><Relationship Id="rId11" Type="http://schemas.openxmlformats.org/officeDocument/2006/relationships/hyperlink" Target="https://vk.com/spimex" TargetMode="External"/><Relationship Id="rId5" Type="http://schemas.openxmlformats.org/officeDocument/2006/relationships/hyperlink" Target="mailto:clients@spimex.com" TargetMode="External"/><Relationship Id="rId15" Type="http://schemas.openxmlformats.org/officeDocument/2006/relationships/image" Target="../media/image42.png"/><Relationship Id="rId10" Type="http://schemas.openxmlformats.org/officeDocument/2006/relationships/image" Target="../media/image39.png"/><Relationship Id="rId4" Type="http://schemas.openxmlformats.org/officeDocument/2006/relationships/hyperlink" Target="http://www.spimex.com/" TargetMode="External"/><Relationship Id="rId9" Type="http://schemas.openxmlformats.org/officeDocument/2006/relationships/hyperlink" Target="https://www.linkedin.com/company/saint-petersburg-international-mercantile-exchange?trk=company_logo" TargetMode="External"/><Relationship Id="rId14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E21363B-BE2C-4205-ABD6-7955FB24154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" y="0"/>
            <a:ext cx="12191814" cy="6858000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805478C-4668-476B-BA2D-033E3641A2A5}"/>
              </a:ext>
            </a:extLst>
          </p:cNvPr>
          <p:cNvSpPr/>
          <p:nvPr/>
        </p:nvSpPr>
        <p:spPr>
          <a:xfrm>
            <a:off x="0" y="402392"/>
            <a:ext cx="1219200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Санкт-Петербургская Международная Товарно-сырьевая Биржа»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8D8CB3A-2869-47B7-B60A-CC98A23F320C}"/>
              </a:ext>
            </a:extLst>
          </p:cNvPr>
          <p:cNvSpPr/>
          <p:nvPr/>
        </p:nvSpPr>
        <p:spPr>
          <a:xfrm>
            <a:off x="5473149" y="3265651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4500" b="1" dirty="0">
                <a:latin typeface="Arial" panose="020B0604020202020204" pitchFamily="34" charset="0"/>
                <a:cs typeface="Arial" panose="020B0604020202020204" pitchFamily="34" charset="0"/>
              </a:rPr>
              <a:t>Организованные торги товаром </a:t>
            </a:r>
            <a:endParaRPr lang="ru-RU" sz="3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F004596-91F9-40AB-9001-5CF6E5B3E45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" y="0"/>
            <a:ext cx="12191814" cy="68580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0B3F63A-AEAE-4EC2-97E8-DF97540979B5}"/>
              </a:ext>
            </a:extLst>
          </p:cNvPr>
          <p:cNvSpPr/>
          <p:nvPr/>
        </p:nvSpPr>
        <p:spPr>
          <a:xfrm>
            <a:off x="2495826" y="716433"/>
            <a:ext cx="7522818" cy="4770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endParaRPr lang="ru-RU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41FEDCC-1059-4C29-991C-ECFCE2248A66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10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13193" y="306647"/>
            <a:ext cx="445307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нефтепродуктов:</a:t>
            </a:r>
          </a:p>
          <a:p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лкий опт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34523" y="5906505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 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300210" y="1682776"/>
            <a:ext cx="4497050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Базисы поставки</a:t>
            </a:r>
            <a:endParaRPr lang="ru-RU" sz="2800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107092" y="2201053"/>
            <a:ext cx="4690168" cy="3359061"/>
          </a:xfrm>
          <a:prstGeom prst="rect">
            <a:avLst/>
          </a:prstGeom>
          <a:noFill/>
          <a:ln w="9525">
            <a:solidFill>
              <a:srgbClr val="77BAE7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Нефтебазы 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ункты сдачи для автотранспорта при заводах;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Балансовые пункты;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ЛПДС </a:t>
            </a:r>
          </a:p>
          <a:p>
            <a:pPr>
              <a:lnSpc>
                <a:spcPct val="150000"/>
              </a:lnSpc>
            </a:pPr>
            <a:r>
              <a:rPr lang="ru-RU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Всего более 80 базисов поставки</a:t>
            </a:r>
            <a:endParaRPr lang="ru-RU" sz="240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408221" y="1682776"/>
            <a:ext cx="4304224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Основные продавцы</a:t>
            </a:r>
            <a:endParaRPr lang="ru-RU" sz="2800" dirty="0">
              <a:solidFill>
                <a:prstClr val="white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107091" y="1682776"/>
            <a:ext cx="4690169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Базисы поставки</a:t>
            </a:r>
            <a:endParaRPr lang="ru-RU" sz="2800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416923" y="2201053"/>
            <a:ext cx="4295521" cy="3785652"/>
          </a:xfrm>
          <a:prstGeom prst="rect">
            <a:avLst/>
          </a:prstGeom>
          <a:noFill/>
          <a:ln w="9525">
            <a:solidFill>
              <a:srgbClr val="77BAE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400" dirty="0" smtClean="0"/>
              <a:t>ПАО </a:t>
            </a:r>
            <a:r>
              <a:rPr lang="ru-RU" sz="2400" dirty="0"/>
              <a:t>«НК «Роснефть» и дочерние компании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400" dirty="0" smtClean="0"/>
              <a:t>ОАО </a:t>
            </a:r>
            <a:r>
              <a:rPr lang="ru-RU" sz="2400" dirty="0"/>
              <a:t>«Сургутнефтегаз»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400" dirty="0" smtClean="0"/>
              <a:t>ООО </a:t>
            </a:r>
            <a:r>
              <a:rPr lang="ru-RU" sz="2400" dirty="0"/>
              <a:t>«ООО «ЛУКОЙЛ-РНП-</a:t>
            </a:r>
            <a:r>
              <a:rPr lang="ru-RU" sz="2400" dirty="0" err="1"/>
              <a:t>Трейдинг</a:t>
            </a:r>
            <a:r>
              <a:rPr lang="ru-RU" sz="2400" dirty="0"/>
              <a:t>»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400" dirty="0" smtClean="0"/>
              <a:t>ООО </a:t>
            </a:r>
            <a:r>
              <a:rPr lang="ru-RU" sz="2400" dirty="0"/>
              <a:t>«Газпром </a:t>
            </a:r>
            <a:r>
              <a:rPr lang="ru-RU" sz="2400" dirty="0" err="1"/>
              <a:t>Межрегионгаз</a:t>
            </a:r>
            <a:r>
              <a:rPr lang="ru-RU" sz="2400" dirty="0"/>
              <a:t>»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400" dirty="0"/>
              <a:t>(АО «Газпром </a:t>
            </a:r>
            <a:r>
              <a:rPr lang="ru-RU" sz="2400" dirty="0" err="1"/>
              <a:t>газэнергосеть</a:t>
            </a:r>
            <a:r>
              <a:rPr lang="ru-RU" sz="2400" dirty="0"/>
              <a:t>»)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400" dirty="0" smtClean="0"/>
              <a:t>АО </a:t>
            </a:r>
            <a:r>
              <a:rPr lang="ru-RU" sz="2400" dirty="0"/>
              <a:t>«</a:t>
            </a:r>
            <a:r>
              <a:rPr lang="ru-RU" sz="2400" dirty="0" err="1"/>
              <a:t>Транснефтепродукт</a:t>
            </a:r>
            <a:r>
              <a:rPr lang="ru-RU" sz="2400" dirty="0" smtClean="0"/>
              <a:t>».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6668186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F004596-91F9-40AB-9001-5CF6E5B3E45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5" y="21891"/>
            <a:ext cx="12191814" cy="68580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0B3F63A-AEAE-4EC2-97E8-DF97540979B5}"/>
              </a:ext>
            </a:extLst>
          </p:cNvPr>
          <p:cNvSpPr/>
          <p:nvPr/>
        </p:nvSpPr>
        <p:spPr>
          <a:xfrm>
            <a:off x="2495826" y="716433"/>
            <a:ext cx="7522818" cy="4770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endParaRPr lang="ru-RU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41FEDCC-1059-4C29-991C-ECFCE2248A66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11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13193" y="306647"/>
            <a:ext cx="445307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нефтепродуктов:</a:t>
            </a:r>
          </a:p>
          <a:p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лкий опт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34523" y="5906505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 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815260" y="1682776"/>
            <a:ext cx="3981999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Базисы поставки</a:t>
            </a:r>
            <a:endParaRPr lang="ru-RU" sz="2800" dirty="0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610764" y="2201053"/>
            <a:ext cx="4186495" cy="4154984"/>
          </a:xfrm>
          <a:prstGeom prst="rect">
            <a:avLst/>
          </a:prstGeom>
          <a:noFill/>
          <a:ln w="9525">
            <a:solidFill>
              <a:srgbClr val="77BAE7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i="1" dirty="0" smtClean="0"/>
              <a:t>10 </a:t>
            </a:r>
            <a:r>
              <a:rPr lang="ru-RU" sz="2400" i="1" dirty="0"/>
              <a:t>рабочих дней </a:t>
            </a:r>
            <a:r>
              <a:rPr lang="ru-RU" sz="2400" dirty="0"/>
              <a:t>при поставке на условиях «самовывоз автотранспортом», «франко-резервуар» и «франко-пункт назначения»;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ru-RU" sz="2400" i="1" dirty="0" smtClean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i="1" dirty="0" smtClean="0"/>
              <a:t>2 </a:t>
            </a:r>
            <a:r>
              <a:rPr lang="ru-RU" sz="2400" i="1" dirty="0"/>
              <a:t>рабочих дня </a:t>
            </a:r>
            <a:r>
              <a:rPr lang="ru-RU" sz="2400" dirty="0"/>
              <a:t>при поставке на условиях «франко-резервуар ОТП». </a:t>
            </a:r>
            <a:endParaRPr lang="ru-RU" sz="240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408221" y="1682776"/>
            <a:ext cx="4847986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Способы поставки </a:t>
            </a:r>
            <a:endParaRPr lang="ru-RU" sz="2800" dirty="0">
              <a:solidFill>
                <a:prstClr val="white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610763" y="1682776"/>
            <a:ext cx="4186497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Сроки поставки</a:t>
            </a:r>
            <a:endParaRPr lang="ru-RU" sz="2800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413412" y="2201053"/>
            <a:ext cx="4842794" cy="2308324"/>
          </a:xfrm>
          <a:prstGeom prst="rect">
            <a:avLst/>
          </a:prstGeom>
          <a:noFill/>
          <a:ln w="9525">
            <a:solidFill>
              <a:srgbClr val="77BAE7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2400" dirty="0" smtClean="0"/>
              <a:t>Самовывоз автотранспортом (</a:t>
            </a:r>
            <a:r>
              <a:rPr lang="ru-RU" sz="2400" dirty="0"/>
              <a:t>А</a:t>
            </a:r>
            <a:r>
              <a:rPr lang="ru-RU" sz="2400" dirty="0" smtClean="0"/>
              <a:t>);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2400" dirty="0" smtClean="0"/>
              <a:t>Франко-резервуар </a:t>
            </a:r>
            <a:r>
              <a:rPr lang="ru-RU" sz="2400" dirty="0"/>
              <a:t>(Р);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2400" dirty="0" smtClean="0"/>
              <a:t>Франко-резервуар </a:t>
            </a:r>
            <a:r>
              <a:rPr lang="ru-RU" sz="2400" dirty="0"/>
              <a:t>ОТП (О);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2400" dirty="0" smtClean="0"/>
              <a:t>Франко-пункт </a:t>
            </a:r>
            <a:r>
              <a:rPr lang="ru-RU" sz="2400" dirty="0"/>
              <a:t>назначения (К</a:t>
            </a:r>
            <a:r>
              <a:rPr lang="ru-RU" sz="2400" dirty="0" smtClean="0"/>
              <a:t>).</a:t>
            </a:r>
            <a:endParaRPr lang="ru-RU" sz="24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2448405" y="5256166"/>
            <a:ext cx="4807801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Размер лота </a:t>
            </a:r>
            <a:endParaRPr lang="ru-RU" sz="2800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448401" y="5766965"/>
            <a:ext cx="4807805" cy="646331"/>
          </a:xfrm>
          <a:prstGeom prst="rect">
            <a:avLst/>
          </a:prstGeom>
          <a:noFill/>
          <a:ln w="9525">
            <a:solidFill>
              <a:srgbClr val="77BAE7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2400" dirty="0" smtClean="0"/>
              <a:t>От 5 до 100 метрических тонн;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323836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F004596-91F9-40AB-9001-5CF6E5B3E45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" y="0"/>
            <a:ext cx="12191814" cy="68580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0B3F63A-AEAE-4EC2-97E8-DF97540979B5}"/>
              </a:ext>
            </a:extLst>
          </p:cNvPr>
          <p:cNvSpPr/>
          <p:nvPr/>
        </p:nvSpPr>
        <p:spPr>
          <a:xfrm>
            <a:off x="2495826" y="716433"/>
            <a:ext cx="7522818" cy="4770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endParaRPr lang="ru-RU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41FEDCC-1059-4C29-991C-ECFCE2248A66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12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13193" y="306647"/>
            <a:ext cx="445307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нефтепродуктов:</a:t>
            </a:r>
          </a:p>
          <a:p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чный рынок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34523" y="5906505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 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395524" y="1692204"/>
            <a:ext cx="9296803" cy="4653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 июле 2018 года на АО «</a:t>
            </a:r>
            <a:r>
              <a:rPr lang="ru-RU" sz="2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ПбМТСБ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» запущен новый тип поставочного фьючерса на нефтепродукты с базовой точкой ценообразования на ж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 станции </a:t>
            </a:r>
            <a:r>
              <a:rPr lang="ru-RU" sz="2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ллагуват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just">
              <a:lnSpc>
                <a:spcPct val="114000"/>
              </a:lnSpc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Контракт позволяет покупателю зафиксировать цену на нефтепродукты на ближайшие три месяца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4000"/>
              </a:lnSpc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Цена формируется на базе ж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д станции </a:t>
            </a:r>
            <a:r>
              <a:rPr lang="ru-R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ллагуват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 Исполнение фьючерсного контракта осуществляется по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говору поставки, заключаемому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екции «Нефтепродукты». Цена Договора поставки определяется как сумма значений окончательной расчетной цены фьючерса и стоимости транспортировки от ж/д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танции </a:t>
            </a:r>
            <a:r>
              <a:rPr lang="ru-RU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ллагуват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до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ж/д станции назначения. Участие в поставке может принять любая компания, у которой есть возможность заключить договор поставки в Секции «Нефтепродукты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</a:p>
          <a:p>
            <a:pPr algn="just">
              <a:lnSpc>
                <a:spcPct val="114000"/>
              </a:lnSpc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Через подобный контракт торгуются СУГ, Аи-92, Аи-95.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8949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E0F25E1-BA9D-42A1-B45A-2C9A2C1AB4C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" y="0"/>
            <a:ext cx="12191814" cy="685800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AB856A7-BDD5-4B10-AE21-8D09CE2EB4F6}"/>
              </a:ext>
            </a:extLst>
          </p:cNvPr>
          <p:cNvSpPr/>
          <p:nvPr/>
        </p:nvSpPr>
        <p:spPr>
          <a:xfrm>
            <a:off x="2267098" y="2143366"/>
            <a:ext cx="742893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ГАЗА</a:t>
            </a:r>
            <a:endParaRPr lang="ru-RU" sz="4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AB17E6D-3172-4060-A0A5-AC6B3E3D977E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B586DF5-C307-4F45-AC02-EEAEAE7F1DB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" y="0"/>
            <a:ext cx="12191814" cy="68580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80164AD-DD65-4C77-9EAA-1F2E765F7C21}"/>
              </a:ext>
            </a:extLst>
          </p:cNvPr>
          <p:cNvSpPr/>
          <p:nvPr/>
        </p:nvSpPr>
        <p:spPr>
          <a:xfrm>
            <a:off x="2495826" y="682160"/>
            <a:ext cx="7522818" cy="4770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газа </a:t>
            </a:r>
            <a:endParaRPr lang="ru-RU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9DF851D-4AD0-4A72-924F-86991380C381}"/>
              </a:ext>
            </a:extLst>
          </p:cNvPr>
          <p:cNvSpPr/>
          <p:nvPr/>
        </p:nvSpPr>
        <p:spPr>
          <a:xfrm>
            <a:off x="2323475" y="1478600"/>
            <a:ext cx="9623685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eaLnBrk="1" fontAlgn="auto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жевые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говоры могут быть заключены на балансовых пунктах (БП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): </a:t>
            </a:r>
            <a:r>
              <a:rPr lang="ru-RU" sz="2000" b="1" dirty="0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С «Надым», «622,5 км (</a:t>
            </a:r>
            <a:r>
              <a:rPr lang="ru-RU" sz="2000" b="1" dirty="0" err="1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косово</a:t>
            </a:r>
            <a:r>
              <a:rPr lang="ru-RU" sz="2000" b="1" dirty="0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», КС «</a:t>
            </a:r>
            <a:r>
              <a:rPr lang="ru-RU" sz="2000" b="1" dirty="0" err="1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абель</a:t>
            </a:r>
            <a:r>
              <a:rPr lang="ru-RU" sz="2000" b="1" dirty="0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lang="ru-RU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жевые торги проводятся с поставкой </a:t>
            </a:r>
            <a:r>
              <a:rPr lang="ru-RU" sz="2000" dirty="0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а следующий месяц», «на сутки», «на нерабочий день </a:t>
            </a:r>
            <a:r>
              <a:rPr lang="en-US" sz="2000" b="1" dirty="0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ru-RU" sz="2000" b="1" dirty="0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endParaRPr lang="ru-RU" sz="20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eaLnBrk="1" fontAlgn="auto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ские </a:t>
            </a:r>
            <a:r>
              <a:rPr lang="ru-RU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 по организации транспортировки газа по </a:t>
            </a:r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ТС </a:t>
            </a:r>
            <a:r>
              <a:rPr lang="ru-RU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яет </a:t>
            </a:r>
            <a:r>
              <a:rPr lang="ru-RU" sz="2000" b="1" dirty="0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ОО «Газпром </a:t>
            </a:r>
            <a:r>
              <a:rPr lang="ru-RU" sz="2000" b="1" dirty="0" err="1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регионгаз</a:t>
            </a:r>
            <a:r>
              <a:rPr lang="ru-RU" sz="2000" b="1" dirty="0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ставка».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eaLnBrk="1" fontAlgn="auto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ый </a:t>
            </a:r>
            <a:r>
              <a:rPr lang="ru-RU" sz="2000" b="1" dirty="0">
                <a:solidFill>
                  <a:srgbClr val="77BAE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 </a:t>
            </a:r>
            <a:r>
              <a:rPr lang="ru-RU" sz="2000" b="1" dirty="0" smtClean="0">
                <a:solidFill>
                  <a:srgbClr val="77BAE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100 </a:t>
            </a:r>
            <a:r>
              <a:rPr lang="ru-RU" sz="2000" b="1" dirty="0">
                <a:solidFill>
                  <a:srgbClr val="77BAE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0 м</a:t>
            </a:r>
            <a:r>
              <a:rPr lang="ru-RU" sz="2000" b="1" baseline="30000" dirty="0">
                <a:solidFill>
                  <a:srgbClr val="77BAE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000" b="1" dirty="0">
                <a:solidFill>
                  <a:srgbClr val="77BAE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для торгов с поставкой на месяц), </a:t>
            </a:r>
            <a:r>
              <a:rPr lang="ru-RU" sz="2000" b="1" dirty="0" smtClean="0">
                <a:solidFill>
                  <a:srgbClr val="77BAE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ru-RU" sz="2000" b="1" dirty="0">
                <a:solidFill>
                  <a:srgbClr val="77BAE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0 м</a:t>
            </a:r>
            <a:r>
              <a:rPr lang="ru-RU" sz="2000" b="1" baseline="30000" dirty="0">
                <a:solidFill>
                  <a:srgbClr val="77BAE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000" b="1" dirty="0">
                <a:solidFill>
                  <a:srgbClr val="77BAE7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для торгов с поставкой на сутки и на нерабочий день)</a:t>
            </a:r>
          </a:p>
          <a:p>
            <a:pPr marL="285750" lvl="0" indent="-285750" eaLnBrk="1" fontAlgn="auto" hangingPunct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</a:pPr>
            <a:r>
              <a:rPr lang="ru-RU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а биржевого товара устанавливается в рублях </a:t>
            </a:r>
            <a:r>
              <a:rPr lang="ru-RU" sz="2000" b="1" dirty="0" smtClean="0">
                <a:solidFill>
                  <a:srgbClr val="0090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1000 м</a:t>
            </a:r>
            <a:r>
              <a:rPr lang="ru-RU" sz="2000" baseline="30000" dirty="0" smtClean="0">
                <a:solidFill>
                  <a:srgbClr val="4472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учетом НДС по ставке 18</a:t>
            </a:r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. Шаг </a:t>
            </a:r>
            <a:r>
              <a:rPr lang="ru-RU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ы – 1 </a:t>
            </a:r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₽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417F72A-C1C5-4625-9207-7C28DA0411F2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14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3020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F41750C6-FF15-4099-B124-AB03801530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6" y="0"/>
            <a:ext cx="12191814" cy="6858000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A2E174F-298A-4FB8-A17D-FFDD31BC48F9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15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B848BFF-7742-402C-ADD0-2FA66DFF6916}"/>
              </a:ext>
            </a:extLst>
          </p:cNvPr>
          <p:cNvSpPr/>
          <p:nvPr/>
        </p:nvSpPr>
        <p:spPr>
          <a:xfrm>
            <a:off x="2389948" y="4764254"/>
            <a:ext cx="8831523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зор </a:t>
            </a:r>
            <a:r>
              <a:rPr lang="ru-RU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 (Октябрь 2014 – Октябрь 2018)</a:t>
            </a:r>
          </a:p>
          <a:p>
            <a:pPr>
              <a:lnSpc>
                <a:spcPts val="3000"/>
              </a:lnSpc>
            </a:pPr>
            <a:endParaRPr lang="ru-RU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5" name="Диаграмма 24"/>
          <p:cNvGraphicFramePr>
            <a:graphicFrameLocks/>
          </p:cNvGraphicFramePr>
          <p:nvPr>
            <p:extLst/>
          </p:nvPr>
        </p:nvGraphicFramePr>
        <p:xfrm>
          <a:off x="2093843" y="1734206"/>
          <a:ext cx="10097971" cy="2791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/>
        </p:nvGraphicFramePr>
        <p:xfrm>
          <a:off x="1494234" y="1643063"/>
          <a:ext cx="9203532" cy="3571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газа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зор </a:t>
            </a:r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265639" y="1407183"/>
            <a:ext cx="84537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УММАРНЫЙ ОБЪЕМ ПО ВСЕМ БАЛАНСОВЫМ ПУНКТАМ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млн, м</a:t>
            </a:r>
            <a:r>
              <a:rPr lang="ru-RU" sz="2000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734645" y="4210379"/>
            <a:ext cx="75157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УММАРНЫЙ ОБЪЁМ ПО ВСЕМ БАЛАНСОВЫМ ПУНКТАМ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лн,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₽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9677421"/>
              </p:ext>
            </p:extLst>
          </p:nvPr>
        </p:nvGraphicFramePr>
        <p:xfrm>
          <a:off x="2161473" y="4525376"/>
          <a:ext cx="10029031" cy="23326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77260220"/>
              </p:ext>
            </p:extLst>
          </p:nvPr>
        </p:nvGraphicFramePr>
        <p:xfrm>
          <a:off x="2026025" y="1734205"/>
          <a:ext cx="10164480" cy="2619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7407218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F41750C6-FF15-4099-B124-AB03801530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" y="-21614"/>
            <a:ext cx="12191814" cy="6858000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A2E174F-298A-4FB8-A17D-FFDD31BC48F9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16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B848BFF-7742-402C-ADD0-2FA66DFF6916}"/>
              </a:ext>
            </a:extLst>
          </p:cNvPr>
          <p:cNvSpPr/>
          <p:nvPr/>
        </p:nvSpPr>
        <p:spPr>
          <a:xfrm>
            <a:off x="2389948" y="4764254"/>
            <a:ext cx="8831523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зор </a:t>
            </a:r>
            <a:r>
              <a:rPr lang="ru-RU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 (Октябрь 2014 – Октябрь 2018)</a:t>
            </a:r>
          </a:p>
          <a:p>
            <a:pPr>
              <a:lnSpc>
                <a:spcPts val="3000"/>
              </a:lnSpc>
            </a:pPr>
            <a:endParaRPr lang="ru-RU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5" name="Диаграмма 24"/>
          <p:cNvGraphicFramePr>
            <a:graphicFrameLocks/>
          </p:cNvGraphicFramePr>
          <p:nvPr>
            <p:extLst/>
          </p:nvPr>
        </p:nvGraphicFramePr>
        <p:xfrm>
          <a:off x="2093843" y="1734206"/>
          <a:ext cx="10097971" cy="2791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/>
        </p:nvGraphicFramePr>
        <p:xfrm>
          <a:off x="1494234" y="1643063"/>
          <a:ext cx="9203532" cy="3571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газа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ы на газ в Липецкой области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8362477"/>
              </p:ext>
            </p:extLst>
          </p:nvPr>
        </p:nvGraphicFramePr>
        <p:xfrm>
          <a:off x="2989556" y="2031999"/>
          <a:ext cx="8633897" cy="4804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495826" y="1444723"/>
            <a:ext cx="896610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иржевые и регулируемые цены на газ в Липецкой области в 2018 г.</a:t>
            </a: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22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F41750C6-FF15-4099-B124-AB038015306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" y="-21614"/>
            <a:ext cx="12191814" cy="6858000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A2E174F-298A-4FB8-A17D-FFDD31BC48F9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17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B848BFF-7742-402C-ADD0-2FA66DFF6916}"/>
              </a:ext>
            </a:extLst>
          </p:cNvPr>
          <p:cNvSpPr/>
          <p:nvPr/>
        </p:nvSpPr>
        <p:spPr>
          <a:xfrm>
            <a:off x="2389948" y="4764254"/>
            <a:ext cx="8831523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зор </a:t>
            </a:r>
            <a:r>
              <a:rPr lang="ru-RU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 (Октябрь 2014 – Октябрь 2018)</a:t>
            </a:r>
          </a:p>
          <a:p>
            <a:pPr>
              <a:lnSpc>
                <a:spcPts val="3000"/>
              </a:lnSpc>
            </a:pPr>
            <a:endParaRPr lang="ru-RU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5" name="Диаграмма 24"/>
          <p:cNvGraphicFramePr>
            <a:graphicFrameLocks/>
          </p:cNvGraphicFramePr>
          <p:nvPr>
            <p:extLst/>
          </p:nvPr>
        </p:nvGraphicFramePr>
        <p:xfrm>
          <a:off x="2093843" y="1734206"/>
          <a:ext cx="10097971" cy="2791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/>
        </p:nvGraphicFramePr>
        <p:xfrm>
          <a:off x="1494234" y="1643063"/>
          <a:ext cx="9203532" cy="3571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газа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чет маржи по биржевому газу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43689" y="1434205"/>
            <a:ext cx="8801100" cy="260985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97462" y="5579862"/>
            <a:ext cx="10094538" cy="1092129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173212" y="3954043"/>
            <a:ext cx="5027961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58775" algn="just"/>
            <a:r>
              <a:rPr lang="ru-RU" sz="1400" b="1" dirty="0" smtClean="0"/>
              <a:t>При расчете цен биржевого договора учитываются: </a:t>
            </a:r>
          </a:p>
          <a:p>
            <a:pPr marL="285750" indent="-285750" algn="just">
              <a:buFontTx/>
              <a:buChar char="-"/>
            </a:pPr>
            <a:r>
              <a:rPr lang="ru-RU" sz="1400" dirty="0" smtClean="0"/>
              <a:t>Цены сделок на каждом балансовом пункте, заключенных для поставки газа в конкретный субъект РФ (ценовой пояс);</a:t>
            </a:r>
          </a:p>
          <a:p>
            <a:pPr marL="285750" indent="-285750" algn="just">
              <a:buFontTx/>
              <a:buChar char="-"/>
            </a:pPr>
            <a:r>
              <a:rPr lang="ru-RU" sz="1400" dirty="0" smtClean="0"/>
              <a:t>Стоимость транспортировки газа от БП до ГРС потребителя субъекта РФ;</a:t>
            </a:r>
          </a:p>
          <a:p>
            <a:pPr marL="285750" indent="-285750" algn="just">
              <a:buFontTx/>
              <a:buChar char="-"/>
            </a:pPr>
            <a:r>
              <a:rPr lang="ru-RU" sz="1400" dirty="0" smtClean="0"/>
              <a:t>Комиссионные выплаты координаторам торгов;</a:t>
            </a:r>
          </a:p>
          <a:p>
            <a:pPr marL="285750" indent="-285750" algn="just">
              <a:buFontTx/>
              <a:buChar char="-"/>
            </a:pPr>
            <a:r>
              <a:rPr lang="ru-RU" sz="1400" dirty="0" smtClean="0"/>
              <a:t>Стоимость отвлечения оборотных средств</a:t>
            </a:r>
          </a:p>
          <a:p>
            <a:pPr indent="358775" algn="just"/>
            <a:endParaRPr lang="ru-RU" dirty="0"/>
          </a:p>
          <a:p>
            <a:pPr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280542" y="3945709"/>
            <a:ext cx="449077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58775" algn="just"/>
            <a:r>
              <a:rPr lang="ru-RU" sz="1400" b="1" dirty="0" smtClean="0"/>
              <a:t>При расчете цен внебиржевого договора учитываются: </a:t>
            </a:r>
          </a:p>
          <a:p>
            <a:pPr marL="285750" indent="-285750" algn="just">
              <a:buFontTx/>
              <a:buChar char="-"/>
            </a:pPr>
            <a:r>
              <a:rPr lang="ru-RU" sz="1400" dirty="0" smtClean="0"/>
              <a:t>Регулируемая оптовая цена для конкретного региона (ценового пояса) с учетом доплаты за калорийность; </a:t>
            </a:r>
          </a:p>
          <a:p>
            <a:pPr marL="285750" indent="-285750" algn="just">
              <a:buFontTx/>
              <a:buChar char="-"/>
            </a:pPr>
            <a:r>
              <a:rPr lang="ru-RU" sz="1400" dirty="0" smtClean="0"/>
              <a:t>ПССУ (плата за снабженческо-сбытовые услуги).</a:t>
            </a:r>
          </a:p>
          <a:p>
            <a:pPr marL="285750" indent="-285750" algn="just">
              <a:buFontTx/>
              <a:buChar char="-"/>
            </a:pPr>
            <a:endParaRPr lang="ru-RU" dirty="0"/>
          </a:p>
          <a:p>
            <a:pPr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9138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E0F25E1-BA9D-42A1-B45A-2C9A2C1AB4C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" y="0"/>
            <a:ext cx="12191814" cy="6858000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AB17E6D-3172-4060-A0A5-AC6B3E3D977E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1335186"/>
            <a:ext cx="2103930" cy="5522814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111427" y="-1"/>
            <a:ext cx="10098064" cy="6858001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AB856A7-BDD5-4B10-AE21-8D09CE2EB4F6}"/>
              </a:ext>
            </a:extLst>
          </p:cNvPr>
          <p:cNvSpPr/>
          <p:nvPr/>
        </p:nvSpPr>
        <p:spPr>
          <a:xfrm>
            <a:off x="2267098" y="4543663"/>
            <a:ext cx="7428931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  <a:endParaRPr lang="ru-RU" sz="4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-60252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18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903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495826" y="1523441"/>
            <a:ext cx="9133284" cy="5401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58775" algn="just">
              <a:lnSpc>
                <a:spcPct val="150000"/>
              </a:lnSpc>
            </a:pPr>
            <a:r>
              <a:rPr lang="ru-RU" sz="2000" b="1" dirty="0" smtClean="0"/>
              <a:t>Декабрь 2017 года </a:t>
            </a:r>
            <a:r>
              <a:rPr lang="ru-RU" sz="2000" dirty="0" smtClean="0"/>
              <a:t>– запуск пилотного проекта биржевых торгов </a:t>
            </a:r>
            <a:r>
              <a:rPr lang="ru-RU" sz="2000" dirty="0"/>
              <a:t>минеральными удобрениями в Секции «Минеральное сырье и химическая продукция» АО «</a:t>
            </a:r>
            <a:r>
              <a:rPr lang="ru-RU" sz="2000" dirty="0" err="1"/>
              <a:t>СПбМТСБ</a:t>
            </a:r>
            <a:r>
              <a:rPr lang="ru-RU" sz="2000" dirty="0" smtClean="0"/>
              <a:t>». Проект реализован </a:t>
            </a:r>
            <a:r>
              <a:rPr lang="ru-RU" sz="2000" dirty="0"/>
              <a:t>АО «</a:t>
            </a:r>
            <a:r>
              <a:rPr lang="ru-RU" sz="2000" dirty="0" err="1"/>
              <a:t>СПбМТСБ</a:t>
            </a:r>
            <a:r>
              <a:rPr lang="ru-RU" sz="2000" dirty="0" smtClean="0"/>
              <a:t>» в тесном взаимодействии с Биржевым комитетом </a:t>
            </a:r>
            <a:r>
              <a:rPr lang="ru-RU" sz="2000" dirty="0"/>
              <a:t>ФАС России, Банком </a:t>
            </a:r>
            <a:r>
              <a:rPr lang="ru-RU" sz="2000" dirty="0" smtClean="0"/>
              <a:t>России, </a:t>
            </a:r>
            <a:r>
              <a:rPr lang="ru-RU" sz="2000" dirty="0"/>
              <a:t>Минсельхозом </a:t>
            </a:r>
            <a:r>
              <a:rPr lang="ru-RU" sz="2000" dirty="0" smtClean="0"/>
              <a:t>России и Российской ассоциацией </a:t>
            </a:r>
            <a:r>
              <a:rPr lang="ru-RU" sz="2000" dirty="0"/>
              <a:t>производителей </a:t>
            </a:r>
            <a:r>
              <a:rPr lang="ru-RU" sz="2000" dirty="0" smtClean="0"/>
              <a:t>удобрений </a:t>
            </a:r>
            <a:r>
              <a:rPr lang="ru-RU" sz="2000" dirty="0"/>
              <a:t>(НО «РАПУ</a:t>
            </a:r>
            <a:r>
              <a:rPr lang="ru-RU" sz="2000" dirty="0" smtClean="0"/>
              <a:t>»). В </a:t>
            </a:r>
            <a:r>
              <a:rPr lang="ru-RU" sz="2000" dirty="0"/>
              <a:t>целях </a:t>
            </a:r>
            <a:r>
              <a:rPr lang="ru-RU" sz="2000" dirty="0" smtClean="0"/>
              <a:t>отработки операционного взаимодействия между участниками торгов выбран на первом этапе </a:t>
            </a:r>
            <a:r>
              <a:rPr lang="ru-RU" sz="2000" dirty="0"/>
              <a:t>был выбран </a:t>
            </a:r>
            <a:r>
              <a:rPr lang="ru-RU" sz="2000" dirty="0" smtClean="0"/>
              <a:t>один вид </a:t>
            </a:r>
            <a:r>
              <a:rPr lang="ru-RU" sz="2000" dirty="0"/>
              <a:t>минеральных </a:t>
            </a:r>
            <a:r>
              <a:rPr lang="ru-RU" sz="2000" dirty="0" smtClean="0"/>
              <a:t>удобрений – </a:t>
            </a:r>
            <a:r>
              <a:rPr lang="ru-RU" sz="2000" b="1" dirty="0"/>
              <a:t>карбамид марки Б </a:t>
            </a:r>
            <a:r>
              <a:rPr lang="ru-RU" sz="2000" dirty="0"/>
              <a:t>в соответствии с  ГОСТ 2081-2010</a:t>
            </a:r>
            <a:r>
              <a:rPr lang="ru-RU" sz="2000" dirty="0" smtClean="0"/>
              <a:t>.</a:t>
            </a:r>
          </a:p>
          <a:p>
            <a:pPr indent="358775" algn="just">
              <a:lnSpc>
                <a:spcPct val="150000"/>
              </a:lnSpc>
            </a:pPr>
            <a:r>
              <a:rPr lang="ru-RU" sz="2000" dirty="0" smtClean="0"/>
              <a:t>В настоящее время на биржевых торгах представлены также: </a:t>
            </a:r>
            <a:r>
              <a:rPr lang="ru-RU" sz="2000" b="1" dirty="0" smtClean="0"/>
              <a:t>аммиачная селитра, аммофос (</a:t>
            </a:r>
            <a:r>
              <a:rPr lang="en-US" sz="2000" b="1" dirty="0" smtClean="0"/>
              <a:t>NP</a:t>
            </a:r>
            <a:r>
              <a:rPr lang="ru-RU" sz="2000" b="1" dirty="0" smtClean="0"/>
              <a:t>), </a:t>
            </a:r>
            <a:r>
              <a:rPr lang="ru-RU" sz="2000" b="1" dirty="0" err="1" smtClean="0"/>
              <a:t>аммофоска</a:t>
            </a:r>
            <a:r>
              <a:rPr lang="ru-RU" sz="2000" b="1" dirty="0" smtClean="0"/>
              <a:t> </a:t>
            </a:r>
            <a:r>
              <a:rPr lang="en-US" sz="2000" b="1" dirty="0" smtClean="0"/>
              <a:t>(NPK),</a:t>
            </a:r>
            <a:r>
              <a:rPr lang="ru-RU" sz="2000" b="1" dirty="0" smtClean="0"/>
              <a:t> КАС. </a:t>
            </a:r>
            <a:endParaRPr lang="ru-RU" sz="2000" b="1" dirty="0"/>
          </a:p>
          <a:p>
            <a:pPr indent="358775" algn="just">
              <a:lnSpc>
                <a:spcPct val="150000"/>
              </a:lnSpc>
            </a:pPr>
            <a:endParaRPr lang="ru-RU" dirty="0"/>
          </a:p>
          <a:p>
            <a:pPr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19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уск проекта 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19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67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49010B81-9818-44A7-9227-409FE1C3ED9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7475"/>
            <a:ext cx="12192000" cy="6856144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8D49A3C-BA18-486A-BA74-61C1403312B6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лет крупнейшей</a:t>
            </a:r>
          </a:p>
          <a:p>
            <a:pPr>
              <a:lnSpc>
                <a:spcPts val="3000"/>
              </a:lnSpc>
            </a:pPr>
            <a:r>
              <a:rPr lang="ru-RU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же товарного рынка России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A538600-1C1E-476E-8396-B4FA79DD47F9}"/>
              </a:ext>
            </a:extLst>
          </p:cNvPr>
          <p:cNvSpPr/>
          <p:nvPr/>
        </p:nvSpPr>
        <p:spPr>
          <a:xfrm>
            <a:off x="2495825" y="1649655"/>
            <a:ext cx="95857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88CE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СОЗДАНА по РЕШЕНИЮ ПРЕЗИДЕНТА и ПРАВИТЕЛЬСТВА РОССИИ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39239A8-2249-4417-B5F9-5EC96E5CBF32}"/>
              </a:ext>
            </a:extLst>
          </p:cNvPr>
          <p:cNvSpPr/>
          <p:nvPr/>
        </p:nvSpPr>
        <p:spPr>
          <a:xfrm>
            <a:off x="2495825" y="2524299"/>
            <a:ext cx="24756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АКЦИОНЕРЫ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13538E3-5A04-4A55-B617-68A85100AA3D}"/>
              </a:ext>
            </a:extLst>
          </p:cNvPr>
          <p:cNvSpPr/>
          <p:nvPr/>
        </p:nvSpPr>
        <p:spPr>
          <a:xfrm>
            <a:off x="2495825" y="3567672"/>
            <a:ext cx="49899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latin typeface="Arial Black" panose="020B0A04020102020204" pitchFamily="34" charset="0"/>
                <a:cs typeface="Arial" panose="020B0604020202020204" pitchFamily="34" charset="0"/>
              </a:rPr>
              <a:t>ОБЪЕ</a:t>
            </a:r>
            <a:r>
              <a:rPr lang="en-US" sz="20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</a:t>
            </a:r>
            <a:r>
              <a:rPr lang="ru-RU" sz="2000" dirty="0" smtClean="0">
                <a:latin typeface="Arial Black" panose="020B0A04020102020204" pitchFamily="34" charset="0"/>
                <a:cs typeface="Arial" panose="020B0604020202020204" pitchFamily="34" charset="0"/>
              </a:rPr>
              <a:t> ДОГОВОРОВ</a:t>
            </a:r>
            <a:r>
              <a:rPr lang="ru-RU" sz="2000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млрд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₽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30B1CF1-628B-4F82-805A-03F8BA02ACF5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graphicFrame>
        <p:nvGraphicFramePr>
          <p:cNvPr id="14" name="Объект 13">
            <a:extLst>
              <a:ext uri="{FF2B5EF4-FFF2-40B4-BE49-F238E27FC236}">
                <a16:creationId xmlns:a16="http://schemas.microsoft.com/office/drawing/2014/main" id="{E774DC2D-885A-4C60-8FA6-D5E8AF7034D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23145392"/>
              </p:ext>
            </p:extLst>
          </p:nvPr>
        </p:nvGraphicFramePr>
        <p:xfrm>
          <a:off x="4498203" y="2371099"/>
          <a:ext cx="7103842" cy="10862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8" name="CorelDRAW" r:id="rId5" imgW="9426128" imgH="1441223" progId="CorelDraw.Graphic.15">
                  <p:embed/>
                </p:oleObj>
              </mc:Choice>
              <mc:Fallback>
                <p:oleObj name="CorelDRAW" r:id="rId5" imgW="9426128" imgH="1441223" progId="CorelDraw.Graphic.15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498203" y="2371099"/>
                        <a:ext cx="7103842" cy="10862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A13538E3-5A04-4A55-B617-68A85100AA3D}"/>
              </a:ext>
            </a:extLst>
          </p:cNvPr>
          <p:cNvSpPr/>
          <p:nvPr/>
        </p:nvSpPr>
        <p:spPr>
          <a:xfrm>
            <a:off x="7709836" y="3579846"/>
            <a:ext cx="41453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latin typeface="Arial Black" panose="020B0A04020102020204" pitchFamily="34" charset="0"/>
                <a:cs typeface="Arial" panose="020B0604020202020204" pitchFamily="34" charset="0"/>
              </a:rPr>
              <a:t>КОЛИЧЕСТВО ДОГОВОРОВ</a:t>
            </a:r>
            <a:endParaRPr lang="ru-RU" sz="20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2167273"/>
              </p:ext>
            </p:extLst>
          </p:nvPr>
        </p:nvGraphicFramePr>
        <p:xfrm>
          <a:off x="6640975" y="3676117"/>
          <a:ext cx="5440589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8816024"/>
              </p:ext>
            </p:extLst>
          </p:nvPr>
        </p:nvGraphicFramePr>
        <p:xfrm>
          <a:off x="1851507" y="3730583"/>
          <a:ext cx="543378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20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авцы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40022" y="2204329"/>
            <a:ext cx="5146151" cy="3785652"/>
          </a:xfrm>
          <a:prstGeom prst="rect">
            <a:avLst/>
          </a:prstGeom>
          <a:noFill/>
          <a:ln w="9525">
            <a:solidFill>
              <a:srgbClr val="77BAE7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КАО «Азот» (Кемерово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ПАО «Акрон»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АО «Апатит» (ПАО «ФосАгро»)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ООО «Газпром 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нефтехим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Салават»</a:t>
            </a:r>
            <a:endParaRPr lang="ru-RU" sz="2400" dirty="0">
              <a:solidFill>
                <a:prstClr val="black">
                  <a:lumMod val="85000"/>
                  <a:lumOff val="15000"/>
                </a:prst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2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ПАО «</a:t>
            </a:r>
            <a:r>
              <a:rPr lang="ru-RU" sz="2400" dirty="0" err="1">
                <a:solidFill>
                  <a:prstClr val="black">
                    <a:lumMod val="85000"/>
                    <a:lumOff val="15000"/>
                  </a:prstClr>
                </a:solidFill>
              </a:rPr>
              <a:t>КуйбышевАзот</a:t>
            </a:r>
            <a:r>
              <a:rPr lang="ru-RU" sz="2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»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ООО «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ЕвроХимТрейдинг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 Русс» (АО «МХК «</a:t>
            </a:r>
            <a:r>
              <a:rPr lang="ru-RU" sz="24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ЕвроХим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»)</a:t>
            </a:r>
            <a:endParaRPr lang="ru-RU" sz="2400" dirty="0">
              <a:solidFill>
                <a:prstClr val="black">
                  <a:lumMod val="85000"/>
                  <a:lumOff val="15000"/>
                </a:prstClr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2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АО «</a:t>
            </a:r>
            <a:r>
              <a:rPr lang="ru-RU" sz="2400" dirty="0" err="1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Тольяттиазот</a:t>
            </a:r>
            <a:r>
              <a:rPr lang="ru-RU" sz="2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»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2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ООО «ТД «УРАЛХИМ» (АО «ОХК «УРАЛХИМ»)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640022" y="1682776"/>
            <a:ext cx="5146151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Продавцы МУ</a:t>
            </a:r>
            <a:endParaRPr lang="ru-RU" sz="2800" dirty="0">
              <a:solidFill>
                <a:prstClr val="white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153905" y="2204329"/>
            <a:ext cx="3671977" cy="2677656"/>
          </a:xfrm>
          <a:prstGeom prst="rect">
            <a:avLst/>
          </a:prstGeom>
          <a:ln w="9525">
            <a:solidFill>
              <a:srgbClr val="77BAE7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Карбамид марки Б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Селитр </a:t>
            </a:r>
            <a:r>
              <a:rPr lang="ru-RU" sz="2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аммиачная марки Б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Аммофос (</a:t>
            </a:r>
            <a:r>
              <a:rPr lang="en-US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NP</a:t>
            </a: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)</a:t>
            </a:r>
            <a:endParaRPr lang="ru-RU" sz="2400" dirty="0">
              <a:solidFill>
                <a:prstClr val="black">
                  <a:lumMod val="85000"/>
                  <a:lumOff val="15000"/>
                </a:prst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400" dirty="0" err="1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Аммофоска</a:t>
            </a: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 (</a:t>
            </a:r>
            <a:r>
              <a:rPr lang="en-US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NPK</a:t>
            </a: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)</a:t>
            </a:r>
            <a:endParaRPr lang="ru-RU" sz="2400" dirty="0">
              <a:solidFill>
                <a:prstClr val="black">
                  <a:lumMod val="85000"/>
                  <a:lumOff val="15000"/>
                </a:prst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Карбамидно-аммиачная смесь (КАС)</a:t>
            </a:r>
            <a:endParaRPr lang="ru-RU" sz="2400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20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153905" y="1682776"/>
            <a:ext cx="3671977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Биржевые товары</a:t>
            </a:r>
            <a:endParaRPr lang="ru-RU" sz="2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67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21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 поставки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640020" y="2349121"/>
            <a:ext cx="5472349" cy="2492990"/>
          </a:xfrm>
          <a:prstGeom prst="rect">
            <a:avLst/>
          </a:prstGeom>
          <a:ln w="9525">
            <a:solidFill>
              <a:srgbClr val="77BAE7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Франко-вагон </a:t>
            </a:r>
            <a:r>
              <a:rPr lang="ru-RU" sz="2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станция </a:t>
            </a: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отправления </a:t>
            </a:r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(переход права собственности на станции отправления, организация транспортировки до станции назначения осуществляется Поставщиком за счет покупателя)</a:t>
            </a:r>
            <a:endParaRPr lang="ru-RU" sz="2400" dirty="0">
              <a:solidFill>
                <a:prstClr val="black">
                  <a:lumMod val="85000"/>
                  <a:lumOff val="15000"/>
                </a:prst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Самовывоз ж</a:t>
            </a:r>
            <a:r>
              <a:rPr lang="en-US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/</a:t>
            </a: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д транспортом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prstClr val="black">
                    <a:lumMod val="85000"/>
                    <a:lumOff val="15000"/>
                  </a:prstClr>
                </a:solidFill>
              </a:rPr>
              <a:t>(переход права собственности на станции отправления, организация транспортировки </a:t>
            </a:r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осуществляется покупателем за собственный счет)</a:t>
            </a:r>
            <a:endParaRPr lang="ru-RU" sz="1200" dirty="0">
              <a:solidFill>
                <a:prstClr val="black">
                  <a:lumMod val="85000"/>
                  <a:lumOff val="15000"/>
                </a:prst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4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Самовывоз автотранспортом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(Переход права собственности осуществляется на складе  Поставщика, организацию транспортировки осуществляет Покупатель</a:t>
            </a:r>
            <a:endParaRPr lang="ru-RU" sz="2400" dirty="0">
              <a:solidFill>
                <a:srgbClr val="0070C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518769" y="2356478"/>
            <a:ext cx="3324888" cy="3477875"/>
          </a:xfrm>
          <a:prstGeom prst="rect">
            <a:avLst/>
          </a:prstGeom>
          <a:ln w="9525">
            <a:solidFill>
              <a:srgbClr val="77BAE7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000" b="1" i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10 рабочих дней </a:t>
            </a:r>
            <a:r>
              <a:rPr lang="ru-RU" sz="2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при поставке на условиях «самовывоз автотранспортом»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000" b="1" i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30 рабочих </a:t>
            </a:r>
            <a:r>
              <a:rPr lang="ru-RU" sz="2000" b="1" i="1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дней </a:t>
            </a:r>
            <a:r>
              <a:rPr lang="ru-RU" sz="20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при поставке на условиях «франко-вагон станция отправления» и «самовывоз железнодорожным транспортом»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640020" y="5699593"/>
            <a:ext cx="5472349" cy="461665"/>
          </a:xfrm>
          <a:prstGeom prst="rect">
            <a:avLst/>
          </a:prstGeom>
          <a:ln w="9525">
            <a:solidFill>
              <a:srgbClr val="77BAE7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От 20 до 70 метрических тонн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21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640021" y="1827568"/>
            <a:ext cx="5472348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Способ поставки</a:t>
            </a:r>
            <a:endParaRPr lang="ru-RU" sz="2800" dirty="0">
              <a:solidFill>
                <a:prstClr val="white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8518767" y="1834925"/>
            <a:ext cx="3324889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Способ поставки</a:t>
            </a:r>
            <a:endParaRPr lang="ru-RU" sz="2800" dirty="0">
              <a:solidFill>
                <a:prstClr val="white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640019" y="5178040"/>
            <a:ext cx="5472350" cy="521553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Размер лота</a:t>
            </a:r>
            <a:endParaRPr lang="ru-RU" sz="2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82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Группа 143"/>
          <p:cNvGrpSpPr/>
          <p:nvPr/>
        </p:nvGrpSpPr>
        <p:grpSpPr>
          <a:xfrm>
            <a:off x="2976464" y="1466884"/>
            <a:ext cx="8515081" cy="4285740"/>
            <a:chOff x="1004888" y="925513"/>
            <a:chExt cx="7454900" cy="3898900"/>
          </a:xfrm>
        </p:grpSpPr>
        <p:sp>
          <p:nvSpPr>
            <p:cNvPr id="25" name="Freeform 2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7197725" y="3433763"/>
              <a:ext cx="46038" cy="49212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0" y="89"/>
                </a:cxn>
                <a:cxn ang="0">
                  <a:pos x="4" y="93"/>
                </a:cxn>
                <a:cxn ang="0">
                  <a:pos x="7" y="97"/>
                </a:cxn>
                <a:cxn ang="0">
                  <a:pos x="7" y="102"/>
                </a:cxn>
                <a:cxn ang="0">
                  <a:pos x="7" y="108"/>
                </a:cxn>
                <a:cxn ang="0">
                  <a:pos x="4" y="121"/>
                </a:cxn>
                <a:cxn ang="0">
                  <a:pos x="0" y="132"/>
                </a:cxn>
                <a:cxn ang="0">
                  <a:pos x="108" y="132"/>
                </a:cxn>
                <a:cxn ang="0">
                  <a:pos x="67" y="0"/>
                </a:cxn>
              </a:cxnLst>
              <a:rect l="0" t="0" r="r" b="b"/>
              <a:pathLst>
                <a:path w="108" h="132">
                  <a:moveTo>
                    <a:pt x="67" y="0"/>
                  </a:moveTo>
                  <a:lnTo>
                    <a:pt x="0" y="89"/>
                  </a:lnTo>
                  <a:lnTo>
                    <a:pt x="4" y="93"/>
                  </a:lnTo>
                  <a:lnTo>
                    <a:pt x="7" y="97"/>
                  </a:lnTo>
                  <a:lnTo>
                    <a:pt x="7" y="102"/>
                  </a:lnTo>
                  <a:lnTo>
                    <a:pt x="7" y="108"/>
                  </a:lnTo>
                  <a:lnTo>
                    <a:pt x="4" y="121"/>
                  </a:lnTo>
                  <a:lnTo>
                    <a:pt x="0" y="132"/>
                  </a:lnTo>
                  <a:lnTo>
                    <a:pt x="108" y="132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6" name="Freeform 3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7154863" y="3468688"/>
              <a:ext cx="19050" cy="23812"/>
            </a:xfrm>
            <a:custGeom>
              <a:avLst/>
              <a:gdLst/>
              <a:ahLst/>
              <a:cxnLst>
                <a:cxn ang="0">
                  <a:pos x="0" y="61"/>
                </a:cxn>
                <a:cxn ang="0">
                  <a:pos x="7" y="59"/>
                </a:cxn>
                <a:cxn ang="0">
                  <a:pos x="14" y="59"/>
                </a:cxn>
                <a:cxn ang="0">
                  <a:pos x="20" y="59"/>
                </a:cxn>
                <a:cxn ang="0">
                  <a:pos x="26" y="59"/>
                </a:cxn>
                <a:cxn ang="0">
                  <a:pos x="36" y="63"/>
                </a:cxn>
                <a:cxn ang="0">
                  <a:pos x="42" y="67"/>
                </a:cxn>
                <a:cxn ang="0">
                  <a:pos x="42" y="0"/>
                </a:cxn>
                <a:cxn ang="0">
                  <a:pos x="30" y="15"/>
                </a:cxn>
                <a:cxn ang="0">
                  <a:pos x="19" y="28"/>
                </a:cxn>
                <a:cxn ang="0">
                  <a:pos x="10" y="44"/>
                </a:cxn>
                <a:cxn ang="0">
                  <a:pos x="0" y="61"/>
                </a:cxn>
              </a:cxnLst>
              <a:rect l="0" t="0" r="r" b="b"/>
              <a:pathLst>
                <a:path w="42" h="67">
                  <a:moveTo>
                    <a:pt x="0" y="61"/>
                  </a:moveTo>
                  <a:lnTo>
                    <a:pt x="7" y="59"/>
                  </a:lnTo>
                  <a:lnTo>
                    <a:pt x="14" y="59"/>
                  </a:lnTo>
                  <a:lnTo>
                    <a:pt x="20" y="59"/>
                  </a:lnTo>
                  <a:lnTo>
                    <a:pt x="26" y="59"/>
                  </a:lnTo>
                  <a:lnTo>
                    <a:pt x="36" y="63"/>
                  </a:lnTo>
                  <a:lnTo>
                    <a:pt x="42" y="67"/>
                  </a:lnTo>
                  <a:lnTo>
                    <a:pt x="42" y="0"/>
                  </a:lnTo>
                  <a:lnTo>
                    <a:pt x="30" y="15"/>
                  </a:lnTo>
                  <a:lnTo>
                    <a:pt x="19" y="28"/>
                  </a:lnTo>
                  <a:lnTo>
                    <a:pt x="10" y="44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3" name="Freeform 4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606925" y="1838325"/>
              <a:ext cx="55563" cy="46038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26" y="0"/>
                </a:cxn>
                <a:cxn ang="0">
                  <a:pos x="20" y="1"/>
                </a:cxn>
                <a:cxn ang="0">
                  <a:pos x="16" y="4"/>
                </a:cxn>
                <a:cxn ang="0">
                  <a:pos x="14" y="5"/>
                </a:cxn>
                <a:cxn ang="0">
                  <a:pos x="11" y="8"/>
                </a:cxn>
                <a:cxn ang="0">
                  <a:pos x="10" y="9"/>
                </a:cxn>
                <a:cxn ang="0">
                  <a:pos x="7" y="11"/>
                </a:cxn>
                <a:cxn ang="0">
                  <a:pos x="3" y="12"/>
                </a:cxn>
                <a:cxn ang="0">
                  <a:pos x="0" y="23"/>
                </a:cxn>
                <a:cxn ang="0">
                  <a:pos x="0" y="32"/>
                </a:cxn>
                <a:cxn ang="0">
                  <a:pos x="2" y="40"/>
                </a:cxn>
                <a:cxn ang="0">
                  <a:pos x="3" y="48"/>
                </a:cxn>
                <a:cxn ang="0">
                  <a:pos x="4" y="55"/>
                </a:cxn>
                <a:cxn ang="0">
                  <a:pos x="7" y="63"/>
                </a:cxn>
                <a:cxn ang="0">
                  <a:pos x="11" y="69"/>
                </a:cxn>
                <a:cxn ang="0">
                  <a:pos x="16" y="76"/>
                </a:cxn>
                <a:cxn ang="0">
                  <a:pos x="24" y="81"/>
                </a:cxn>
                <a:cxn ang="0">
                  <a:pos x="34" y="85"/>
                </a:cxn>
                <a:cxn ang="0">
                  <a:pos x="44" y="89"/>
                </a:cxn>
                <a:cxn ang="0">
                  <a:pos x="58" y="91"/>
                </a:cxn>
                <a:cxn ang="0">
                  <a:pos x="58" y="96"/>
                </a:cxn>
                <a:cxn ang="0">
                  <a:pos x="59" y="101"/>
                </a:cxn>
                <a:cxn ang="0">
                  <a:pos x="62" y="105"/>
                </a:cxn>
                <a:cxn ang="0">
                  <a:pos x="64" y="109"/>
                </a:cxn>
                <a:cxn ang="0">
                  <a:pos x="68" y="111"/>
                </a:cxn>
                <a:cxn ang="0">
                  <a:pos x="72" y="113"/>
                </a:cxn>
                <a:cxn ang="0">
                  <a:pos x="76" y="113"/>
                </a:cxn>
                <a:cxn ang="0">
                  <a:pos x="82" y="115"/>
                </a:cxn>
                <a:cxn ang="0">
                  <a:pos x="87" y="112"/>
                </a:cxn>
                <a:cxn ang="0">
                  <a:pos x="94" y="105"/>
                </a:cxn>
                <a:cxn ang="0">
                  <a:pos x="100" y="95"/>
                </a:cxn>
                <a:cxn ang="0">
                  <a:pos x="107" y="84"/>
                </a:cxn>
                <a:cxn ang="0">
                  <a:pos x="119" y="63"/>
                </a:cxn>
                <a:cxn ang="0">
                  <a:pos x="123" y="53"/>
                </a:cxn>
                <a:cxn ang="0">
                  <a:pos x="123" y="48"/>
                </a:cxn>
                <a:cxn ang="0">
                  <a:pos x="120" y="41"/>
                </a:cxn>
                <a:cxn ang="0">
                  <a:pos x="118" y="36"/>
                </a:cxn>
                <a:cxn ang="0">
                  <a:pos x="112" y="31"/>
                </a:cxn>
                <a:cxn ang="0">
                  <a:pos x="107" y="25"/>
                </a:cxn>
                <a:cxn ang="0">
                  <a:pos x="102" y="21"/>
                </a:cxn>
                <a:cxn ang="0">
                  <a:pos x="95" y="17"/>
                </a:cxn>
                <a:cxn ang="0">
                  <a:pos x="87" y="13"/>
                </a:cxn>
                <a:cxn ang="0">
                  <a:pos x="72" y="7"/>
                </a:cxn>
                <a:cxn ang="0">
                  <a:pos x="58" y="3"/>
                </a:cxn>
                <a:cxn ang="0">
                  <a:pos x="44" y="0"/>
                </a:cxn>
                <a:cxn ang="0">
                  <a:pos x="34" y="0"/>
                </a:cxn>
              </a:cxnLst>
              <a:rect l="0" t="0" r="r" b="b"/>
              <a:pathLst>
                <a:path w="123" h="115">
                  <a:moveTo>
                    <a:pt x="34" y="0"/>
                  </a:moveTo>
                  <a:lnTo>
                    <a:pt x="26" y="0"/>
                  </a:lnTo>
                  <a:lnTo>
                    <a:pt x="20" y="1"/>
                  </a:lnTo>
                  <a:lnTo>
                    <a:pt x="16" y="4"/>
                  </a:lnTo>
                  <a:lnTo>
                    <a:pt x="14" y="5"/>
                  </a:lnTo>
                  <a:lnTo>
                    <a:pt x="11" y="8"/>
                  </a:lnTo>
                  <a:lnTo>
                    <a:pt x="10" y="9"/>
                  </a:lnTo>
                  <a:lnTo>
                    <a:pt x="7" y="11"/>
                  </a:lnTo>
                  <a:lnTo>
                    <a:pt x="3" y="12"/>
                  </a:lnTo>
                  <a:lnTo>
                    <a:pt x="0" y="23"/>
                  </a:lnTo>
                  <a:lnTo>
                    <a:pt x="0" y="32"/>
                  </a:lnTo>
                  <a:lnTo>
                    <a:pt x="2" y="40"/>
                  </a:lnTo>
                  <a:lnTo>
                    <a:pt x="3" y="48"/>
                  </a:lnTo>
                  <a:lnTo>
                    <a:pt x="4" y="55"/>
                  </a:lnTo>
                  <a:lnTo>
                    <a:pt x="7" y="63"/>
                  </a:lnTo>
                  <a:lnTo>
                    <a:pt x="11" y="69"/>
                  </a:lnTo>
                  <a:lnTo>
                    <a:pt x="16" y="76"/>
                  </a:lnTo>
                  <a:lnTo>
                    <a:pt x="24" y="81"/>
                  </a:lnTo>
                  <a:lnTo>
                    <a:pt x="34" y="85"/>
                  </a:lnTo>
                  <a:lnTo>
                    <a:pt x="44" y="89"/>
                  </a:lnTo>
                  <a:lnTo>
                    <a:pt x="58" y="91"/>
                  </a:lnTo>
                  <a:lnTo>
                    <a:pt x="58" y="96"/>
                  </a:lnTo>
                  <a:lnTo>
                    <a:pt x="59" y="101"/>
                  </a:lnTo>
                  <a:lnTo>
                    <a:pt x="62" y="105"/>
                  </a:lnTo>
                  <a:lnTo>
                    <a:pt x="64" y="109"/>
                  </a:lnTo>
                  <a:lnTo>
                    <a:pt x="68" y="111"/>
                  </a:lnTo>
                  <a:lnTo>
                    <a:pt x="72" y="113"/>
                  </a:lnTo>
                  <a:lnTo>
                    <a:pt x="76" y="113"/>
                  </a:lnTo>
                  <a:lnTo>
                    <a:pt x="82" y="115"/>
                  </a:lnTo>
                  <a:lnTo>
                    <a:pt x="87" y="112"/>
                  </a:lnTo>
                  <a:lnTo>
                    <a:pt x="94" y="105"/>
                  </a:lnTo>
                  <a:lnTo>
                    <a:pt x="100" y="95"/>
                  </a:lnTo>
                  <a:lnTo>
                    <a:pt x="107" y="84"/>
                  </a:lnTo>
                  <a:lnTo>
                    <a:pt x="119" y="63"/>
                  </a:lnTo>
                  <a:lnTo>
                    <a:pt x="123" y="53"/>
                  </a:lnTo>
                  <a:lnTo>
                    <a:pt x="123" y="48"/>
                  </a:lnTo>
                  <a:lnTo>
                    <a:pt x="120" y="41"/>
                  </a:lnTo>
                  <a:lnTo>
                    <a:pt x="118" y="36"/>
                  </a:lnTo>
                  <a:lnTo>
                    <a:pt x="112" y="31"/>
                  </a:lnTo>
                  <a:lnTo>
                    <a:pt x="107" y="25"/>
                  </a:lnTo>
                  <a:lnTo>
                    <a:pt x="102" y="21"/>
                  </a:lnTo>
                  <a:lnTo>
                    <a:pt x="95" y="17"/>
                  </a:lnTo>
                  <a:lnTo>
                    <a:pt x="87" y="13"/>
                  </a:lnTo>
                  <a:lnTo>
                    <a:pt x="72" y="7"/>
                  </a:lnTo>
                  <a:lnTo>
                    <a:pt x="58" y="3"/>
                  </a:lnTo>
                  <a:lnTo>
                    <a:pt x="44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4" name="Freeform 5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613275" y="1708150"/>
              <a:ext cx="123825" cy="136525"/>
            </a:xfrm>
            <a:custGeom>
              <a:avLst/>
              <a:gdLst/>
              <a:ahLst/>
              <a:cxnLst>
                <a:cxn ang="0">
                  <a:pos x="231" y="87"/>
                </a:cxn>
                <a:cxn ang="0">
                  <a:pos x="217" y="63"/>
                </a:cxn>
                <a:cxn ang="0">
                  <a:pos x="193" y="15"/>
                </a:cxn>
                <a:cxn ang="0">
                  <a:pos x="180" y="1"/>
                </a:cxn>
                <a:cxn ang="0">
                  <a:pos x="164" y="3"/>
                </a:cxn>
                <a:cxn ang="0">
                  <a:pos x="156" y="19"/>
                </a:cxn>
                <a:cxn ang="0">
                  <a:pos x="137" y="40"/>
                </a:cxn>
                <a:cxn ang="0">
                  <a:pos x="105" y="61"/>
                </a:cxn>
                <a:cxn ang="0">
                  <a:pos x="73" y="79"/>
                </a:cxn>
                <a:cxn ang="0">
                  <a:pos x="52" y="101"/>
                </a:cxn>
                <a:cxn ang="0">
                  <a:pos x="48" y="115"/>
                </a:cxn>
                <a:cxn ang="0">
                  <a:pos x="57" y="136"/>
                </a:cxn>
                <a:cxn ang="0">
                  <a:pos x="73" y="148"/>
                </a:cxn>
                <a:cxn ang="0">
                  <a:pos x="76" y="168"/>
                </a:cxn>
                <a:cxn ang="0">
                  <a:pos x="61" y="204"/>
                </a:cxn>
                <a:cxn ang="0">
                  <a:pos x="40" y="225"/>
                </a:cxn>
                <a:cxn ang="0">
                  <a:pos x="24" y="229"/>
                </a:cxn>
                <a:cxn ang="0">
                  <a:pos x="14" y="257"/>
                </a:cxn>
                <a:cxn ang="0">
                  <a:pos x="0" y="271"/>
                </a:cxn>
                <a:cxn ang="0">
                  <a:pos x="2" y="283"/>
                </a:cxn>
                <a:cxn ang="0">
                  <a:pos x="18" y="293"/>
                </a:cxn>
                <a:cxn ang="0">
                  <a:pos x="56" y="309"/>
                </a:cxn>
                <a:cxn ang="0">
                  <a:pos x="73" y="341"/>
                </a:cxn>
                <a:cxn ang="0">
                  <a:pos x="90" y="363"/>
                </a:cxn>
                <a:cxn ang="0">
                  <a:pos x="108" y="368"/>
                </a:cxn>
                <a:cxn ang="0">
                  <a:pos x="130" y="364"/>
                </a:cxn>
                <a:cxn ang="0">
                  <a:pos x="157" y="345"/>
                </a:cxn>
                <a:cxn ang="0">
                  <a:pos x="180" y="323"/>
                </a:cxn>
                <a:cxn ang="0">
                  <a:pos x="198" y="313"/>
                </a:cxn>
                <a:cxn ang="0">
                  <a:pos x="259" y="297"/>
                </a:cxn>
                <a:cxn ang="0">
                  <a:pos x="277" y="287"/>
                </a:cxn>
                <a:cxn ang="0">
                  <a:pos x="287" y="272"/>
                </a:cxn>
                <a:cxn ang="0">
                  <a:pos x="286" y="257"/>
                </a:cxn>
                <a:cxn ang="0">
                  <a:pos x="274" y="244"/>
                </a:cxn>
                <a:cxn ang="0">
                  <a:pos x="253" y="224"/>
                </a:cxn>
                <a:cxn ang="0">
                  <a:pos x="246" y="211"/>
                </a:cxn>
                <a:cxn ang="0">
                  <a:pos x="247" y="197"/>
                </a:cxn>
                <a:cxn ang="0">
                  <a:pos x="259" y="183"/>
                </a:cxn>
                <a:cxn ang="0">
                  <a:pos x="281" y="161"/>
                </a:cxn>
                <a:cxn ang="0">
                  <a:pos x="287" y="145"/>
                </a:cxn>
                <a:cxn ang="0">
                  <a:pos x="283" y="119"/>
                </a:cxn>
                <a:cxn ang="0">
                  <a:pos x="266" y="97"/>
                </a:cxn>
                <a:cxn ang="0">
                  <a:pos x="239" y="91"/>
                </a:cxn>
              </a:cxnLst>
              <a:rect l="0" t="0" r="r" b="b"/>
              <a:pathLst>
                <a:path w="287" h="368">
                  <a:moveTo>
                    <a:pt x="239" y="91"/>
                  </a:moveTo>
                  <a:lnTo>
                    <a:pt x="235" y="89"/>
                  </a:lnTo>
                  <a:lnTo>
                    <a:pt x="231" y="87"/>
                  </a:lnTo>
                  <a:lnTo>
                    <a:pt x="228" y="83"/>
                  </a:lnTo>
                  <a:lnTo>
                    <a:pt x="224" y="76"/>
                  </a:lnTo>
                  <a:lnTo>
                    <a:pt x="217" y="63"/>
                  </a:lnTo>
                  <a:lnTo>
                    <a:pt x="209" y="45"/>
                  </a:lnTo>
                  <a:lnTo>
                    <a:pt x="201" y="29"/>
                  </a:lnTo>
                  <a:lnTo>
                    <a:pt x="193" y="15"/>
                  </a:lnTo>
                  <a:lnTo>
                    <a:pt x="189" y="8"/>
                  </a:lnTo>
                  <a:lnTo>
                    <a:pt x="184" y="4"/>
                  </a:lnTo>
                  <a:lnTo>
                    <a:pt x="180" y="1"/>
                  </a:lnTo>
                  <a:lnTo>
                    <a:pt x="174" y="0"/>
                  </a:lnTo>
                  <a:lnTo>
                    <a:pt x="168" y="1"/>
                  </a:lnTo>
                  <a:lnTo>
                    <a:pt x="164" y="3"/>
                  </a:lnTo>
                  <a:lnTo>
                    <a:pt x="160" y="7"/>
                  </a:lnTo>
                  <a:lnTo>
                    <a:pt x="158" y="11"/>
                  </a:lnTo>
                  <a:lnTo>
                    <a:pt x="156" y="19"/>
                  </a:lnTo>
                  <a:lnTo>
                    <a:pt x="156" y="24"/>
                  </a:lnTo>
                  <a:lnTo>
                    <a:pt x="150" y="29"/>
                  </a:lnTo>
                  <a:lnTo>
                    <a:pt x="137" y="40"/>
                  </a:lnTo>
                  <a:lnTo>
                    <a:pt x="122" y="52"/>
                  </a:lnTo>
                  <a:lnTo>
                    <a:pt x="113" y="60"/>
                  </a:lnTo>
                  <a:lnTo>
                    <a:pt x="105" y="61"/>
                  </a:lnTo>
                  <a:lnTo>
                    <a:pt x="96" y="65"/>
                  </a:lnTo>
                  <a:lnTo>
                    <a:pt x="85" y="71"/>
                  </a:lnTo>
                  <a:lnTo>
                    <a:pt x="73" y="79"/>
                  </a:lnTo>
                  <a:lnTo>
                    <a:pt x="64" y="87"/>
                  </a:lnTo>
                  <a:lnTo>
                    <a:pt x="56" y="96"/>
                  </a:lnTo>
                  <a:lnTo>
                    <a:pt x="52" y="101"/>
                  </a:lnTo>
                  <a:lnTo>
                    <a:pt x="49" y="105"/>
                  </a:lnTo>
                  <a:lnTo>
                    <a:pt x="48" y="111"/>
                  </a:lnTo>
                  <a:lnTo>
                    <a:pt x="48" y="115"/>
                  </a:lnTo>
                  <a:lnTo>
                    <a:pt x="49" y="123"/>
                  </a:lnTo>
                  <a:lnTo>
                    <a:pt x="52" y="129"/>
                  </a:lnTo>
                  <a:lnTo>
                    <a:pt x="57" y="136"/>
                  </a:lnTo>
                  <a:lnTo>
                    <a:pt x="62" y="140"/>
                  </a:lnTo>
                  <a:lnTo>
                    <a:pt x="68" y="144"/>
                  </a:lnTo>
                  <a:lnTo>
                    <a:pt x="73" y="148"/>
                  </a:lnTo>
                  <a:lnTo>
                    <a:pt x="76" y="152"/>
                  </a:lnTo>
                  <a:lnTo>
                    <a:pt x="77" y="157"/>
                  </a:lnTo>
                  <a:lnTo>
                    <a:pt x="76" y="168"/>
                  </a:lnTo>
                  <a:lnTo>
                    <a:pt x="73" y="181"/>
                  </a:lnTo>
                  <a:lnTo>
                    <a:pt x="68" y="193"/>
                  </a:lnTo>
                  <a:lnTo>
                    <a:pt x="61" y="204"/>
                  </a:lnTo>
                  <a:lnTo>
                    <a:pt x="53" y="215"/>
                  </a:lnTo>
                  <a:lnTo>
                    <a:pt x="45" y="223"/>
                  </a:lnTo>
                  <a:lnTo>
                    <a:pt x="40" y="225"/>
                  </a:lnTo>
                  <a:lnTo>
                    <a:pt x="34" y="227"/>
                  </a:lnTo>
                  <a:lnTo>
                    <a:pt x="29" y="229"/>
                  </a:lnTo>
                  <a:lnTo>
                    <a:pt x="24" y="229"/>
                  </a:lnTo>
                  <a:lnTo>
                    <a:pt x="24" y="244"/>
                  </a:lnTo>
                  <a:lnTo>
                    <a:pt x="24" y="253"/>
                  </a:lnTo>
                  <a:lnTo>
                    <a:pt x="14" y="257"/>
                  </a:lnTo>
                  <a:lnTo>
                    <a:pt x="6" y="263"/>
                  </a:lnTo>
                  <a:lnTo>
                    <a:pt x="1" y="267"/>
                  </a:lnTo>
                  <a:lnTo>
                    <a:pt x="0" y="271"/>
                  </a:lnTo>
                  <a:lnTo>
                    <a:pt x="0" y="276"/>
                  </a:lnTo>
                  <a:lnTo>
                    <a:pt x="1" y="279"/>
                  </a:lnTo>
                  <a:lnTo>
                    <a:pt x="2" y="283"/>
                  </a:lnTo>
                  <a:lnTo>
                    <a:pt x="5" y="285"/>
                  </a:lnTo>
                  <a:lnTo>
                    <a:pt x="12" y="289"/>
                  </a:lnTo>
                  <a:lnTo>
                    <a:pt x="18" y="293"/>
                  </a:lnTo>
                  <a:lnTo>
                    <a:pt x="34" y="297"/>
                  </a:lnTo>
                  <a:lnTo>
                    <a:pt x="48" y="301"/>
                  </a:lnTo>
                  <a:lnTo>
                    <a:pt x="56" y="309"/>
                  </a:lnTo>
                  <a:lnTo>
                    <a:pt x="62" y="320"/>
                  </a:lnTo>
                  <a:lnTo>
                    <a:pt x="68" y="331"/>
                  </a:lnTo>
                  <a:lnTo>
                    <a:pt x="73" y="341"/>
                  </a:lnTo>
                  <a:lnTo>
                    <a:pt x="78" y="352"/>
                  </a:lnTo>
                  <a:lnTo>
                    <a:pt x="86" y="360"/>
                  </a:lnTo>
                  <a:lnTo>
                    <a:pt x="90" y="363"/>
                  </a:lnTo>
                  <a:lnTo>
                    <a:pt x="96" y="365"/>
                  </a:lnTo>
                  <a:lnTo>
                    <a:pt x="101" y="367"/>
                  </a:lnTo>
                  <a:lnTo>
                    <a:pt x="108" y="368"/>
                  </a:lnTo>
                  <a:lnTo>
                    <a:pt x="116" y="367"/>
                  </a:lnTo>
                  <a:lnTo>
                    <a:pt x="124" y="365"/>
                  </a:lnTo>
                  <a:lnTo>
                    <a:pt x="130" y="364"/>
                  </a:lnTo>
                  <a:lnTo>
                    <a:pt x="137" y="361"/>
                  </a:lnTo>
                  <a:lnTo>
                    <a:pt x="148" y="353"/>
                  </a:lnTo>
                  <a:lnTo>
                    <a:pt x="157" y="345"/>
                  </a:lnTo>
                  <a:lnTo>
                    <a:pt x="166" y="336"/>
                  </a:lnTo>
                  <a:lnTo>
                    <a:pt x="176" y="327"/>
                  </a:lnTo>
                  <a:lnTo>
                    <a:pt x="180" y="323"/>
                  </a:lnTo>
                  <a:lnTo>
                    <a:pt x="185" y="319"/>
                  </a:lnTo>
                  <a:lnTo>
                    <a:pt x="192" y="316"/>
                  </a:lnTo>
                  <a:lnTo>
                    <a:pt x="198" y="313"/>
                  </a:lnTo>
                  <a:lnTo>
                    <a:pt x="222" y="308"/>
                  </a:lnTo>
                  <a:lnTo>
                    <a:pt x="251" y="301"/>
                  </a:lnTo>
                  <a:lnTo>
                    <a:pt x="259" y="297"/>
                  </a:lnTo>
                  <a:lnTo>
                    <a:pt x="266" y="295"/>
                  </a:lnTo>
                  <a:lnTo>
                    <a:pt x="271" y="291"/>
                  </a:lnTo>
                  <a:lnTo>
                    <a:pt x="277" y="287"/>
                  </a:lnTo>
                  <a:lnTo>
                    <a:pt x="282" y="283"/>
                  </a:lnTo>
                  <a:lnTo>
                    <a:pt x="285" y="277"/>
                  </a:lnTo>
                  <a:lnTo>
                    <a:pt x="287" y="272"/>
                  </a:lnTo>
                  <a:lnTo>
                    <a:pt x="287" y="265"/>
                  </a:lnTo>
                  <a:lnTo>
                    <a:pt x="287" y="261"/>
                  </a:lnTo>
                  <a:lnTo>
                    <a:pt x="286" y="257"/>
                  </a:lnTo>
                  <a:lnTo>
                    <a:pt x="283" y="253"/>
                  </a:lnTo>
                  <a:lnTo>
                    <a:pt x="281" y="249"/>
                  </a:lnTo>
                  <a:lnTo>
                    <a:pt x="274" y="244"/>
                  </a:lnTo>
                  <a:lnTo>
                    <a:pt x="267" y="237"/>
                  </a:lnTo>
                  <a:lnTo>
                    <a:pt x="259" y="231"/>
                  </a:lnTo>
                  <a:lnTo>
                    <a:pt x="253" y="224"/>
                  </a:lnTo>
                  <a:lnTo>
                    <a:pt x="250" y="220"/>
                  </a:lnTo>
                  <a:lnTo>
                    <a:pt x="247" y="215"/>
                  </a:lnTo>
                  <a:lnTo>
                    <a:pt x="246" y="211"/>
                  </a:lnTo>
                  <a:lnTo>
                    <a:pt x="246" y="205"/>
                  </a:lnTo>
                  <a:lnTo>
                    <a:pt x="246" y="201"/>
                  </a:lnTo>
                  <a:lnTo>
                    <a:pt x="247" y="197"/>
                  </a:lnTo>
                  <a:lnTo>
                    <a:pt x="250" y="193"/>
                  </a:lnTo>
                  <a:lnTo>
                    <a:pt x="253" y="189"/>
                  </a:lnTo>
                  <a:lnTo>
                    <a:pt x="259" y="183"/>
                  </a:lnTo>
                  <a:lnTo>
                    <a:pt x="267" y="176"/>
                  </a:lnTo>
                  <a:lnTo>
                    <a:pt x="274" y="169"/>
                  </a:lnTo>
                  <a:lnTo>
                    <a:pt x="281" y="161"/>
                  </a:lnTo>
                  <a:lnTo>
                    <a:pt x="283" y="156"/>
                  </a:lnTo>
                  <a:lnTo>
                    <a:pt x="286" y="151"/>
                  </a:lnTo>
                  <a:lnTo>
                    <a:pt x="287" y="145"/>
                  </a:lnTo>
                  <a:lnTo>
                    <a:pt x="287" y="139"/>
                  </a:lnTo>
                  <a:lnTo>
                    <a:pt x="287" y="128"/>
                  </a:lnTo>
                  <a:lnTo>
                    <a:pt x="283" y="119"/>
                  </a:lnTo>
                  <a:lnTo>
                    <a:pt x="279" y="111"/>
                  </a:lnTo>
                  <a:lnTo>
                    <a:pt x="273" y="104"/>
                  </a:lnTo>
                  <a:lnTo>
                    <a:pt x="266" y="97"/>
                  </a:lnTo>
                  <a:lnTo>
                    <a:pt x="258" y="93"/>
                  </a:lnTo>
                  <a:lnTo>
                    <a:pt x="249" y="92"/>
                  </a:lnTo>
                  <a:lnTo>
                    <a:pt x="239" y="9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5" name="Freeform 6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652963" y="1827213"/>
              <a:ext cx="144462" cy="139700"/>
            </a:xfrm>
            <a:custGeom>
              <a:avLst/>
              <a:gdLst/>
              <a:ahLst/>
              <a:cxnLst>
                <a:cxn ang="0">
                  <a:pos x="165" y="6"/>
                </a:cxn>
                <a:cxn ang="0">
                  <a:pos x="104" y="32"/>
                </a:cxn>
                <a:cxn ang="0">
                  <a:pos x="76" y="46"/>
                </a:cxn>
                <a:cxn ang="0">
                  <a:pos x="64" y="56"/>
                </a:cxn>
                <a:cxn ang="0">
                  <a:pos x="57" y="81"/>
                </a:cxn>
                <a:cxn ang="0">
                  <a:pos x="56" y="102"/>
                </a:cxn>
                <a:cxn ang="0">
                  <a:pos x="52" y="114"/>
                </a:cxn>
                <a:cxn ang="0">
                  <a:pos x="44" y="128"/>
                </a:cxn>
                <a:cxn ang="0">
                  <a:pos x="30" y="141"/>
                </a:cxn>
                <a:cxn ang="0">
                  <a:pos x="13" y="154"/>
                </a:cxn>
                <a:cxn ang="0">
                  <a:pos x="4" y="165"/>
                </a:cxn>
                <a:cxn ang="0">
                  <a:pos x="0" y="171"/>
                </a:cxn>
                <a:cxn ang="0">
                  <a:pos x="0" y="181"/>
                </a:cxn>
                <a:cxn ang="0">
                  <a:pos x="5" y="189"/>
                </a:cxn>
                <a:cxn ang="0">
                  <a:pos x="18" y="199"/>
                </a:cxn>
                <a:cxn ang="0">
                  <a:pos x="41" y="213"/>
                </a:cxn>
                <a:cxn ang="0">
                  <a:pos x="54" y="225"/>
                </a:cxn>
                <a:cxn ang="0">
                  <a:pos x="60" y="235"/>
                </a:cxn>
                <a:cxn ang="0">
                  <a:pos x="61" y="254"/>
                </a:cxn>
                <a:cxn ang="0">
                  <a:pos x="66" y="278"/>
                </a:cxn>
                <a:cxn ang="0">
                  <a:pos x="80" y="297"/>
                </a:cxn>
                <a:cxn ang="0">
                  <a:pos x="92" y="305"/>
                </a:cxn>
                <a:cxn ang="0">
                  <a:pos x="102" y="307"/>
                </a:cxn>
                <a:cxn ang="0">
                  <a:pos x="118" y="309"/>
                </a:cxn>
                <a:cxn ang="0">
                  <a:pos x="139" y="314"/>
                </a:cxn>
                <a:cxn ang="0">
                  <a:pos x="166" y="329"/>
                </a:cxn>
                <a:cxn ang="0">
                  <a:pos x="202" y="353"/>
                </a:cxn>
                <a:cxn ang="0">
                  <a:pos x="230" y="367"/>
                </a:cxn>
                <a:cxn ang="0">
                  <a:pos x="253" y="373"/>
                </a:cxn>
                <a:cxn ang="0">
                  <a:pos x="279" y="373"/>
                </a:cxn>
                <a:cxn ang="0">
                  <a:pos x="306" y="366"/>
                </a:cxn>
                <a:cxn ang="0">
                  <a:pos x="321" y="355"/>
                </a:cxn>
                <a:cxn ang="0">
                  <a:pos x="329" y="346"/>
                </a:cxn>
                <a:cxn ang="0">
                  <a:pos x="334" y="335"/>
                </a:cxn>
                <a:cxn ang="0">
                  <a:pos x="337" y="321"/>
                </a:cxn>
                <a:cxn ang="0">
                  <a:pos x="335" y="301"/>
                </a:cxn>
                <a:cxn ang="0">
                  <a:pos x="327" y="282"/>
                </a:cxn>
                <a:cxn ang="0">
                  <a:pos x="315" y="267"/>
                </a:cxn>
                <a:cxn ang="0">
                  <a:pos x="307" y="251"/>
                </a:cxn>
                <a:cxn ang="0">
                  <a:pos x="313" y="223"/>
                </a:cxn>
                <a:cxn ang="0">
                  <a:pos x="318" y="167"/>
                </a:cxn>
                <a:cxn ang="0">
                  <a:pos x="318" y="114"/>
                </a:cxn>
                <a:cxn ang="0">
                  <a:pos x="318" y="77"/>
                </a:cxn>
                <a:cxn ang="0">
                  <a:pos x="311" y="52"/>
                </a:cxn>
                <a:cxn ang="0">
                  <a:pos x="299" y="32"/>
                </a:cxn>
                <a:cxn ang="0">
                  <a:pos x="286" y="22"/>
                </a:cxn>
                <a:cxn ang="0">
                  <a:pos x="275" y="20"/>
                </a:cxn>
                <a:cxn ang="0">
                  <a:pos x="265" y="20"/>
                </a:cxn>
                <a:cxn ang="0">
                  <a:pos x="258" y="25"/>
                </a:cxn>
                <a:cxn ang="0">
                  <a:pos x="258" y="38"/>
                </a:cxn>
                <a:cxn ang="0">
                  <a:pos x="249" y="72"/>
                </a:cxn>
                <a:cxn ang="0">
                  <a:pos x="230" y="101"/>
                </a:cxn>
                <a:cxn ang="0">
                  <a:pos x="217" y="116"/>
                </a:cxn>
                <a:cxn ang="0">
                  <a:pos x="206" y="113"/>
                </a:cxn>
                <a:cxn ang="0">
                  <a:pos x="199" y="98"/>
                </a:cxn>
                <a:cxn ang="0">
                  <a:pos x="199" y="82"/>
                </a:cxn>
                <a:cxn ang="0">
                  <a:pos x="206" y="66"/>
                </a:cxn>
                <a:cxn ang="0">
                  <a:pos x="214" y="50"/>
                </a:cxn>
                <a:cxn ang="0">
                  <a:pos x="221" y="33"/>
                </a:cxn>
                <a:cxn ang="0">
                  <a:pos x="222" y="14"/>
                </a:cxn>
                <a:cxn ang="0">
                  <a:pos x="217" y="4"/>
                </a:cxn>
                <a:cxn ang="0">
                  <a:pos x="202" y="0"/>
                </a:cxn>
              </a:cxnLst>
              <a:rect l="0" t="0" r="r" b="b"/>
              <a:pathLst>
                <a:path w="337" h="374">
                  <a:moveTo>
                    <a:pt x="186" y="1"/>
                  </a:moveTo>
                  <a:lnTo>
                    <a:pt x="165" y="6"/>
                  </a:lnTo>
                  <a:lnTo>
                    <a:pt x="125" y="21"/>
                  </a:lnTo>
                  <a:lnTo>
                    <a:pt x="104" y="32"/>
                  </a:lnTo>
                  <a:lnTo>
                    <a:pt x="84" y="41"/>
                  </a:lnTo>
                  <a:lnTo>
                    <a:pt x="76" y="46"/>
                  </a:lnTo>
                  <a:lnTo>
                    <a:pt x="69" y="52"/>
                  </a:lnTo>
                  <a:lnTo>
                    <a:pt x="64" y="56"/>
                  </a:lnTo>
                  <a:lnTo>
                    <a:pt x="60" y="61"/>
                  </a:lnTo>
                  <a:lnTo>
                    <a:pt x="57" y="81"/>
                  </a:lnTo>
                  <a:lnTo>
                    <a:pt x="56" y="96"/>
                  </a:lnTo>
                  <a:lnTo>
                    <a:pt x="56" y="102"/>
                  </a:lnTo>
                  <a:lnTo>
                    <a:pt x="54" y="108"/>
                  </a:lnTo>
                  <a:lnTo>
                    <a:pt x="52" y="114"/>
                  </a:lnTo>
                  <a:lnTo>
                    <a:pt x="48" y="121"/>
                  </a:lnTo>
                  <a:lnTo>
                    <a:pt x="44" y="128"/>
                  </a:lnTo>
                  <a:lnTo>
                    <a:pt x="37" y="134"/>
                  </a:lnTo>
                  <a:lnTo>
                    <a:pt x="30" y="141"/>
                  </a:lnTo>
                  <a:lnTo>
                    <a:pt x="21" y="148"/>
                  </a:lnTo>
                  <a:lnTo>
                    <a:pt x="13" y="154"/>
                  </a:lnTo>
                  <a:lnTo>
                    <a:pt x="6" y="162"/>
                  </a:lnTo>
                  <a:lnTo>
                    <a:pt x="4" y="165"/>
                  </a:lnTo>
                  <a:lnTo>
                    <a:pt x="1" y="169"/>
                  </a:lnTo>
                  <a:lnTo>
                    <a:pt x="0" y="171"/>
                  </a:lnTo>
                  <a:lnTo>
                    <a:pt x="0" y="175"/>
                  </a:lnTo>
                  <a:lnTo>
                    <a:pt x="0" y="181"/>
                  </a:lnTo>
                  <a:lnTo>
                    <a:pt x="2" y="185"/>
                  </a:lnTo>
                  <a:lnTo>
                    <a:pt x="5" y="189"/>
                  </a:lnTo>
                  <a:lnTo>
                    <a:pt x="9" y="193"/>
                  </a:lnTo>
                  <a:lnTo>
                    <a:pt x="18" y="199"/>
                  </a:lnTo>
                  <a:lnTo>
                    <a:pt x="29" y="206"/>
                  </a:lnTo>
                  <a:lnTo>
                    <a:pt x="41" y="213"/>
                  </a:lnTo>
                  <a:lnTo>
                    <a:pt x="50" y="219"/>
                  </a:lnTo>
                  <a:lnTo>
                    <a:pt x="54" y="225"/>
                  </a:lnTo>
                  <a:lnTo>
                    <a:pt x="57" y="229"/>
                  </a:lnTo>
                  <a:lnTo>
                    <a:pt x="60" y="235"/>
                  </a:lnTo>
                  <a:lnTo>
                    <a:pt x="60" y="241"/>
                  </a:lnTo>
                  <a:lnTo>
                    <a:pt x="61" y="254"/>
                  </a:lnTo>
                  <a:lnTo>
                    <a:pt x="62" y="267"/>
                  </a:lnTo>
                  <a:lnTo>
                    <a:pt x="66" y="278"/>
                  </a:lnTo>
                  <a:lnTo>
                    <a:pt x="73" y="287"/>
                  </a:lnTo>
                  <a:lnTo>
                    <a:pt x="80" y="297"/>
                  </a:lnTo>
                  <a:lnTo>
                    <a:pt x="88" y="302"/>
                  </a:lnTo>
                  <a:lnTo>
                    <a:pt x="92" y="305"/>
                  </a:lnTo>
                  <a:lnTo>
                    <a:pt x="97" y="306"/>
                  </a:lnTo>
                  <a:lnTo>
                    <a:pt x="102" y="307"/>
                  </a:lnTo>
                  <a:lnTo>
                    <a:pt x="108" y="307"/>
                  </a:lnTo>
                  <a:lnTo>
                    <a:pt x="118" y="309"/>
                  </a:lnTo>
                  <a:lnTo>
                    <a:pt x="129" y="310"/>
                  </a:lnTo>
                  <a:lnTo>
                    <a:pt x="139" y="314"/>
                  </a:lnTo>
                  <a:lnTo>
                    <a:pt x="149" y="318"/>
                  </a:lnTo>
                  <a:lnTo>
                    <a:pt x="166" y="329"/>
                  </a:lnTo>
                  <a:lnTo>
                    <a:pt x="183" y="341"/>
                  </a:lnTo>
                  <a:lnTo>
                    <a:pt x="202" y="353"/>
                  </a:lnTo>
                  <a:lnTo>
                    <a:pt x="221" y="363"/>
                  </a:lnTo>
                  <a:lnTo>
                    <a:pt x="230" y="367"/>
                  </a:lnTo>
                  <a:lnTo>
                    <a:pt x="241" y="371"/>
                  </a:lnTo>
                  <a:lnTo>
                    <a:pt x="253" y="373"/>
                  </a:lnTo>
                  <a:lnTo>
                    <a:pt x="265" y="374"/>
                  </a:lnTo>
                  <a:lnTo>
                    <a:pt x="279" y="373"/>
                  </a:lnTo>
                  <a:lnTo>
                    <a:pt x="293" y="370"/>
                  </a:lnTo>
                  <a:lnTo>
                    <a:pt x="306" y="366"/>
                  </a:lnTo>
                  <a:lnTo>
                    <a:pt x="317" y="359"/>
                  </a:lnTo>
                  <a:lnTo>
                    <a:pt x="321" y="355"/>
                  </a:lnTo>
                  <a:lnTo>
                    <a:pt x="325" y="351"/>
                  </a:lnTo>
                  <a:lnTo>
                    <a:pt x="329" y="346"/>
                  </a:lnTo>
                  <a:lnTo>
                    <a:pt x="331" y="341"/>
                  </a:lnTo>
                  <a:lnTo>
                    <a:pt x="334" y="335"/>
                  </a:lnTo>
                  <a:lnTo>
                    <a:pt x="335" y="329"/>
                  </a:lnTo>
                  <a:lnTo>
                    <a:pt x="337" y="321"/>
                  </a:lnTo>
                  <a:lnTo>
                    <a:pt x="337" y="314"/>
                  </a:lnTo>
                  <a:lnTo>
                    <a:pt x="335" y="301"/>
                  </a:lnTo>
                  <a:lnTo>
                    <a:pt x="331" y="291"/>
                  </a:lnTo>
                  <a:lnTo>
                    <a:pt x="327" y="282"/>
                  </a:lnTo>
                  <a:lnTo>
                    <a:pt x="322" y="275"/>
                  </a:lnTo>
                  <a:lnTo>
                    <a:pt x="315" y="267"/>
                  </a:lnTo>
                  <a:lnTo>
                    <a:pt x="311" y="261"/>
                  </a:lnTo>
                  <a:lnTo>
                    <a:pt x="307" y="251"/>
                  </a:lnTo>
                  <a:lnTo>
                    <a:pt x="306" y="241"/>
                  </a:lnTo>
                  <a:lnTo>
                    <a:pt x="313" y="223"/>
                  </a:lnTo>
                  <a:lnTo>
                    <a:pt x="318" y="211"/>
                  </a:lnTo>
                  <a:lnTo>
                    <a:pt x="318" y="167"/>
                  </a:lnTo>
                  <a:lnTo>
                    <a:pt x="318" y="137"/>
                  </a:lnTo>
                  <a:lnTo>
                    <a:pt x="318" y="114"/>
                  </a:lnTo>
                  <a:lnTo>
                    <a:pt x="318" y="90"/>
                  </a:lnTo>
                  <a:lnTo>
                    <a:pt x="318" y="77"/>
                  </a:lnTo>
                  <a:lnTo>
                    <a:pt x="315" y="65"/>
                  </a:lnTo>
                  <a:lnTo>
                    <a:pt x="311" y="52"/>
                  </a:lnTo>
                  <a:lnTo>
                    <a:pt x="306" y="41"/>
                  </a:lnTo>
                  <a:lnTo>
                    <a:pt x="299" y="32"/>
                  </a:lnTo>
                  <a:lnTo>
                    <a:pt x="290" y="25"/>
                  </a:lnTo>
                  <a:lnTo>
                    <a:pt x="286" y="22"/>
                  </a:lnTo>
                  <a:lnTo>
                    <a:pt x="281" y="20"/>
                  </a:lnTo>
                  <a:lnTo>
                    <a:pt x="275" y="20"/>
                  </a:lnTo>
                  <a:lnTo>
                    <a:pt x="270" y="18"/>
                  </a:lnTo>
                  <a:lnTo>
                    <a:pt x="265" y="20"/>
                  </a:lnTo>
                  <a:lnTo>
                    <a:pt x="261" y="21"/>
                  </a:lnTo>
                  <a:lnTo>
                    <a:pt x="258" y="25"/>
                  </a:lnTo>
                  <a:lnTo>
                    <a:pt x="258" y="29"/>
                  </a:lnTo>
                  <a:lnTo>
                    <a:pt x="258" y="38"/>
                  </a:lnTo>
                  <a:lnTo>
                    <a:pt x="258" y="49"/>
                  </a:lnTo>
                  <a:lnTo>
                    <a:pt x="249" y="72"/>
                  </a:lnTo>
                  <a:lnTo>
                    <a:pt x="237" y="92"/>
                  </a:lnTo>
                  <a:lnTo>
                    <a:pt x="230" y="101"/>
                  </a:lnTo>
                  <a:lnTo>
                    <a:pt x="223" y="109"/>
                  </a:lnTo>
                  <a:lnTo>
                    <a:pt x="217" y="116"/>
                  </a:lnTo>
                  <a:lnTo>
                    <a:pt x="210" y="121"/>
                  </a:lnTo>
                  <a:lnTo>
                    <a:pt x="206" y="113"/>
                  </a:lnTo>
                  <a:lnTo>
                    <a:pt x="202" y="106"/>
                  </a:lnTo>
                  <a:lnTo>
                    <a:pt x="199" y="98"/>
                  </a:lnTo>
                  <a:lnTo>
                    <a:pt x="198" y="90"/>
                  </a:lnTo>
                  <a:lnTo>
                    <a:pt x="199" y="82"/>
                  </a:lnTo>
                  <a:lnTo>
                    <a:pt x="202" y="74"/>
                  </a:lnTo>
                  <a:lnTo>
                    <a:pt x="206" y="66"/>
                  </a:lnTo>
                  <a:lnTo>
                    <a:pt x="210" y="58"/>
                  </a:lnTo>
                  <a:lnTo>
                    <a:pt x="214" y="50"/>
                  </a:lnTo>
                  <a:lnTo>
                    <a:pt x="218" y="42"/>
                  </a:lnTo>
                  <a:lnTo>
                    <a:pt x="221" y="33"/>
                  </a:lnTo>
                  <a:lnTo>
                    <a:pt x="222" y="25"/>
                  </a:lnTo>
                  <a:lnTo>
                    <a:pt x="222" y="14"/>
                  </a:lnTo>
                  <a:lnTo>
                    <a:pt x="219" y="8"/>
                  </a:lnTo>
                  <a:lnTo>
                    <a:pt x="217" y="4"/>
                  </a:lnTo>
                  <a:lnTo>
                    <a:pt x="213" y="1"/>
                  </a:lnTo>
                  <a:lnTo>
                    <a:pt x="202" y="0"/>
                  </a:lnTo>
                  <a:lnTo>
                    <a:pt x="186" y="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6" name="Freeform 7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805363" y="1890713"/>
              <a:ext cx="125412" cy="158750"/>
            </a:xfrm>
            <a:custGeom>
              <a:avLst/>
              <a:gdLst/>
              <a:ahLst/>
              <a:cxnLst>
                <a:cxn ang="0">
                  <a:pos x="133" y="35"/>
                </a:cxn>
                <a:cxn ang="0">
                  <a:pos x="132" y="19"/>
                </a:cxn>
                <a:cxn ang="0">
                  <a:pos x="128" y="11"/>
                </a:cxn>
                <a:cxn ang="0">
                  <a:pos x="121" y="4"/>
                </a:cxn>
                <a:cxn ang="0">
                  <a:pos x="113" y="0"/>
                </a:cxn>
                <a:cxn ang="0">
                  <a:pos x="105" y="2"/>
                </a:cxn>
                <a:cxn ang="0">
                  <a:pos x="92" y="16"/>
                </a:cxn>
                <a:cxn ang="0">
                  <a:pos x="71" y="46"/>
                </a:cxn>
                <a:cxn ang="0">
                  <a:pos x="61" y="120"/>
                </a:cxn>
                <a:cxn ang="0">
                  <a:pos x="45" y="203"/>
                </a:cxn>
                <a:cxn ang="0">
                  <a:pos x="36" y="238"/>
                </a:cxn>
                <a:cxn ang="0">
                  <a:pos x="24" y="271"/>
                </a:cxn>
                <a:cxn ang="0">
                  <a:pos x="20" y="331"/>
                </a:cxn>
                <a:cxn ang="0">
                  <a:pos x="12" y="348"/>
                </a:cxn>
                <a:cxn ang="0">
                  <a:pos x="3" y="380"/>
                </a:cxn>
                <a:cxn ang="0">
                  <a:pos x="1" y="404"/>
                </a:cxn>
                <a:cxn ang="0">
                  <a:pos x="5" y="414"/>
                </a:cxn>
                <a:cxn ang="0">
                  <a:pos x="12" y="419"/>
                </a:cxn>
                <a:cxn ang="0">
                  <a:pos x="20" y="422"/>
                </a:cxn>
                <a:cxn ang="0">
                  <a:pos x="33" y="420"/>
                </a:cxn>
                <a:cxn ang="0">
                  <a:pos x="47" y="414"/>
                </a:cxn>
                <a:cxn ang="0">
                  <a:pos x="64" y="396"/>
                </a:cxn>
                <a:cxn ang="0">
                  <a:pos x="84" y="375"/>
                </a:cxn>
                <a:cxn ang="0">
                  <a:pos x="111" y="356"/>
                </a:cxn>
                <a:cxn ang="0">
                  <a:pos x="140" y="342"/>
                </a:cxn>
                <a:cxn ang="0">
                  <a:pos x="172" y="330"/>
                </a:cxn>
                <a:cxn ang="0">
                  <a:pos x="205" y="318"/>
                </a:cxn>
                <a:cxn ang="0">
                  <a:pos x="241" y="296"/>
                </a:cxn>
                <a:cxn ang="0">
                  <a:pos x="264" y="275"/>
                </a:cxn>
                <a:cxn ang="0">
                  <a:pos x="276" y="259"/>
                </a:cxn>
                <a:cxn ang="0">
                  <a:pos x="284" y="239"/>
                </a:cxn>
                <a:cxn ang="0">
                  <a:pos x="289" y="216"/>
                </a:cxn>
                <a:cxn ang="0">
                  <a:pos x="289" y="196"/>
                </a:cxn>
                <a:cxn ang="0">
                  <a:pos x="283" y="178"/>
                </a:cxn>
                <a:cxn ang="0">
                  <a:pos x="265" y="146"/>
                </a:cxn>
                <a:cxn ang="0">
                  <a:pos x="233" y="107"/>
                </a:cxn>
                <a:cxn ang="0">
                  <a:pos x="208" y="86"/>
                </a:cxn>
                <a:cxn ang="0">
                  <a:pos x="193" y="79"/>
                </a:cxn>
                <a:cxn ang="0">
                  <a:pos x="180" y="79"/>
                </a:cxn>
                <a:cxn ang="0">
                  <a:pos x="167" y="82"/>
                </a:cxn>
                <a:cxn ang="0">
                  <a:pos x="156" y="88"/>
                </a:cxn>
                <a:cxn ang="0">
                  <a:pos x="148" y="96"/>
                </a:cxn>
                <a:cxn ang="0">
                  <a:pos x="139" y="112"/>
                </a:cxn>
                <a:cxn ang="0">
                  <a:pos x="133" y="138"/>
                </a:cxn>
                <a:cxn ang="0">
                  <a:pos x="115" y="151"/>
                </a:cxn>
                <a:cxn ang="0">
                  <a:pos x="117" y="103"/>
                </a:cxn>
                <a:cxn ang="0">
                  <a:pos x="131" y="54"/>
                </a:cxn>
              </a:cxnLst>
              <a:rect l="0" t="0" r="r" b="b"/>
              <a:pathLst>
                <a:path w="289" h="422">
                  <a:moveTo>
                    <a:pt x="133" y="42"/>
                  </a:moveTo>
                  <a:lnTo>
                    <a:pt x="133" y="35"/>
                  </a:lnTo>
                  <a:lnTo>
                    <a:pt x="133" y="24"/>
                  </a:lnTo>
                  <a:lnTo>
                    <a:pt x="132" y="19"/>
                  </a:lnTo>
                  <a:lnTo>
                    <a:pt x="131" y="15"/>
                  </a:lnTo>
                  <a:lnTo>
                    <a:pt x="128" y="11"/>
                  </a:lnTo>
                  <a:lnTo>
                    <a:pt x="125" y="7"/>
                  </a:lnTo>
                  <a:lnTo>
                    <a:pt x="121" y="4"/>
                  </a:lnTo>
                  <a:lnTo>
                    <a:pt x="117" y="2"/>
                  </a:lnTo>
                  <a:lnTo>
                    <a:pt x="113" y="0"/>
                  </a:lnTo>
                  <a:lnTo>
                    <a:pt x="109" y="0"/>
                  </a:lnTo>
                  <a:lnTo>
                    <a:pt x="105" y="2"/>
                  </a:lnTo>
                  <a:lnTo>
                    <a:pt x="100" y="7"/>
                  </a:lnTo>
                  <a:lnTo>
                    <a:pt x="92" y="16"/>
                  </a:lnTo>
                  <a:lnTo>
                    <a:pt x="85" y="26"/>
                  </a:lnTo>
                  <a:lnTo>
                    <a:pt x="71" y="46"/>
                  </a:lnTo>
                  <a:lnTo>
                    <a:pt x="61" y="60"/>
                  </a:lnTo>
                  <a:lnTo>
                    <a:pt x="61" y="120"/>
                  </a:lnTo>
                  <a:lnTo>
                    <a:pt x="52" y="163"/>
                  </a:lnTo>
                  <a:lnTo>
                    <a:pt x="45" y="203"/>
                  </a:lnTo>
                  <a:lnTo>
                    <a:pt x="41" y="220"/>
                  </a:lnTo>
                  <a:lnTo>
                    <a:pt x="36" y="238"/>
                  </a:lnTo>
                  <a:lnTo>
                    <a:pt x="31" y="255"/>
                  </a:lnTo>
                  <a:lnTo>
                    <a:pt x="24" y="271"/>
                  </a:lnTo>
                  <a:lnTo>
                    <a:pt x="24" y="326"/>
                  </a:lnTo>
                  <a:lnTo>
                    <a:pt x="20" y="331"/>
                  </a:lnTo>
                  <a:lnTo>
                    <a:pt x="16" y="339"/>
                  </a:lnTo>
                  <a:lnTo>
                    <a:pt x="12" y="348"/>
                  </a:lnTo>
                  <a:lnTo>
                    <a:pt x="8" y="359"/>
                  </a:lnTo>
                  <a:lnTo>
                    <a:pt x="3" y="380"/>
                  </a:lnTo>
                  <a:lnTo>
                    <a:pt x="0" y="398"/>
                  </a:lnTo>
                  <a:lnTo>
                    <a:pt x="1" y="404"/>
                  </a:lnTo>
                  <a:lnTo>
                    <a:pt x="3" y="408"/>
                  </a:lnTo>
                  <a:lnTo>
                    <a:pt x="5" y="414"/>
                  </a:lnTo>
                  <a:lnTo>
                    <a:pt x="8" y="416"/>
                  </a:lnTo>
                  <a:lnTo>
                    <a:pt x="12" y="419"/>
                  </a:lnTo>
                  <a:lnTo>
                    <a:pt x="16" y="420"/>
                  </a:lnTo>
                  <a:lnTo>
                    <a:pt x="20" y="422"/>
                  </a:lnTo>
                  <a:lnTo>
                    <a:pt x="24" y="422"/>
                  </a:lnTo>
                  <a:lnTo>
                    <a:pt x="33" y="420"/>
                  </a:lnTo>
                  <a:lnTo>
                    <a:pt x="40" y="418"/>
                  </a:lnTo>
                  <a:lnTo>
                    <a:pt x="47" y="414"/>
                  </a:lnTo>
                  <a:lnTo>
                    <a:pt x="53" y="408"/>
                  </a:lnTo>
                  <a:lnTo>
                    <a:pt x="64" y="396"/>
                  </a:lnTo>
                  <a:lnTo>
                    <a:pt x="73" y="386"/>
                  </a:lnTo>
                  <a:lnTo>
                    <a:pt x="84" y="375"/>
                  </a:lnTo>
                  <a:lnTo>
                    <a:pt x="97" y="366"/>
                  </a:lnTo>
                  <a:lnTo>
                    <a:pt x="111" y="356"/>
                  </a:lnTo>
                  <a:lnTo>
                    <a:pt x="125" y="348"/>
                  </a:lnTo>
                  <a:lnTo>
                    <a:pt x="140" y="342"/>
                  </a:lnTo>
                  <a:lnTo>
                    <a:pt x="156" y="335"/>
                  </a:lnTo>
                  <a:lnTo>
                    <a:pt x="172" y="330"/>
                  </a:lnTo>
                  <a:lnTo>
                    <a:pt x="187" y="326"/>
                  </a:lnTo>
                  <a:lnTo>
                    <a:pt x="205" y="318"/>
                  </a:lnTo>
                  <a:lnTo>
                    <a:pt x="224" y="308"/>
                  </a:lnTo>
                  <a:lnTo>
                    <a:pt x="241" y="296"/>
                  </a:lnTo>
                  <a:lnTo>
                    <a:pt x="256" y="283"/>
                  </a:lnTo>
                  <a:lnTo>
                    <a:pt x="264" y="275"/>
                  </a:lnTo>
                  <a:lnTo>
                    <a:pt x="269" y="267"/>
                  </a:lnTo>
                  <a:lnTo>
                    <a:pt x="276" y="259"/>
                  </a:lnTo>
                  <a:lnTo>
                    <a:pt x="280" y="248"/>
                  </a:lnTo>
                  <a:lnTo>
                    <a:pt x="284" y="239"/>
                  </a:lnTo>
                  <a:lnTo>
                    <a:pt x="287" y="228"/>
                  </a:lnTo>
                  <a:lnTo>
                    <a:pt x="289" y="216"/>
                  </a:lnTo>
                  <a:lnTo>
                    <a:pt x="289" y="204"/>
                  </a:lnTo>
                  <a:lnTo>
                    <a:pt x="289" y="196"/>
                  </a:lnTo>
                  <a:lnTo>
                    <a:pt x="287" y="187"/>
                  </a:lnTo>
                  <a:lnTo>
                    <a:pt x="283" y="178"/>
                  </a:lnTo>
                  <a:lnTo>
                    <a:pt x="277" y="167"/>
                  </a:lnTo>
                  <a:lnTo>
                    <a:pt x="265" y="146"/>
                  </a:lnTo>
                  <a:lnTo>
                    <a:pt x="249" y="126"/>
                  </a:lnTo>
                  <a:lnTo>
                    <a:pt x="233" y="107"/>
                  </a:lnTo>
                  <a:lnTo>
                    <a:pt x="216" y="92"/>
                  </a:lnTo>
                  <a:lnTo>
                    <a:pt x="208" y="86"/>
                  </a:lnTo>
                  <a:lnTo>
                    <a:pt x="200" y="82"/>
                  </a:lnTo>
                  <a:lnTo>
                    <a:pt x="193" y="79"/>
                  </a:lnTo>
                  <a:lnTo>
                    <a:pt x="187" y="78"/>
                  </a:lnTo>
                  <a:lnTo>
                    <a:pt x="180" y="79"/>
                  </a:lnTo>
                  <a:lnTo>
                    <a:pt x="173" y="80"/>
                  </a:lnTo>
                  <a:lnTo>
                    <a:pt x="167" y="82"/>
                  </a:lnTo>
                  <a:lnTo>
                    <a:pt x="161" y="84"/>
                  </a:lnTo>
                  <a:lnTo>
                    <a:pt x="156" y="88"/>
                  </a:lnTo>
                  <a:lnTo>
                    <a:pt x="152" y="91"/>
                  </a:lnTo>
                  <a:lnTo>
                    <a:pt x="148" y="96"/>
                  </a:lnTo>
                  <a:lnTo>
                    <a:pt x="144" y="100"/>
                  </a:lnTo>
                  <a:lnTo>
                    <a:pt x="139" y="112"/>
                  </a:lnTo>
                  <a:lnTo>
                    <a:pt x="136" y="124"/>
                  </a:lnTo>
                  <a:lnTo>
                    <a:pt x="133" y="138"/>
                  </a:lnTo>
                  <a:lnTo>
                    <a:pt x="133" y="151"/>
                  </a:lnTo>
                  <a:lnTo>
                    <a:pt x="115" y="151"/>
                  </a:lnTo>
                  <a:lnTo>
                    <a:pt x="115" y="115"/>
                  </a:lnTo>
                  <a:lnTo>
                    <a:pt x="117" y="103"/>
                  </a:lnTo>
                  <a:lnTo>
                    <a:pt x="124" y="78"/>
                  </a:lnTo>
                  <a:lnTo>
                    <a:pt x="131" y="54"/>
                  </a:lnTo>
                  <a:lnTo>
                    <a:pt x="133" y="4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7" name="Freeform 8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004888" y="3859213"/>
              <a:ext cx="319087" cy="355600"/>
            </a:xfrm>
            <a:custGeom>
              <a:avLst/>
              <a:gdLst/>
              <a:ahLst/>
              <a:cxnLst>
                <a:cxn ang="0">
                  <a:pos x="712" y="569"/>
                </a:cxn>
                <a:cxn ang="0">
                  <a:pos x="684" y="576"/>
                </a:cxn>
                <a:cxn ang="0">
                  <a:pos x="656" y="552"/>
                </a:cxn>
                <a:cxn ang="0">
                  <a:pos x="627" y="575"/>
                </a:cxn>
                <a:cxn ang="0">
                  <a:pos x="596" y="643"/>
                </a:cxn>
                <a:cxn ang="0">
                  <a:pos x="605" y="659"/>
                </a:cxn>
                <a:cxn ang="0">
                  <a:pos x="625" y="672"/>
                </a:cxn>
                <a:cxn ang="0">
                  <a:pos x="627" y="759"/>
                </a:cxn>
                <a:cxn ang="0">
                  <a:pos x="575" y="819"/>
                </a:cxn>
                <a:cxn ang="0">
                  <a:pos x="560" y="879"/>
                </a:cxn>
                <a:cxn ang="0">
                  <a:pos x="520" y="927"/>
                </a:cxn>
                <a:cxn ang="0">
                  <a:pos x="463" y="929"/>
                </a:cxn>
                <a:cxn ang="0">
                  <a:pos x="436" y="893"/>
                </a:cxn>
                <a:cxn ang="0">
                  <a:pos x="412" y="869"/>
                </a:cxn>
                <a:cxn ang="0">
                  <a:pos x="365" y="869"/>
                </a:cxn>
                <a:cxn ang="0">
                  <a:pos x="301" y="903"/>
                </a:cxn>
                <a:cxn ang="0">
                  <a:pos x="277" y="941"/>
                </a:cxn>
                <a:cxn ang="0">
                  <a:pos x="258" y="937"/>
                </a:cxn>
                <a:cxn ang="0">
                  <a:pos x="204" y="875"/>
                </a:cxn>
                <a:cxn ang="0">
                  <a:pos x="178" y="872"/>
                </a:cxn>
                <a:cxn ang="0">
                  <a:pos x="150" y="819"/>
                </a:cxn>
                <a:cxn ang="0">
                  <a:pos x="134" y="676"/>
                </a:cxn>
                <a:cxn ang="0">
                  <a:pos x="120" y="580"/>
                </a:cxn>
                <a:cxn ang="0">
                  <a:pos x="80" y="519"/>
                </a:cxn>
                <a:cxn ang="0">
                  <a:pos x="71" y="494"/>
                </a:cxn>
                <a:cxn ang="0">
                  <a:pos x="83" y="471"/>
                </a:cxn>
                <a:cxn ang="0">
                  <a:pos x="72" y="412"/>
                </a:cxn>
                <a:cxn ang="0">
                  <a:pos x="34" y="314"/>
                </a:cxn>
                <a:cxn ang="0">
                  <a:pos x="28" y="227"/>
                </a:cxn>
                <a:cxn ang="0">
                  <a:pos x="10" y="155"/>
                </a:cxn>
                <a:cxn ang="0">
                  <a:pos x="136" y="219"/>
                </a:cxn>
                <a:cxn ang="0">
                  <a:pos x="171" y="230"/>
                </a:cxn>
                <a:cxn ang="0">
                  <a:pos x="206" y="204"/>
                </a:cxn>
                <a:cxn ang="0">
                  <a:pos x="236" y="158"/>
                </a:cxn>
                <a:cxn ang="0">
                  <a:pos x="262" y="147"/>
                </a:cxn>
                <a:cxn ang="0">
                  <a:pos x="324" y="160"/>
                </a:cxn>
                <a:cxn ang="0">
                  <a:pos x="403" y="188"/>
                </a:cxn>
                <a:cxn ang="0">
                  <a:pos x="411" y="143"/>
                </a:cxn>
                <a:cxn ang="0">
                  <a:pos x="371" y="80"/>
                </a:cxn>
                <a:cxn ang="0">
                  <a:pos x="369" y="46"/>
                </a:cxn>
                <a:cxn ang="0">
                  <a:pos x="388" y="2"/>
                </a:cxn>
                <a:cxn ang="0">
                  <a:pos x="428" y="30"/>
                </a:cxn>
                <a:cxn ang="0">
                  <a:pos x="485" y="62"/>
                </a:cxn>
                <a:cxn ang="0">
                  <a:pos x="560" y="83"/>
                </a:cxn>
                <a:cxn ang="0">
                  <a:pos x="559" y="156"/>
                </a:cxn>
                <a:cxn ang="0">
                  <a:pos x="608" y="171"/>
                </a:cxn>
                <a:cxn ang="0">
                  <a:pos x="671" y="192"/>
                </a:cxn>
                <a:cxn ang="0">
                  <a:pos x="712" y="228"/>
                </a:cxn>
                <a:cxn ang="0">
                  <a:pos x="713" y="264"/>
                </a:cxn>
                <a:cxn ang="0">
                  <a:pos x="681" y="315"/>
                </a:cxn>
                <a:cxn ang="0">
                  <a:pos x="675" y="358"/>
                </a:cxn>
                <a:cxn ang="0">
                  <a:pos x="708" y="407"/>
                </a:cxn>
                <a:cxn ang="0">
                  <a:pos x="740" y="450"/>
                </a:cxn>
                <a:cxn ang="0">
                  <a:pos x="729" y="542"/>
                </a:cxn>
              </a:cxnLst>
              <a:rect l="0" t="0" r="r" b="b"/>
              <a:pathLst>
                <a:path w="741" h="951">
                  <a:moveTo>
                    <a:pt x="716" y="554"/>
                  </a:moveTo>
                  <a:lnTo>
                    <a:pt x="716" y="558"/>
                  </a:lnTo>
                  <a:lnTo>
                    <a:pt x="716" y="561"/>
                  </a:lnTo>
                  <a:lnTo>
                    <a:pt x="713" y="565"/>
                  </a:lnTo>
                  <a:lnTo>
                    <a:pt x="712" y="569"/>
                  </a:lnTo>
                  <a:lnTo>
                    <a:pt x="708" y="572"/>
                  </a:lnTo>
                  <a:lnTo>
                    <a:pt x="704" y="575"/>
                  </a:lnTo>
                  <a:lnTo>
                    <a:pt x="699" y="576"/>
                  </a:lnTo>
                  <a:lnTo>
                    <a:pt x="692" y="577"/>
                  </a:lnTo>
                  <a:lnTo>
                    <a:pt x="684" y="576"/>
                  </a:lnTo>
                  <a:lnTo>
                    <a:pt x="677" y="572"/>
                  </a:lnTo>
                  <a:lnTo>
                    <a:pt x="672" y="568"/>
                  </a:lnTo>
                  <a:lnTo>
                    <a:pt x="667" y="561"/>
                  </a:lnTo>
                  <a:lnTo>
                    <a:pt x="661" y="556"/>
                  </a:lnTo>
                  <a:lnTo>
                    <a:pt x="656" y="552"/>
                  </a:lnTo>
                  <a:lnTo>
                    <a:pt x="651" y="548"/>
                  </a:lnTo>
                  <a:lnTo>
                    <a:pt x="644" y="547"/>
                  </a:lnTo>
                  <a:lnTo>
                    <a:pt x="640" y="551"/>
                  </a:lnTo>
                  <a:lnTo>
                    <a:pt x="635" y="560"/>
                  </a:lnTo>
                  <a:lnTo>
                    <a:pt x="627" y="575"/>
                  </a:lnTo>
                  <a:lnTo>
                    <a:pt x="619" y="591"/>
                  </a:lnTo>
                  <a:lnTo>
                    <a:pt x="609" y="608"/>
                  </a:lnTo>
                  <a:lnTo>
                    <a:pt x="603" y="623"/>
                  </a:lnTo>
                  <a:lnTo>
                    <a:pt x="597" y="636"/>
                  </a:lnTo>
                  <a:lnTo>
                    <a:pt x="596" y="643"/>
                  </a:lnTo>
                  <a:lnTo>
                    <a:pt x="596" y="648"/>
                  </a:lnTo>
                  <a:lnTo>
                    <a:pt x="597" y="651"/>
                  </a:lnTo>
                  <a:lnTo>
                    <a:pt x="599" y="653"/>
                  </a:lnTo>
                  <a:lnTo>
                    <a:pt x="601" y="656"/>
                  </a:lnTo>
                  <a:lnTo>
                    <a:pt x="605" y="659"/>
                  </a:lnTo>
                  <a:lnTo>
                    <a:pt x="611" y="661"/>
                  </a:lnTo>
                  <a:lnTo>
                    <a:pt x="617" y="664"/>
                  </a:lnTo>
                  <a:lnTo>
                    <a:pt x="621" y="667"/>
                  </a:lnTo>
                  <a:lnTo>
                    <a:pt x="624" y="669"/>
                  </a:lnTo>
                  <a:lnTo>
                    <a:pt x="625" y="672"/>
                  </a:lnTo>
                  <a:lnTo>
                    <a:pt x="625" y="675"/>
                  </a:lnTo>
                  <a:lnTo>
                    <a:pt x="627" y="680"/>
                  </a:lnTo>
                  <a:lnTo>
                    <a:pt x="627" y="705"/>
                  </a:lnTo>
                  <a:lnTo>
                    <a:pt x="627" y="729"/>
                  </a:lnTo>
                  <a:lnTo>
                    <a:pt x="627" y="759"/>
                  </a:lnTo>
                  <a:lnTo>
                    <a:pt x="627" y="793"/>
                  </a:lnTo>
                  <a:lnTo>
                    <a:pt x="609" y="799"/>
                  </a:lnTo>
                  <a:lnTo>
                    <a:pt x="596" y="804"/>
                  </a:lnTo>
                  <a:lnTo>
                    <a:pt x="584" y="811"/>
                  </a:lnTo>
                  <a:lnTo>
                    <a:pt x="575" y="819"/>
                  </a:lnTo>
                  <a:lnTo>
                    <a:pt x="568" y="828"/>
                  </a:lnTo>
                  <a:lnTo>
                    <a:pt x="564" y="839"/>
                  </a:lnTo>
                  <a:lnTo>
                    <a:pt x="561" y="852"/>
                  </a:lnTo>
                  <a:lnTo>
                    <a:pt x="560" y="867"/>
                  </a:lnTo>
                  <a:lnTo>
                    <a:pt x="560" y="879"/>
                  </a:lnTo>
                  <a:lnTo>
                    <a:pt x="553" y="892"/>
                  </a:lnTo>
                  <a:lnTo>
                    <a:pt x="547" y="904"/>
                  </a:lnTo>
                  <a:lnTo>
                    <a:pt x="539" y="913"/>
                  </a:lnTo>
                  <a:lnTo>
                    <a:pt x="529" y="921"/>
                  </a:lnTo>
                  <a:lnTo>
                    <a:pt x="520" y="927"/>
                  </a:lnTo>
                  <a:lnTo>
                    <a:pt x="509" y="929"/>
                  </a:lnTo>
                  <a:lnTo>
                    <a:pt x="496" y="932"/>
                  </a:lnTo>
                  <a:lnTo>
                    <a:pt x="481" y="932"/>
                  </a:lnTo>
                  <a:lnTo>
                    <a:pt x="472" y="932"/>
                  </a:lnTo>
                  <a:lnTo>
                    <a:pt x="463" y="929"/>
                  </a:lnTo>
                  <a:lnTo>
                    <a:pt x="457" y="927"/>
                  </a:lnTo>
                  <a:lnTo>
                    <a:pt x="452" y="923"/>
                  </a:lnTo>
                  <a:lnTo>
                    <a:pt x="444" y="912"/>
                  </a:lnTo>
                  <a:lnTo>
                    <a:pt x="439" y="899"/>
                  </a:lnTo>
                  <a:lnTo>
                    <a:pt x="436" y="893"/>
                  </a:lnTo>
                  <a:lnTo>
                    <a:pt x="433" y="887"/>
                  </a:lnTo>
                  <a:lnTo>
                    <a:pt x="429" y="881"/>
                  </a:lnTo>
                  <a:lnTo>
                    <a:pt x="425" y="876"/>
                  </a:lnTo>
                  <a:lnTo>
                    <a:pt x="419" y="872"/>
                  </a:lnTo>
                  <a:lnTo>
                    <a:pt x="412" y="869"/>
                  </a:lnTo>
                  <a:lnTo>
                    <a:pt x="403" y="867"/>
                  </a:lnTo>
                  <a:lnTo>
                    <a:pt x="392" y="867"/>
                  </a:lnTo>
                  <a:lnTo>
                    <a:pt x="383" y="867"/>
                  </a:lnTo>
                  <a:lnTo>
                    <a:pt x="375" y="868"/>
                  </a:lnTo>
                  <a:lnTo>
                    <a:pt x="365" y="869"/>
                  </a:lnTo>
                  <a:lnTo>
                    <a:pt x="356" y="872"/>
                  </a:lnTo>
                  <a:lnTo>
                    <a:pt x="336" y="880"/>
                  </a:lnTo>
                  <a:lnTo>
                    <a:pt x="319" y="891"/>
                  </a:lnTo>
                  <a:lnTo>
                    <a:pt x="309" y="896"/>
                  </a:lnTo>
                  <a:lnTo>
                    <a:pt x="301" y="903"/>
                  </a:lnTo>
                  <a:lnTo>
                    <a:pt x="295" y="909"/>
                  </a:lnTo>
                  <a:lnTo>
                    <a:pt x="289" y="917"/>
                  </a:lnTo>
                  <a:lnTo>
                    <a:pt x="284" y="925"/>
                  </a:lnTo>
                  <a:lnTo>
                    <a:pt x="280" y="933"/>
                  </a:lnTo>
                  <a:lnTo>
                    <a:pt x="277" y="941"/>
                  </a:lnTo>
                  <a:lnTo>
                    <a:pt x="277" y="951"/>
                  </a:lnTo>
                  <a:lnTo>
                    <a:pt x="272" y="949"/>
                  </a:lnTo>
                  <a:lnTo>
                    <a:pt x="268" y="945"/>
                  </a:lnTo>
                  <a:lnTo>
                    <a:pt x="263" y="943"/>
                  </a:lnTo>
                  <a:lnTo>
                    <a:pt x="258" y="937"/>
                  </a:lnTo>
                  <a:lnTo>
                    <a:pt x="247" y="927"/>
                  </a:lnTo>
                  <a:lnTo>
                    <a:pt x="238" y="915"/>
                  </a:lnTo>
                  <a:lnTo>
                    <a:pt x="220" y="891"/>
                  </a:lnTo>
                  <a:lnTo>
                    <a:pt x="211" y="879"/>
                  </a:lnTo>
                  <a:lnTo>
                    <a:pt x="204" y="875"/>
                  </a:lnTo>
                  <a:lnTo>
                    <a:pt x="199" y="872"/>
                  </a:lnTo>
                  <a:lnTo>
                    <a:pt x="192" y="869"/>
                  </a:lnTo>
                  <a:lnTo>
                    <a:pt x="187" y="869"/>
                  </a:lnTo>
                  <a:lnTo>
                    <a:pt x="183" y="869"/>
                  </a:lnTo>
                  <a:lnTo>
                    <a:pt x="178" y="872"/>
                  </a:lnTo>
                  <a:lnTo>
                    <a:pt x="174" y="875"/>
                  </a:lnTo>
                  <a:lnTo>
                    <a:pt x="168" y="879"/>
                  </a:lnTo>
                  <a:lnTo>
                    <a:pt x="160" y="856"/>
                  </a:lnTo>
                  <a:lnTo>
                    <a:pt x="155" y="837"/>
                  </a:lnTo>
                  <a:lnTo>
                    <a:pt x="150" y="819"/>
                  </a:lnTo>
                  <a:lnTo>
                    <a:pt x="144" y="800"/>
                  </a:lnTo>
                  <a:lnTo>
                    <a:pt x="139" y="765"/>
                  </a:lnTo>
                  <a:lnTo>
                    <a:pt x="136" y="733"/>
                  </a:lnTo>
                  <a:lnTo>
                    <a:pt x="135" y="704"/>
                  </a:lnTo>
                  <a:lnTo>
                    <a:pt x="134" y="676"/>
                  </a:lnTo>
                  <a:lnTo>
                    <a:pt x="132" y="648"/>
                  </a:lnTo>
                  <a:lnTo>
                    <a:pt x="130" y="621"/>
                  </a:lnTo>
                  <a:lnTo>
                    <a:pt x="127" y="608"/>
                  </a:lnTo>
                  <a:lnTo>
                    <a:pt x="124" y="593"/>
                  </a:lnTo>
                  <a:lnTo>
                    <a:pt x="120" y="580"/>
                  </a:lnTo>
                  <a:lnTo>
                    <a:pt x="115" y="565"/>
                  </a:lnTo>
                  <a:lnTo>
                    <a:pt x="106" y="548"/>
                  </a:lnTo>
                  <a:lnTo>
                    <a:pt x="96" y="535"/>
                  </a:lnTo>
                  <a:lnTo>
                    <a:pt x="87" y="526"/>
                  </a:lnTo>
                  <a:lnTo>
                    <a:pt x="80" y="519"/>
                  </a:lnTo>
                  <a:lnTo>
                    <a:pt x="74" y="514"/>
                  </a:lnTo>
                  <a:lnTo>
                    <a:pt x="71" y="507"/>
                  </a:lnTo>
                  <a:lnTo>
                    <a:pt x="70" y="503"/>
                  </a:lnTo>
                  <a:lnTo>
                    <a:pt x="70" y="499"/>
                  </a:lnTo>
                  <a:lnTo>
                    <a:pt x="71" y="494"/>
                  </a:lnTo>
                  <a:lnTo>
                    <a:pt x="72" y="487"/>
                  </a:lnTo>
                  <a:lnTo>
                    <a:pt x="76" y="483"/>
                  </a:lnTo>
                  <a:lnTo>
                    <a:pt x="79" y="479"/>
                  </a:lnTo>
                  <a:lnTo>
                    <a:pt x="82" y="475"/>
                  </a:lnTo>
                  <a:lnTo>
                    <a:pt x="83" y="471"/>
                  </a:lnTo>
                  <a:lnTo>
                    <a:pt x="84" y="460"/>
                  </a:lnTo>
                  <a:lnTo>
                    <a:pt x="83" y="450"/>
                  </a:lnTo>
                  <a:lnTo>
                    <a:pt x="82" y="438"/>
                  </a:lnTo>
                  <a:lnTo>
                    <a:pt x="78" y="426"/>
                  </a:lnTo>
                  <a:lnTo>
                    <a:pt x="72" y="412"/>
                  </a:lnTo>
                  <a:lnTo>
                    <a:pt x="67" y="399"/>
                  </a:lnTo>
                  <a:lnTo>
                    <a:pt x="55" y="371"/>
                  </a:lnTo>
                  <a:lnTo>
                    <a:pt x="43" y="342"/>
                  </a:lnTo>
                  <a:lnTo>
                    <a:pt x="38" y="328"/>
                  </a:lnTo>
                  <a:lnTo>
                    <a:pt x="34" y="314"/>
                  </a:lnTo>
                  <a:lnTo>
                    <a:pt x="31" y="300"/>
                  </a:lnTo>
                  <a:lnTo>
                    <a:pt x="30" y="288"/>
                  </a:lnTo>
                  <a:lnTo>
                    <a:pt x="30" y="270"/>
                  </a:lnTo>
                  <a:lnTo>
                    <a:pt x="30" y="248"/>
                  </a:lnTo>
                  <a:lnTo>
                    <a:pt x="28" y="227"/>
                  </a:lnTo>
                  <a:lnTo>
                    <a:pt x="27" y="207"/>
                  </a:lnTo>
                  <a:lnTo>
                    <a:pt x="23" y="187"/>
                  </a:lnTo>
                  <a:lnTo>
                    <a:pt x="18" y="170"/>
                  </a:lnTo>
                  <a:lnTo>
                    <a:pt x="14" y="162"/>
                  </a:lnTo>
                  <a:lnTo>
                    <a:pt x="10" y="155"/>
                  </a:lnTo>
                  <a:lnTo>
                    <a:pt x="6" y="148"/>
                  </a:lnTo>
                  <a:lnTo>
                    <a:pt x="0" y="143"/>
                  </a:lnTo>
                  <a:lnTo>
                    <a:pt x="55" y="107"/>
                  </a:lnTo>
                  <a:lnTo>
                    <a:pt x="127" y="210"/>
                  </a:lnTo>
                  <a:lnTo>
                    <a:pt x="136" y="219"/>
                  </a:lnTo>
                  <a:lnTo>
                    <a:pt x="147" y="226"/>
                  </a:lnTo>
                  <a:lnTo>
                    <a:pt x="152" y="228"/>
                  </a:lnTo>
                  <a:lnTo>
                    <a:pt x="159" y="230"/>
                  </a:lnTo>
                  <a:lnTo>
                    <a:pt x="164" y="230"/>
                  </a:lnTo>
                  <a:lnTo>
                    <a:pt x="171" y="230"/>
                  </a:lnTo>
                  <a:lnTo>
                    <a:pt x="178" y="227"/>
                  </a:lnTo>
                  <a:lnTo>
                    <a:pt x="184" y="224"/>
                  </a:lnTo>
                  <a:lnTo>
                    <a:pt x="191" y="220"/>
                  </a:lnTo>
                  <a:lnTo>
                    <a:pt x="199" y="214"/>
                  </a:lnTo>
                  <a:lnTo>
                    <a:pt x="206" y="204"/>
                  </a:lnTo>
                  <a:lnTo>
                    <a:pt x="214" y="195"/>
                  </a:lnTo>
                  <a:lnTo>
                    <a:pt x="222" y="182"/>
                  </a:lnTo>
                  <a:lnTo>
                    <a:pt x="230" y="168"/>
                  </a:lnTo>
                  <a:lnTo>
                    <a:pt x="232" y="163"/>
                  </a:lnTo>
                  <a:lnTo>
                    <a:pt x="236" y="158"/>
                  </a:lnTo>
                  <a:lnTo>
                    <a:pt x="240" y="155"/>
                  </a:lnTo>
                  <a:lnTo>
                    <a:pt x="244" y="152"/>
                  </a:lnTo>
                  <a:lnTo>
                    <a:pt x="250" y="150"/>
                  </a:lnTo>
                  <a:lnTo>
                    <a:pt x="256" y="148"/>
                  </a:lnTo>
                  <a:lnTo>
                    <a:pt x="262" y="147"/>
                  </a:lnTo>
                  <a:lnTo>
                    <a:pt x="268" y="147"/>
                  </a:lnTo>
                  <a:lnTo>
                    <a:pt x="281" y="148"/>
                  </a:lnTo>
                  <a:lnTo>
                    <a:pt x="295" y="151"/>
                  </a:lnTo>
                  <a:lnTo>
                    <a:pt x="309" y="155"/>
                  </a:lnTo>
                  <a:lnTo>
                    <a:pt x="324" y="160"/>
                  </a:lnTo>
                  <a:lnTo>
                    <a:pt x="352" y="172"/>
                  </a:lnTo>
                  <a:lnTo>
                    <a:pt x="375" y="184"/>
                  </a:lnTo>
                  <a:lnTo>
                    <a:pt x="392" y="194"/>
                  </a:lnTo>
                  <a:lnTo>
                    <a:pt x="397" y="198"/>
                  </a:lnTo>
                  <a:lnTo>
                    <a:pt x="403" y="188"/>
                  </a:lnTo>
                  <a:lnTo>
                    <a:pt x="408" y="178"/>
                  </a:lnTo>
                  <a:lnTo>
                    <a:pt x="411" y="170"/>
                  </a:lnTo>
                  <a:lnTo>
                    <a:pt x="412" y="160"/>
                  </a:lnTo>
                  <a:lnTo>
                    <a:pt x="412" y="151"/>
                  </a:lnTo>
                  <a:lnTo>
                    <a:pt x="411" y="143"/>
                  </a:lnTo>
                  <a:lnTo>
                    <a:pt x="409" y="135"/>
                  </a:lnTo>
                  <a:lnTo>
                    <a:pt x="405" y="127"/>
                  </a:lnTo>
                  <a:lnTo>
                    <a:pt x="396" y="111"/>
                  </a:lnTo>
                  <a:lnTo>
                    <a:pt x="385" y="96"/>
                  </a:lnTo>
                  <a:lnTo>
                    <a:pt x="371" y="80"/>
                  </a:lnTo>
                  <a:lnTo>
                    <a:pt x="355" y="66"/>
                  </a:lnTo>
                  <a:lnTo>
                    <a:pt x="360" y="63"/>
                  </a:lnTo>
                  <a:lnTo>
                    <a:pt x="364" y="59"/>
                  </a:lnTo>
                  <a:lnTo>
                    <a:pt x="368" y="52"/>
                  </a:lnTo>
                  <a:lnTo>
                    <a:pt x="369" y="46"/>
                  </a:lnTo>
                  <a:lnTo>
                    <a:pt x="373" y="31"/>
                  </a:lnTo>
                  <a:lnTo>
                    <a:pt x="377" y="15"/>
                  </a:lnTo>
                  <a:lnTo>
                    <a:pt x="380" y="10"/>
                  </a:lnTo>
                  <a:lnTo>
                    <a:pt x="384" y="4"/>
                  </a:lnTo>
                  <a:lnTo>
                    <a:pt x="388" y="2"/>
                  </a:lnTo>
                  <a:lnTo>
                    <a:pt x="392" y="0"/>
                  </a:lnTo>
                  <a:lnTo>
                    <a:pt x="399" y="3"/>
                  </a:lnTo>
                  <a:lnTo>
                    <a:pt x="407" y="8"/>
                  </a:lnTo>
                  <a:lnTo>
                    <a:pt x="416" y="16"/>
                  </a:lnTo>
                  <a:lnTo>
                    <a:pt x="428" y="30"/>
                  </a:lnTo>
                  <a:lnTo>
                    <a:pt x="436" y="36"/>
                  </a:lnTo>
                  <a:lnTo>
                    <a:pt x="445" y="43"/>
                  </a:lnTo>
                  <a:lnTo>
                    <a:pt x="457" y="50"/>
                  </a:lnTo>
                  <a:lnTo>
                    <a:pt x="471" y="55"/>
                  </a:lnTo>
                  <a:lnTo>
                    <a:pt x="485" y="62"/>
                  </a:lnTo>
                  <a:lnTo>
                    <a:pt x="501" y="67"/>
                  </a:lnTo>
                  <a:lnTo>
                    <a:pt x="519" y="72"/>
                  </a:lnTo>
                  <a:lnTo>
                    <a:pt x="536" y="78"/>
                  </a:lnTo>
                  <a:lnTo>
                    <a:pt x="548" y="80"/>
                  </a:lnTo>
                  <a:lnTo>
                    <a:pt x="560" y="83"/>
                  </a:lnTo>
                  <a:lnTo>
                    <a:pt x="559" y="100"/>
                  </a:lnTo>
                  <a:lnTo>
                    <a:pt x="557" y="120"/>
                  </a:lnTo>
                  <a:lnTo>
                    <a:pt x="557" y="132"/>
                  </a:lnTo>
                  <a:lnTo>
                    <a:pt x="557" y="144"/>
                  </a:lnTo>
                  <a:lnTo>
                    <a:pt x="559" y="156"/>
                  </a:lnTo>
                  <a:lnTo>
                    <a:pt x="560" y="168"/>
                  </a:lnTo>
                  <a:lnTo>
                    <a:pt x="571" y="167"/>
                  </a:lnTo>
                  <a:lnTo>
                    <a:pt x="583" y="167"/>
                  </a:lnTo>
                  <a:lnTo>
                    <a:pt x="595" y="168"/>
                  </a:lnTo>
                  <a:lnTo>
                    <a:pt x="608" y="171"/>
                  </a:lnTo>
                  <a:lnTo>
                    <a:pt x="620" y="174"/>
                  </a:lnTo>
                  <a:lnTo>
                    <a:pt x="633" y="178"/>
                  </a:lnTo>
                  <a:lnTo>
                    <a:pt x="647" y="182"/>
                  </a:lnTo>
                  <a:lnTo>
                    <a:pt x="659" y="187"/>
                  </a:lnTo>
                  <a:lnTo>
                    <a:pt x="671" y="192"/>
                  </a:lnTo>
                  <a:lnTo>
                    <a:pt x="681" y="199"/>
                  </a:lnTo>
                  <a:lnTo>
                    <a:pt x="691" y="206"/>
                  </a:lnTo>
                  <a:lnTo>
                    <a:pt x="700" y="212"/>
                  </a:lnTo>
                  <a:lnTo>
                    <a:pt x="707" y="220"/>
                  </a:lnTo>
                  <a:lnTo>
                    <a:pt x="712" y="228"/>
                  </a:lnTo>
                  <a:lnTo>
                    <a:pt x="716" y="238"/>
                  </a:lnTo>
                  <a:lnTo>
                    <a:pt x="716" y="246"/>
                  </a:lnTo>
                  <a:lnTo>
                    <a:pt x="716" y="252"/>
                  </a:lnTo>
                  <a:lnTo>
                    <a:pt x="715" y="259"/>
                  </a:lnTo>
                  <a:lnTo>
                    <a:pt x="713" y="264"/>
                  </a:lnTo>
                  <a:lnTo>
                    <a:pt x="711" y="270"/>
                  </a:lnTo>
                  <a:lnTo>
                    <a:pt x="703" y="280"/>
                  </a:lnTo>
                  <a:lnTo>
                    <a:pt x="696" y="291"/>
                  </a:lnTo>
                  <a:lnTo>
                    <a:pt x="688" y="302"/>
                  </a:lnTo>
                  <a:lnTo>
                    <a:pt x="681" y="315"/>
                  </a:lnTo>
                  <a:lnTo>
                    <a:pt x="679" y="322"/>
                  </a:lnTo>
                  <a:lnTo>
                    <a:pt x="676" y="330"/>
                  </a:lnTo>
                  <a:lnTo>
                    <a:pt x="675" y="339"/>
                  </a:lnTo>
                  <a:lnTo>
                    <a:pt x="675" y="348"/>
                  </a:lnTo>
                  <a:lnTo>
                    <a:pt x="675" y="358"/>
                  </a:lnTo>
                  <a:lnTo>
                    <a:pt x="677" y="367"/>
                  </a:lnTo>
                  <a:lnTo>
                    <a:pt x="680" y="375"/>
                  </a:lnTo>
                  <a:lnTo>
                    <a:pt x="685" y="382"/>
                  </a:lnTo>
                  <a:lnTo>
                    <a:pt x="696" y="395"/>
                  </a:lnTo>
                  <a:lnTo>
                    <a:pt x="708" y="407"/>
                  </a:lnTo>
                  <a:lnTo>
                    <a:pt x="720" y="418"/>
                  </a:lnTo>
                  <a:lnTo>
                    <a:pt x="731" y="430"/>
                  </a:lnTo>
                  <a:lnTo>
                    <a:pt x="735" y="436"/>
                  </a:lnTo>
                  <a:lnTo>
                    <a:pt x="737" y="442"/>
                  </a:lnTo>
                  <a:lnTo>
                    <a:pt x="740" y="450"/>
                  </a:lnTo>
                  <a:lnTo>
                    <a:pt x="741" y="456"/>
                  </a:lnTo>
                  <a:lnTo>
                    <a:pt x="739" y="479"/>
                  </a:lnTo>
                  <a:lnTo>
                    <a:pt x="735" y="499"/>
                  </a:lnTo>
                  <a:lnTo>
                    <a:pt x="731" y="519"/>
                  </a:lnTo>
                  <a:lnTo>
                    <a:pt x="729" y="542"/>
                  </a:lnTo>
                  <a:lnTo>
                    <a:pt x="716" y="55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8" name="Freeform 9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244600" y="4060825"/>
              <a:ext cx="274638" cy="322263"/>
            </a:xfrm>
            <a:custGeom>
              <a:avLst/>
              <a:gdLst/>
              <a:ahLst/>
              <a:cxnLst>
                <a:cxn ang="0">
                  <a:pos x="271" y="715"/>
                </a:cxn>
                <a:cxn ang="0">
                  <a:pos x="229" y="682"/>
                </a:cxn>
                <a:cxn ang="0">
                  <a:pos x="189" y="680"/>
                </a:cxn>
                <a:cxn ang="0">
                  <a:pos x="152" y="658"/>
                </a:cxn>
                <a:cxn ang="0">
                  <a:pos x="89" y="604"/>
                </a:cxn>
                <a:cxn ang="0">
                  <a:pos x="49" y="574"/>
                </a:cxn>
                <a:cxn ang="0">
                  <a:pos x="37" y="526"/>
                </a:cxn>
                <a:cxn ang="0">
                  <a:pos x="31" y="486"/>
                </a:cxn>
                <a:cxn ang="0">
                  <a:pos x="45" y="469"/>
                </a:cxn>
                <a:cxn ang="0">
                  <a:pos x="73" y="454"/>
                </a:cxn>
                <a:cxn ang="0">
                  <a:pos x="77" y="429"/>
                </a:cxn>
                <a:cxn ang="0">
                  <a:pos x="53" y="393"/>
                </a:cxn>
                <a:cxn ang="0">
                  <a:pos x="7" y="350"/>
                </a:cxn>
                <a:cxn ang="0">
                  <a:pos x="1" y="310"/>
                </a:cxn>
                <a:cxn ang="0">
                  <a:pos x="24" y="269"/>
                </a:cxn>
                <a:cxn ang="0">
                  <a:pos x="67" y="217"/>
                </a:cxn>
                <a:cxn ang="0">
                  <a:pos x="65" y="133"/>
                </a:cxn>
                <a:cxn ang="0">
                  <a:pos x="57" y="122"/>
                </a:cxn>
                <a:cxn ang="0">
                  <a:pos x="39" y="111"/>
                </a:cxn>
                <a:cxn ang="0">
                  <a:pos x="37" y="94"/>
                </a:cxn>
                <a:cxn ang="0">
                  <a:pos x="67" y="33"/>
                </a:cxn>
                <a:cxn ang="0">
                  <a:pos x="91" y="6"/>
                </a:cxn>
                <a:cxn ang="0">
                  <a:pos x="112" y="26"/>
                </a:cxn>
                <a:cxn ang="0">
                  <a:pos x="139" y="34"/>
                </a:cxn>
                <a:cxn ang="0">
                  <a:pos x="156" y="23"/>
                </a:cxn>
                <a:cxn ang="0">
                  <a:pos x="172" y="2"/>
                </a:cxn>
                <a:cxn ang="0">
                  <a:pos x="195" y="0"/>
                </a:cxn>
                <a:cxn ang="0">
                  <a:pos x="228" y="19"/>
                </a:cxn>
                <a:cxn ang="0">
                  <a:pos x="249" y="63"/>
                </a:cxn>
                <a:cxn ang="0">
                  <a:pos x="280" y="87"/>
                </a:cxn>
                <a:cxn ang="0">
                  <a:pos x="308" y="85"/>
                </a:cxn>
                <a:cxn ang="0">
                  <a:pos x="339" y="82"/>
                </a:cxn>
                <a:cxn ang="0">
                  <a:pos x="349" y="111"/>
                </a:cxn>
                <a:cxn ang="0">
                  <a:pos x="389" y="123"/>
                </a:cxn>
                <a:cxn ang="0">
                  <a:pos x="433" y="145"/>
                </a:cxn>
                <a:cxn ang="0">
                  <a:pos x="445" y="183"/>
                </a:cxn>
                <a:cxn ang="0">
                  <a:pos x="481" y="222"/>
                </a:cxn>
                <a:cxn ang="0">
                  <a:pos x="518" y="255"/>
                </a:cxn>
                <a:cxn ang="0">
                  <a:pos x="536" y="289"/>
                </a:cxn>
                <a:cxn ang="0">
                  <a:pos x="530" y="330"/>
                </a:cxn>
                <a:cxn ang="0">
                  <a:pos x="518" y="358"/>
                </a:cxn>
                <a:cxn ang="0">
                  <a:pos x="521" y="397"/>
                </a:cxn>
                <a:cxn ang="0">
                  <a:pos x="548" y="459"/>
                </a:cxn>
                <a:cxn ang="0">
                  <a:pos x="604" y="535"/>
                </a:cxn>
                <a:cxn ang="0">
                  <a:pos x="641" y="604"/>
                </a:cxn>
                <a:cxn ang="0">
                  <a:pos x="644" y="643"/>
                </a:cxn>
                <a:cxn ang="0">
                  <a:pos x="636" y="679"/>
                </a:cxn>
                <a:cxn ang="0">
                  <a:pos x="592" y="696"/>
                </a:cxn>
                <a:cxn ang="0">
                  <a:pos x="502" y="703"/>
                </a:cxn>
                <a:cxn ang="0">
                  <a:pos x="481" y="766"/>
                </a:cxn>
                <a:cxn ang="0">
                  <a:pos x="469" y="782"/>
                </a:cxn>
                <a:cxn ang="0">
                  <a:pos x="463" y="823"/>
                </a:cxn>
                <a:cxn ang="0">
                  <a:pos x="469" y="860"/>
                </a:cxn>
                <a:cxn ang="0">
                  <a:pos x="424" y="847"/>
                </a:cxn>
                <a:cxn ang="0">
                  <a:pos x="407" y="831"/>
                </a:cxn>
                <a:cxn ang="0">
                  <a:pos x="379" y="824"/>
                </a:cxn>
                <a:cxn ang="0">
                  <a:pos x="332" y="816"/>
                </a:cxn>
                <a:cxn ang="0">
                  <a:pos x="305" y="779"/>
                </a:cxn>
                <a:cxn ang="0">
                  <a:pos x="265" y="758"/>
                </a:cxn>
              </a:cxnLst>
              <a:rect l="0" t="0" r="r" b="b"/>
              <a:pathLst>
                <a:path w="644" h="860">
                  <a:moveTo>
                    <a:pt x="265" y="758"/>
                  </a:moveTo>
                  <a:lnTo>
                    <a:pt x="280" y="740"/>
                  </a:lnTo>
                  <a:lnTo>
                    <a:pt x="289" y="727"/>
                  </a:lnTo>
                  <a:lnTo>
                    <a:pt x="271" y="715"/>
                  </a:lnTo>
                  <a:lnTo>
                    <a:pt x="253" y="703"/>
                  </a:lnTo>
                  <a:lnTo>
                    <a:pt x="245" y="696"/>
                  </a:lnTo>
                  <a:lnTo>
                    <a:pt x="237" y="690"/>
                  </a:lnTo>
                  <a:lnTo>
                    <a:pt x="229" y="682"/>
                  </a:lnTo>
                  <a:lnTo>
                    <a:pt x="223" y="674"/>
                  </a:lnTo>
                  <a:lnTo>
                    <a:pt x="211" y="679"/>
                  </a:lnTo>
                  <a:lnTo>
                    <a:pt x="200" y="680"/>
                  </a:lnTo>
                  <a:lnTo>
                    <a:pt x="189" y="680"/>
                  </a:lnTo>
                  <a:lnTo>
                    <a:pt x="180" y="676"/>
                  </a:lnTo>
                  <a:lnTo>
                    <a:pt x="171" y="672"/>
                  </a:lnTo>
                  <a:lnTo>
                    <a:pt x="161" y="666"/>
                  </a:lnTo>
                  <a:lnTo>
                    <a:pt x="152" y="658"/>
                  </a:lnTo>
                  <a:lnTo>
                    <a:pt x="143" y="650"/>
                  </a:lnTo>
                  <a:lnTo>
                    <a:pt x="123" y="631"/>
                  </a:lnTo>
                  <a:lnTo>
                    <a:pt x="101" y="612"/>
                  </a:lnTo>
                  <a:lnTo>
                    <a:pt x="89" y="604"/>
                  </a:lnTo>
                  <a:lnTo>
                    <a:pt x="77" y="598"/>
                  </a:lnTo>
                  <a:lnTo>
                    <a:pt x="64" y="593"/>
                  </a:lnTo>
                  <a:lnTo>
                    <a:pt x="48" y="589"/>
                  </a:lnTo>
                  <a:lnTo>
                    <a:pt x="49" y="574"/>
                  </a:lnTo>
                  <a:lnTo>
                    <a:pt x="48" y="561"/>
                  </a:lnTo>
                  <a:lnTo>
                    <a:pt x="45" y="549"/>
                  </a:lnTo>
                  <a:lnTo>
                    <a:pt x="41" y="537"/>
                  </a:lnTo>
                  <a:lnTo>
                    <a:pt x="37" y="526"/>
                  </a:lnTo>
                  <a:lnTo>
                    <a:pt x="33" y="515"/>
                  </a:lnTo>
                  <a:lnTo>
                    <a:pt x="31" y="503"/>
                  </a:lnTo>
                  <a:lnTo>
                    <a:pt x="31" y="493"/>
                  </a:lnTo>
                  <a:lnTo>
                    <a:pt x="31" y="486"/>
                  </a:lnTo>
                  <a:lnTo>
                    <a:pt x="32" y="482"/>
                  </a:lnTo>
                  <a:lnTo>
                    <a:pt x="35" y="478"/>
                  </a:lnTo>
                  <a:lnTo>
                    <a:pt x="37" y="474"/>
                  </a:lnTo>
                  <a:lnTo>
                    <a:pt x="45" y="469"/>
                  </a:lnTo>
                  <a:lnTo>
                    <a:pt x="55" y="466"/>
                  </a:lnTo>
                  <a:lnTo>
                    <a:pt x="63" y="462"/>
                  </a:lnTo>
                  <a:lnTo>
                    <a:pt x="71" y="457"/>
                  </a:lnTo>
                  <a:lnTo>
                    <a:pt x="73" y="454"/>
                  </a:lnTo>
                  <a:lnTo>
                    <a:pt x="76" y="450"/>
                  </a:lnTo>
                  <a:lnTo>
                    <a:pt x="77" y="445"/>
                  </a:lnTo>
                  <a:lnTo>
                    <a:pt x="79" y="438"/>
                  </a:lnTo>
                  <a:lnTo>
                    <a:pt x="77" y="429"/>
                  </a:lnTo>
                  <a:lnTo>
                    <a:pt x="75" y="421"/>
                  </a:lnTo>
                  <a:lnTo>
                    <a:pt x="71" y="413"/>
                  </a:lnTo>
                  <a:lnTo>
                    <a:pt x="67" y="406"/>
                  </a:lnTo>
                  <a:lnTo>
                    <a:pt x="53" y="393"/>
                  </a:lnTo>
                  <a:lnTo>
                    <a:pt x="39" y="382"/>
                  </a:lnTo>
                  <a:lnTo>
                    <a:pt x="25" y="370"/>
                  </a:lnTo>
                  <a:lnTo>
                    <a:pt x="12" y="357"/>
                  </a:lnTo>
                  <a:lnTo>
                    <a:pt x="7" y="350"/>
                  </a:lnTo>
                  <a:lnTo>
                    <a:pt x="4" y="342"/>
                  </a:lnTo>
                  <a:lnTo>
                    <a:pt x="1" y="334"/>
                  </a:lnTo>
                  <a:lnTo>
                    <a:pt x="0" y="325"/>
                  </a:lnTo>
                  <a:lnTo>
                    <a:pt x="1" y="310"/>
                  </a:lnTo>
                  <a:lnTo>
                    <a:pt x="4" y="297"/>
                  </a:lnTo>
                  <a:lnTo>
                    <a:pt x="8" y="286"/>
                  </a:lnTo>
                  <a:lnTo>
                    <a:pt x="15" y="277"/>
                  </a:lnTo>
                  <a:lnTo>
                    <a:pt x="24" y="269"/>
                  </a:lnTo>
                  <a:lnTo>
                    <a:pt x="36" y="262"/>
                  </a:lnTo>
                  <a:lnTo>
                    <a:pt x="49" y="257"/>
                  </a:lnTo>
                  <a:lnTo>
                    <a:pt x="67" y="251"/>
                  </a:lnTo>
                  <a:lnTo>
                    <a:pt x="67" y="217"/>
                  </a:lnTo>
                  <a:lnTo>
                    <a:pt x="67" y="187"/>
                  </a:lnTo>
                  <a:lnTo>
                    <a:pt x="67" y="163"/>
                  </a:lnTo>
                  <a:lnTo>
                    <a:pt x="67" y="138"/>
                  </a:lnTo>
                  <a:lnTo>
                    <a:pt x="65" y="133"/>
                  </a:lnTo>
                  <a:lnTo>
                    <a:pt x="65" y="130"/>
                  </a:lnTo>
                  <a:lnTo>
                    <a:pt x="64" y="127"/>
                  </a:lnTo>
                  <a:lnTo>
                    <a:pt x="61" y="125"/>
                  </a:lnTo>
                  <a:lnTo>
                    <a:pt x="57" y="122"/>
                  </a:lnTo>
                  <a:lnTo>
                    <a:pt x="51" y="119"/>
                  </a:lnTo>
                  <a:lnTo>
                    <a:pt x="45" y="117"/>
                  </a:lnTo>
                  <a:lnTo>
                    <a:pt x="41" y="114"/>
                  </a:lnTo>
                  <a:lnTo>
                    <a:pt x="39" y="111"/>
                  </a:lnTo>
                  <a:lnTo>
                    <a:pt x="37" y="109"/>
                  </a:lnTo>
                  <a:lnTo>
                    <a:pt x="36" y="106"/>
                  </a:lnTo>
                  <a:lnTo>
                    <a:pt x="36" y="101"/>
                  </a:lnTo>
                  <a:lnTo>
                    <a:pt x="37" y="94"/>
                  </a:lnTo>
                  <a:lnTo>
                    <a:pt x="43" y="81"/>
                  </a:lnTo>
                  <a:lnTo>
                    <a:pt x="49" y="66"/>
                  </a:lnTo>
                  <a:lnTo>
                    <a:pt x="59" y="49"/>
                  </a:lnTo>
                  <a:lnTo>
                    <a:pt x="67" y="33"/>
                  </a:lnTo>
                  <a:lnTo>
                    <a:pt x="75" y="18"/>
                  </a:lnTo>
                  <a:lnTo>
                    <a:pt x="80" y="9"/>
                  </a:lnTo>
                  <a:lnTo>
                    <a:pt x="84" y="5"/>
                  </a:lnTo>
                  <a:lnTo>
                    <a:pt x="91" y="6"/>
                  </a:lnTo>
                  <a:lnTo>
                    <a:pt x="96" y="10"/>
                  </a:lnTo>
                  <a:lnTo>
                    <a:pt x="101" y="14"/>
                  </a:lnTo>
                  <a:lnTo>
                    <a:pt x="107" y="19"/>
                  </a:lnTo>
                  <a:lnTo>
                    <a:pt x="112" y="26"/>
                  </a:lnTo>
                  <a:lnTo>
                    <a:pt x="117" y="30"/>
                  </a:lnTo>
                  <a:lnTo>
                    <a:pt x="124" y="34"/>
                  </a:lnTo>
                  <a:lnTo>
                    <a:pt x="132" y="35"/>
                  </a:lnTo>
                  <a:lnTo>
                    <a:pt x="139" y="34"/>
                  </a:lnTo>
                  <a:lnTo>
                    <a:pt x="144" y="34"/>
                  </a:lnTo>
                  <a:lnTo>
                    <a:pt x="148" y="31"/>
                  </a:lnTo>
                  <a:lnTo>
                    <a:pt x="151" y="30"/>
                  </a:lnTo>
                  <a:lnTo>
                    <a:pt x="156" y="23"/>
                  </a:lnTo>
                  <a:lnTo>
                    <a:pt x="160" y="17"/>
                  </a:lnTo>
                  <a:lnTo>
                    <a:pt x="163" y="10"/>
                  </a:lnTo>
                  <a:lnTo>
                    <a:pt x="168" y="5"/>
                  </a:lnTo>
                  <a:lnTo>
                    <a:pt x="172" y="2"/>
                  </a:lnTo>
                  <a:lnTo>
                    <a:pt x="176" y="1"/>
                  </a:lnTo>
                  <a:lnTo>
                    <a:pt x="180" y="0"/>
                  </a:lnTo>
                  <a:lnTo>
                    <a:pt x="187" y="0"/>
                  </a:lnTo>
                  <a:lnTo>
                    <a:pt x="195" y="0"/>
                  </a:lnTo>
                  <a:lnTo>
                    <a:pt x="203" y="1"/>
                  </a:lnTo>
                  <a:lnTo>
                    <a:pt x="209" y="4"/>
                  </a:lnTo>
                  <a:lnTo>
                    <a:pt x="216" y="8"/>
                  </a:lnTo>
                  <a:lnTo>
                    <a:pt x="228" y="19"/>
                  </a:lnTo>
                  <a:lnTo>
                    <a:pt x="241" y="35"/>
                  </a:lnTo>
                  <a:lnTo>
                    <a:pt x="243" y="45"/>
                  </a:lnTo>
                  <a:lnTo>
                    <a:pt x="245" y="54"/>
                  </a:lnTo>
                  <a:lnTo>
                    <a:pt x="249" y="63"/>
                  </a:lnTo>
                  <a:lnTo>
                    <a:pt x="256" y="71"/>
                  </a:lnTo>
                  <a:lnTo>
                    <a:pt x="263" y="78"/>
                  </a:lnTo>
                  <a:lnTo>
                    <a:pt x="272" y="85"/>
                  </a:lnTo>
                  <a:lnTo>
                    <a:pt x="280" y="87"/>
                  </a:lnTo>
                  <a:lnTo>
                    <a:pt x="289" y="89"/>
                  </a:lnTo>
                  <a:lnTo>
                    <a:pt x="297" y="89"/>
                  </a:lnTo>
                  <a:lnTo>
                    <a:pt x="304" y="87"/>
                  </a:lnTo>
                  <a:lnTo>
                    <a:pt x="308" y="85"/>
                  </a:lnTo>
                  <a:lnTo>
                    <a:pt x="313" y="82"/>
                  </a:lnTo>
                  <a:lnTo>
                    <a:pt x="323" y="77"/>
                  </a:lnTo>
                  <a:lnTo>
                    <a:pt x="337" y="71"/>
                  </a:lnTo>
                  <a:lnTo>
                    <a:pt x="339" y="82"/>
                  </a:lnTo>
                  <a:lnTo>
                    <a:pt x="341" y="93"/>
                  </a:lnTo>
                  <a:lnTo>
                    <a:pt x="343" y="99"/>
                  </a:lnTo>
                  <a:lnTo>
                    <a:pt x="347" y="106"/>
                  </a:lnTo>
                  <a:lnTo>
                    <a:pt x="349" y="111"/>
                  </a:lnTo>
                  <a:lnTo>
                    <a:pt x="353" y="114"/>
                  </a:lnTo>
                  <a:lnTo>
                    <a:pt x="359" y="117"/>
                  </a:lnTo>
                  <a:lnTo>
                    <a:pt x="364" y="119"/>
                  </a:lnTo>
                  <a:lnTo>
                    <a:pt x="389" y="123"/>
                  </a:lnTo>
                  <a:lnTo>
                    <a:pt x="421" y="131"/>
                  </a:lnTo>
                  <a:lnTo>
                    <a:pt x="428" y="135"/>
                  </a:lnTo>
                  <a:lnTo>
                    <a:pt x="431" y="141"/>
                  </a:lnTo>
                  <a:lnTo>
                    <a:pt x="433" y="145"/>
                  </a:lnTo>
                  <a:lnTo>
                    <a:pt x="435" y="150"/>
                  </a:lnTo>
                  <a:lnTo>
                    <a:pt x="437" y="161"/>
                  </a:lnTo>
                  <a:lnTo>
                    <a:pt x="440" y="174"/>
                  </a:lnTo>
                  <a:lnTo>
                    <a:pt x="445" y="183"/>
                  </a:lnTo>
                  <a:lnTo>
                    <a:pt x="451" y="193"/>
                  </a:lnTo>
                  <a:lnTo>
                    <a:pt x="457" y="201"/>
                  </a:lnTo>
                  <a:lnTo>
                    <a:pt x="465" y="207"/>
                  </a:lnTo>
                  <a:lnTo>
                    <a:pt x="481" y="222"/>
                  </a:lnTo>
                  <a:lnTo>
                    <a:pt x="497" y="234"/>
                  </a:lnTo>
                  <a:lnTo>
                    <a:pt x="505" y="241"/>
                  </a:lnTo>
                  <a:lnTo>
                    <a:pt x="512" y="247"/>
                  </a:lnTo>
                  <a:lnTo>
                    <a:pt x="518" y="255"/>
                  </a:lnTo>
                  <a:lnTo>
                    <a:pt x="524" y="262"/>
                  </a:lnTo>
                  <a:lnTo>
                    <a:pt x="529" y="270"/>
                  </a:lnTo>
                  <a:lnTo>
                    <a:pt x="533" y="279"/>
                  </a:lnTo>
                  <a:lnTo>
                    <a:pt x="536" y="289"/>
                  </a:lnTo>
                  <a:lnTo>
                    <a:pt x="536" y="301"/>
                  </a:lnTo>
                  <a:lnTo>
                    <a:pt x="536" y="313"/>
                  </a:lnTo>
                  <a:lnTo>
                    <a:pt x="533" y="322"/>
                  </a:lnTo>
                  <a:lnTo>
                    <a:pt x="530" y="330"/>
                  </a:lnTo>
                  <a:lnTo>
                    <a:pt x="526" y="338"/>
                  </a:lnTo>
                  <a:lnTo>
                    <a:pt x="524" y="345"/>
                  </a:lnTo>
                  <a:lnTo>
                    <a:pt x="521" y="351"/>
                  </a:lnTo>
                  <a:lnTo>
                    <a:pt x="518" y="358"/>
                  </a:lnTo>
                  <a:lnTo>
                    <a:pt x="518" y="366"/>
                  </a:lnTo>
                  <a:lnTo>
                    <a:pt x="518" y="377"/>
                  </a:lnTo>
                  <a:lnTo>
                    <a:pt x="520" y="387"/>
                  </a:lnTo>
                  <a:lnTo>
                    <a:pt x="521" y="397"/>
                  </a:lnTo>
                  <a:lnTo>
                    <a:pt x="524" y="406"/>
                  </a:lnTo>
                  <a:lnTo>
                    <a:pt x="529" y="425"/>
                  </a:lnTo>
                  <a:lnTo>
                    <a:pt x="537" y="442"/>
                  </a:lnTo>
                  <a:lnTo>
                    <a:pt x="548" y="459"/>
                  </a:lnTo>
                  <a:lnTo>
                    <a:pt x="558" y="475"/>
                  </a:lnTo>
                  <a:lnTo>
                    <a:pt x="569" y="490"/>
                  </a:lnTo>
                  <a:lnTo>
                    <a:pt x="581" y="506"/>
                  </a:lnTo>
                  <a:lnTo>
                    <a:pt x="604" y="535"/>
                  </a:lnTo>
                  <a:lnTo>
                    <a:pt x="625" y="566"/>
                  </a:lnTo>
                  <a:lnTo>
                    <a:pt x="633" y="581"/>
                  </a:lnTo>
                  <a:lnTo>
                    <a:pt x="638" y="597"/>
                  </a:lnTo>
                  <a:lnTo>
                    <a:pt x="641" y="604"/>
                  </a:lnTo>
                  <a:lnTo>
                    <a:pt x="642" y="614"/>
                  </a:lnTo>
                  <a:lnTo>
                    <a:pt x="644" y="622"/>
                  </a:lnTo>
                  <a:lnTo>
                    <a:pt x="644" y="631"/>
                  </a:lnTo>
                  <a:lnTo>
                    <a:pt x="644" y="643"/>
                  </a:lnTo>
                  <a:lnTo>
                    <a:pt x="644" y="652"/>
                  </a:lnTo>
                  <a:lnTo>
                    <a:pt x="644" y="662"/>
                  </a:lnTo>
                  <a:lnTo>
                    <a:pt x="644" y="674"/>
                  </a:lnTo>
                  <a:lnTo>
                    <a:pt x="636" y="679"/>
                  </a:lnTo>
                  <a:lnTo>
                    <a:pt x="628" y="683"/>
                  </a:lnTo>
                  <a:lnTo>
                    <a:pt x="620" y="687"/>
                  </a:lnTo>
                  <a:lnTo>
                    <a:pt x="610" y="691"/>
                  </a:lnTo>
                  <a:lnTo>
                    <a:pt x="592" y="696"/>
                  </a:lnTo>
                  <a:lnTo>
                    <a:pt x="572" y="699"/>
                  </a:lnTo>
                  <a:lnTo>
                    <a:pt x="549" y="702"/>
                  </a:lnTo>
                  <a:lnTo>
                    <a:pt x="526" y="703"/>
                  </a:lnTo>
                  <a:lnTo>
                    <a:pt x="502" y="703"/>
                  </a:lnTo>
                  <a:lnTo>
                    <a:pt x="476" y="703"/>
                  </a:lnTo>
                  <a:lnTo>
                    <a:pt x="506" y="758"/>
                  </a:lnTo>
                  <a:lnTo>
                    <a:pt x="493" y="762"/>
                  </a:lnTo>
                  <a:lnTo>
                    <a:pt x="481" y="766"/>
                  </a:lnTo>
                  <a:lnTo>
                    <a:pt x="476" y="768"/>
                  </a:lnTo>
                  <a:lnTo>
                    <a:pt x="473" y="771"/>
                  </a:lnTo>
                  <a:lnTo>
                    <a:pt x="470" y="776"/>
                  </a:lnTo>
                  <a:lnTo>
                    <a:pt x="469" y="782"/>
                  </a:lnTo>
                  <a:lnTo>
                    <a:pt x="469" y="798"/>
                  </a:lnTo>
                  <a:lnTo>
                    <a:pt x="468" y="808"/>
                  </a:lnTo>
                  <a:lnTo>
                    <a:pt x="465" y="816"/>
                  </a:lnTo>
                  <a:lnTo>
                    <a:pt x="463" y="823"/>
                  </a:lnTo>
                  <a:lnTo>
                    <a:pt x="461" y="830"/>
                  </a:lnTo>
                  <a:lnTo>
                    <a:pt x="463" y="836"/>
                  </a:lnTo>
                  <a:lnTo>
                    <a:pt x="465" y="847"/>
                  </a:lnTo>
                  <a:lnTo>
                    <a:pt x="469" y="860"/>
                  </a:lnTo>
                  <a:lnTo>
                    <a:pt x="457" y="848"/>
                  </a:lnTo>
                  <a:lnTo>
                    <a:pt x="445" y="848"/>
                  </a:lnTo>
                  <a:lnTo>
                    <a:pt x="428" y="848"/>
                  </a:lnTo>
                  <a:lnTo>
                    <a:pt x="424" y="847"/>
                  </a:lnTo>
                  <a:lnTo>
                    <a:pt x="420" y="844"/>
                  </a:lnTo>
                  <a:lnTo>
                    <a:pt x="416" y="840"/>
                  </a:lnTo>
                  <a:lnTo>
                    <a:pt x="411" y="836"/>
                  </a:lnTo>
                  <a:lnTo>
                    <a:pt x="407" y="831"/>
                  </a:lnTo>
                  <a:lnTo>
                    <a:pt x="400" y="827"/>
                  </a:lnTo>
                  <a:lnTo>
                    <a:pt x="393" y="824"/>
                  </a:lnTo>
                  <a:lnTo>
                    <a:pt x="385" y="824"/>
                  </a:lnTo>
                  <a:lnTo>
                    <a:pt x="379" y="824"/>
                  </a:lnTo>
                  <a:lnTo>
                    <a:pt x="368" y="824"/>
                  </a:lnTo>
                  <a:lnTo>
                    <a:pt x="355" y="827"/>
                  </a:lnTo>
                  <a:lnTo>
                    <a:pt x="337" y="830"/>
                  </a:lnTo>
                  <a:lnTo>
                    <a:pt x="332" y="816"/>
                  </a:lnTo>
                  <a:lnTo>
                    <a:pt x="327" y="806"/>
                  </a:lnTo>
                  <a:lnTo>
                    <a:pt x="320" y="795"/>
                  </a:lnTo>
                  <a:lnTo>
                    <a:pt x="313" y="786"/>
                  </a:lnTo>
                  <a:lnTo>
                    <a:pt x="305" y="779"/>
                  </a:lnTo>
                  <a:lnTo>
                    <a:pt x="295" y="774"/>
                  </a:lnTo>
                  <a:lnTo>
                    <a:pt x="284" y="771"/>
                  </a:lnTo>
                  <a:lnTo>
                    <a:pt x="271" y="770"/>
                  </a:lnTo>
                  <a:lnTo>
                    <a:pt x="265" y="75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49" name="Freeform 11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7477125" y="3914775"/>
              <a:ext cx="333375" cy="760413"/>
            </a:xfrm>
            <a:custGeom>
              <a:avLst/>
              <a:gdLst/>
              <a:ahLst/>
              <a:cxnLst>
                <a:cxn ang="0">
                  <a:pos x="182" y="778"/>
                </a:cxn>
                <a:cxn ang="0">
                  <a:pos x="201" y="763"/>
                </a:cxn>
                <a:cxn ang="0">
                  <a:pos x="201" y="726"/>
                </a:cxn>
                <a:cxn ang="0">
                  <a:pos x="181" y="677"/>
                </a:cxn>
                <a:cxn ang="0">
                  <a:pos x="188" y="634"/>
                </a:cxn>
                <a:cxn ang="0">
                  <a:pos x="234" y="571"/>
                </a:cxn>
                <a:cxn ang="0">
                  <a:pos x="334" y="563"/>
                </a:cxn>
                <a:cxn ang="0">
                  <a:pos x="437" y="542"/>
                </a:cxn>
                <a:cxn ang="0">
                  <a:pos x="485" y="513"/>
                </a:cxn>
                <a:cxn ang="0">
                  <a:pos x="507" y="474"/>
                </a:cxn>
                <a:cxn ang="0">
                  <a:pos x="510" y="434"/>
                </a:cxn>
                <a:cxn ang="0">
                  <a:pos x="482" y="393"/>
                </a:cxn>
                <a:cxn ang="0">
                  <a:pos x="469" y="361"/>
                </a:cxn>
                <a:cxn ang="0">
                  <a:pos x="491" y="337"/>
                </a:cxn>
                <a:cxn ang="0">
                  <a:pos x="545" y="301"/>
                </a:cxn>
                <a:cxn ang="0">
                  <a:pos x="533" y="185"/>
                </a:cxn>
                <a:cxn ang="0">
                  <a:pos x="495" y="192"/>
                </a:cxn>
                <a:cxn ang="0">
                  <a:pos x="422" y="168"/>
                </a:cxn>
                <a:cxn ang="0">
                  <a:pos x="501" y="8"/>
                </a:cxn>
                <a:cxn ang="0">
                  <a:pos x="591" y="56"/>
                </a:cxn>
                <a:cxn ang="0">
                  <a:pos x="606" y="86"/>
                </a:cxn>
                <a:cxn ang="0">
                  <a:pos x="614" y="144"/>
                </a:cxn>
                <a:cxn ang="0">
                  <a:pos x="638" y="148"/>
                </a:cxn>
                <a:cxn ang="0">
                  <a:pos x="671" y="129"/>
                </a:cxn>
                <a:cxn ang="0">
                  <a:pos x="703" y="242"/>
                </a:cxn>
                <a:cxn ang="0">
                  <a:pos x="759" y="461"/>
                </a:cxn>
                <a:cxn ang="0">
                  <a:pos x="767" y="815"/>
                </a:cxn>
                <a:cxn ang="0">
                  <a:pos x="774" y="1135"/>
                </a:cxn>
                <a:cxn ang="0">
                  <a:pos x="758" y="1360"/>
                </a:cxn>
                <a:cxn ang="0">
                  <a:pos x="693" y="1550"/>
                </a:cxn>
                <a:cxn ang="0">
                  <a:pos x="618" y="1665"/>
                </a:cxn>
                <a:cxn ang="0">
                  <a:pos x="557" y="1715"/>
                </a:cxn>
                <a:cxn ang="0">
                  <a:pos x="482" y="1733"/>
                </a:cxn>
                <a:cxn ang="0">
                  <a:pos x="433" y="1703"/>
                </a:cxn>
                <a:cxn ang="0">
                  <a:pos x="402" y="1668"/>
                </a:cxn>
                <a:cxn ang="0">
                  <a:pos x="353" y="1692"/>
                </a:cxn>
                <a:cxn ang="0">
                  <a:pos x="330" y="1733"/>
                </a:cxn>
                <a:cxn ang="0">
                  <a:pos x="326" y="1859"/>
                </a:cxn>
                <a:cxn ang="0">
                  <a:pos x="252" y="1944"/>
                </a:cxn>
                <a:cxn ang="0">
                  <a:pos x="248" y="1976"/>
                </a:cxn>
                <a:cxn ang="0">
                  <a:pos x="261" y="2015"/>
                </a:cxn>
                <a:cxn ang="0">
                  <a:pos x="212" y="1961"/>
                </a:cxn>
                <a:cxn ang="0">
                  <a:pos x="212" y="1905"/>
                </a:cxn>
                <a:cxn ang="0">
                  <a:pos x="264" y="1844"/>
                </a:cxn>
                <a:cxn ang="0">
                  <a:pos x="222" y="1721"/>
                </a:cxn>
                <a:cxn ang="0">
                  <a:pos x="136" y="1587"/>
                </a:cxn>
                <a:cxn ang="0">
                  <a:pos x="48" y="1500"/>
                </a:cxn>
                <a:cxn ang="0">
                  <a:pos x="9" y="1414"/>
                </a:cxn>
                <a:cxn ang="0">
                  <a:pos x="34" y="1291"/>
                </a:cxn>
                <a:cxn ang="0">
                  <a:pos x="114" y="1243"/>
                </a:cxn>
                <a:cxn ang="0">
                  <a:pos x="253" y="1222"/>
                </a:cxn>
                <a:cxn ang="0">
                  <a:pos x="229" y="1055"/>
                </a:cxn>
                <a:cxn ang="0">
                  <a:pos x="172" y="869"/>
                </a:cxn>
              </a:cxnLst>
              <a:rect l="0" t="0" r="r" b="b"/>
              <a:pathLst>
                <a:path w="774" h="2035">
                  <a:moveTo>
                    <a:pt x="138" y="782"/>
                  </a:moveTo>
                  <a:lnTo>
                    <a:pt x="150" y="782"/>
                  </a:lnTo>
                  <a:lnTo>
                    <a:pt x="161" y="782"/>
                  </a:lnTo>
                  <a:lnTo>
                    <a:pt x="173" y="781"/>
                  </a:lnTo>
                  <a:lnTo>
                    <a:pt x="182" y="778"/>
                  </a:lnTo>
                  <a:lnTo>
                    <a:pt x="188" y="775"/>
                  </a:lnTo>
                  <a:lnTo>
                    <a:pt x="192" y="774"/>
                  </a:lnTo>
                  <a:lnTo>
                    <a:pt x="196" y="771"/>
                  </a:lnTo>
                  <a:lnTo>
                    <a:pt x="198" y="767"/>
                  </a:lnTo>
                  <a:lnTo>
                    <a:pt x="201" y="763"/>
                  </a:lnTo>
                  <a:lnTo>
                    <a:pt x="202" y="758"/>
                  </a:lnTo>
                  <a:lnTo>
                    <a:pt x="204" y="753"/>
                  </a:lnTo>
                  <a:lnTo>
                    <a:pt x="205" y="746"/>
                  </a:lnTo>
                  <a:lnTo>
                    <a:pt x="204" y="735"/>
                  </a:lnTo>
                  <a:lnTo>
                    <a:pt x="201" y="726"/>
                  </a:lnTo>
                  <a:lnTo>
                    <a:pt x="197" y="718"/>
                  </a:lnTo>
                  <a:lnTo>
                    <a:pt x="193" y="709"/>
                  </a:lnTo>
                  <a:lnTo>
                    <a:pt x="188" y="699"/>
                  </a:lnTo>
                  <a:lnTo>
                    <a:pt x="184" y="689"/>
                  </a:lnTo>
                  <a:lnTo>
                    <a:pt x="181" y="677"/>
                  </a:lnTo>
                  <a:lnTo>
                    <a:pt x="181" y="662"/>
                  </a:lnTo>
                  <a:lnTo>
                    <a:pt x="181" y="655"/>
                  </a:lnTo>
                  <a:lnTo>
                    <a:pt x="182" y="649"/>
                  </a:lnTo>
                  <a:lnTo>
                    <a:pt x="185" y="642"/>
                  </a:lnTo>
                  <a:lnTo>
                    <a:pt x="188" y="634"/>
                  </a:lnTo>
                  <a:lnTo>
                    <a:pt x="196" y="618"/>
                  </a:lnTo>
                  <a:lnTo>
                    <a:pt x="205" y="602"/>
                  </a:lnTo>
                  <a:lnTo>
                    <a:pt x="217" y="589"/>
                  </a:lnTo>
                  <a:lnTo>
                    <a:pt x="229" y="577"/>
                  </a:lnTo>
                  <a:lnTo>
                    <a:pt x="234" y="571"/>
                  </a:lnTo>
                  <a:lnTo>
                    <a:pt x="241" y="569"/>
                  </a:lnTo>
                  <a:lnTo>
                    <a:pt x="246" y="566"/>
                  </a:lnTo>
                  <a:lnTo>
                    <a:pt x="253" y="566"/>
                  </a:lnTo>
                  <a:lnTo>
                    <a:pt x="292" y="565"/>
                  </a:lnTo>
                  <a:lnTo>
                    <a:pt x="334" y="563"/>
                  </a:lnTo>
                  <a:lnTo>
                    <a:pt x="356" y="561"/>
                  </a:lnTo>
                  <a:lnTo>
                    <a:pt x="377" y="558"/>
                  </a:lnTo>
                  <a:lnTo>
                    <a:pt x="398" y="554"/>
                  </a:lnTo>
                  <a:lnTo>
                    <a:pt x="418" y="549"/>
                  </a:lnTo>
                  <a:lnTo>
                    <a:pt x="437" y="542"/>
                  </a:lnTo>
                  <a:lnTo>
                    <a:pt x="455" y="534"/>
                  </a:lnTo>
                  <a:lnTo>
                    <a:pt x="463" y="529"/>
                  </a:lnTo>
                  <a:lnTo>
                    <a:pt x="471" y="523"/>
                  </a:lnTo>
                  <a:lnTo>
                    <a:pt x="478" y="518"/>
                  </a:lnTo>
                  <a:lnTo>
                    <a:pt x="485" y="513"/>
                  </a:lnTo>
                  <a:lnTo>
                    <a:pt x="490" y="506"/>
                  </a:lnTo>
                  <a:lnTo>
                    <a:pt x="495" y="499"/>
                  </a:lnTo>
                  <a:lnTo>
                    <a:pt x="501" y="491"/>
                  </a:lnTo>
                  <a:lnTo>
                    <a:pt x="505" y="483"/>
                  </a:lnTo>
                  <a:lnTo>
                    <a:pt x="507" y="474"/>
                  </a:lnTo>
                  <a:lnTo>
                    <a:pt x="510" y="465"/>
                  </a:lnTo>
                  <a:lnTo>
                    <a:pt x="511" y="455"/>
                  </a:lnTo>
                  <a:lnTo>
                    <a:pt x="511" y="445"/>
                  </a:lnTo>
                  <a:lnTo>
                    <a:pt x="511" y="439"/>
                  </a:lnTo>
                  <a:lnTo>
                    <a:pt x="510" y="434"/>
                  </a:lnTo>
                  <a:lnTo>
                    <a:pt x="507" y="429"/>
                  </a:lnTo>
                  <a:lnTo>
                    <a:pt x="505" y="423"/>
                  </a:lnTo>
                  <a:lnTo>
                    <a:pt x="498" y="413"/>
                  </a:lnTo>
                  <a:lnTo>
                    <a:pt x="490" y="404"/>
                  </a:lnTo>
                  <a:lnTo>
                    <a:pt x="482" y="393"/>
                  </a:lnTo>
                  <a:lnTo>
                    <a:pt x="475" y="382"/>
                  </a:lnTo>
                  <a:lnTo>
                    <a:pt x="473" y="377"/>
                  </a:lnTo>
                  <a:lnTo>
                    <a:pt x="471" y="372"/>
                  </a:lnTo>
                  <a:lnTo>
                    <a:pt x="470" y="366"/>
                  </a:lnTo>
                  <a:lnTo>
                    <a:pt x="469" y="361"/>
                  </a:lnTo>
                  <a:lnTo>
                    <a:pt x="470" y="357"/>
                  </a:lnTo>
                  <a:lnTo>
                    <a:pt x="473" y="353"/>
                  </a:lnTo>
                  <a:lnTo>
                    <a:pt x="475" y="349"/>
                  </a:lnTo>
                  <a:lnTo>
                    <a:pt x="479" y="345"/>
                  </a:lnTo>
                  <a:lnTo>
                    <a:pt x="491" y="337"/>
                  </a:lnTo>
                  <a:lnTo>
                    <a:pt x="505" y="329"/>
                  </a:lnTo>
                  <a:lnTo>
                    <a:pt x="519" y="321"/>
                  </a:lnTo>
                  <a:lnTo>
                    <a:pt x="533" y="312"/>
                  </a:lnTo>
                  <a:lnTo>
                    <a:pt x="539" y="306"/>
                  </a:lnTo>
                  <a:lnTo>
                    <a:pt x="545" y="301"/>
                  </a:lnTo>
                  <a:lnTo>
                    <a:pt x="550" y="296"/>
                  </a:lnTo>
                  <a:lnTo>
                    <a:pt x="554" y="289"/>
                  </a:lnTo>
                  <a:lnTo>
                    <a:pt x="554" y="193"/>
                  </a:lnTo>
                  <a:lnTo>
                    <a:pt x="542" y="188"/>
                  </a:lnTo>
                  <a:lnTo>
                    <a:pt x="533" y="185"/>
                  </a:lnTo>
                  <a:lnTo>
                    <a:pt x="526" y="185"/>
                  </a:lnTo>
                  <a:lnTo>
                    <a:pt x="519" y="185"/>
                  </a:lnTo>
                  <a:lnTo>
                    <a:pt x="513" y="188"/>
                  </a:lnTo>
                  <a:lnTo>
                    <a:pt x="506" y="190"/>
                  </a:lnTo>
                  <a:lnTo>
                    <a:pt x="495" y="192"/>
                  </a:lnTo>
                  <a:lnTo>
                    <a:pt x="482" y="193"/>
                  </a:lnTo>
                  <a:lnTo>
                    <a:pt x="473" y="190"/>
                  </a:lnTo>
                  <a:lnTo>
                    <a:pt x="459" y="185"/>
                  </a:lnTo>
                  <a:lnTo>
                    <a:pt x="442" y="177"/>
                  </a:lnTo>
                  <a:lnTo>
                    <a:pt x="422" y="168"/>
                  </a:lnTo>
                  <a:lnTo>
                    <a:pt x="389" y="152"/>
                  </a:lnTo>
                  <a:lnTo>
                    <a:pt x="373" y="144"/>
                  </a:lnTo>
                  <a:lnTo>
                    <a:pt x="475" y="0"/>
                  </a:lnTo>
                  <a:lnTo>
                    <a:pt x="485" y="2"/>
                  </a:lnTo>
                  <a:lnTo>
                    <a:pt x="501" y="8"/>
                  </a:lnTo>
                  <a:lnTo>
                    <a:pt x="521" y="17"/>
                  </a:lnTo>
                  <a:lnTo>
                    <a:pt x="543" y="28"/>
                  </a:lnTo>
                  <a:lnTo>
                    <a:pt x="565" y="40"/>
                  </a:lnTo>
                  <a:lnTo>
                    <a:pt x="583" y="50"/>
                  </a:lnTo>
                  <a:lnTo>
                    <a:pt x="591" y="56"/>
                  </a:lnTo>
                  <a:lnTo>
                    <a:pt x="597" y="60"/>
                  </a:lnTo>
                  <a:lnTo>
                    <a:pt x="601" y="64"/>
                  </a:lnTo>
                  <a:lnTo>
                    <a:pt x="602" y="66"/>
                  </a:lnTo>
                  <a:lnTo>
                    <a:pt x="605" y="74"/>
                  </a:lnTo>
                  <a:lnTo>
                    <a:pt x="606" y="86"/>
                  </a:lnTo>
                  <a:lnTo>
                    <a:pt x="607" y="101"/>
                  </a:lnTo>
                  <a:lnTo>
                    <a:pt x="607" y="114"/>
                  </a:lnTo>
                  <a:lnTo>
                    <a:pt x="609" y="128"/>
                  </a:lnTo>
                  <a:lnTo>
                    <a:pt x="611" y="140"/>
                  </a:lnTo>
                  <a:lnTo>
                    <a:pt x="614" y="144"/>
                  </a:lnTo>
                  <a:lnTo>
                    <a:pt x="617" y="148"/>
                  </a:lnTo>
                  <a:lnTo>
                    <a:pt x="621" y="149"/>
                  </a:lnTo>
                  <a:lnTo>
                    <a:pt x="626" y="150"/>
                  </a:lnTo>
                  <a:lnTo>
                    <a:pt x="633" y="149"/>
                  </a:lnTo>
                  <a:lnTo>
                    <a:pt x="638" y="148"/>
                  </a:lnTo>
                  <a:lnTo>
                    <a:pt x="645" y="144"/>
                  </a:lnTo>
                  <a:lnTo>
                    <a:pt x="651" y="141"/>
                  </a:lnTo>
                  <a:lnTo>
                    <a:pt x="657" y="137"/>
                  </a:lnTo>
                  <a:lnTo>
                    <a:pt x="665" y="133"/>
                  </a:lnTo>
                  <a:lnTo>
                    <a:pt x="671" y="129"/>
                  </a:lnTo>
                  <a:lnTo>
                    <a:pt x="681" y="126"/>
                  </a:lnTo>
                  <a:lnTo>
                    <a:pt x="683" y="152"/>
                  </a:lnTo>
                  <a:lnTo>
                    <a:pt x="689" y="180"/>
                  </a:lnTo>
                  <a:lnTo>
                    <a:pt x="695" y="210"/>
                  </a:lnTo>
                  <a:lnTo>
                    <a:pt x="703" y="242"/>
                  </a:lnTo>
                  <a:lnTo>
                    <a:pt x="714" y="277"/>
                  </a:lnTo>
                  <a:lnTo>
                    <a:pt x="727" y="313"/>
                  </a:lnTo>
                  <a:lnTo>
                    <a:pt x="742" y="352"/>
                  </a:lnTo>
                  <a:lnTo>
                    <a:pt x="758" y="392"/>
                  </a:lnTo>
                  <a:lnTo>
                    <a:pt x="759" y="461"/>
                  </a:lnTo>
                  <a:lnTo>
                    <a:pt x="759" y="531"/>
                  </a:lnTo>
                  <a:lnTo>
                    <a:pt x="762" y="602"/>
                  </a:lnTo>
                  <a:lnTo>
                    <a:pt x="763" y="674"/>
                  </a:lnTo>
                  <a:lnTo>
                    <a:pt x="766" y="745"/>
                  </a:lnTo>
                  <a:lnTo>
                    <a:pt x="767" y="815"/>
                  </a:lnTo>
                  <a:lnTo>
                    <a:pt x="770" y="883"/>
                  </a:lnTo>
                  <a:lnTo>
                    <a:pt x="773" y="950"/>
                  </a:lnTo>
                  <a:lnTo>
                    <a:pt x="774" y="1015"/>
                  </a:lnTo>
                  <a:lnTo>
                    <a:pt x="774" y="1076"/>
                  </a:lnTo>
                  <a:lnTo>
                    <a:pt x="774" y="1135"/>
                  </a:lnTo>
                  <a:lnTo>
                    <a:pt x="774" y="1190"/>
                  </a:lnTo>
                  <a:lnTo>
                    <a:pt x="771" y="1240"/>
                  </a:lnTo>
                  <a:lnTo>
                    <a:pt x="769" y="1286"/>
                  </a:lnTo>
                  <a:lnTo>
                    <a:pt x="765" y="1326"/>
                  </a:lnTo>
                  <a:lnTo>
                    <a:pt x="758" y="1360"/>
                  </a:lnTo>
                  <a:lnTo>
                    <a:pt x="747" y="1403"/>
                  </a:lnTo>
                  <a:lnTo>
                    <a:pt x="730" y="1456"/>
                  </a:lnTo>
                  <a:lnTo>
                    <a:pt x="719" y="1487"/>
                  </a:lnTo>
                  <a:lnTo>
                    <a:pt x="706" y="1518"/>
                  </a:lnTo>
                  <a:lnTo>
                    <a:pt x="693" y="1550"/>
                  </a:lnTo>
                  <a:lnTo>
                    <a:pt x="677" y="1581"/>
                  </a:lnTo>
                  <a:lnTo>
                    <a:pt x="659" y="1611"/>
                  </a:lnTo>
                  <a:lnTo>
                    <a:pt x="639" y="1639"/>
                  </a:lnTo>
                  <a:lnTo>
                    <a:pt x="629" y="1652"/>
                  </a:lnTo>
                  <a:lnTo>
                    <a:pt x="618" y="1665"/>
                  </a:lnTo>
                  <a:lnTo>
                    <a:pt x="607" y="1677"/>
                  </a:lnTo>
                  <a:lnTo>
                    <a:pt x="595" y="1688"/>
                  </a:lnTo>
                  <a:lnTo>
                    <a:pt x="582" y="1697"/>
                  </a:lnTo>
                  <a:lnTo>
                    <a:pt x="570" y="1707"/>
                  </a:lnTo>
                  <a:lnTo>
                    <a:pt x="557" y="1715"/>
                  </a:lnTo>
                  <a:lnTo>
                    <a:pt x="542" y="1721"/>
                  </a:lnTo>
                  <a:lnTo>
                    <a:pt x="527" y="1727"/>
                  </a:lnTo>
                  <a:lnTo>
                    <a:pt x="513" y="1731"/>
                  </a:lnTo>
                  <a:lnTo>
                    <a:pt x="498" y="1733"/>
                  </a:lnTo>
                  <a:lnTo>
                    <a:pt x="482" y="1733"/>
                  </a:lnTo>
                  <a:lnTo>
                    <a:pt x="469" y="1732"/>
                  </a:lnTo>
                  <a:lnTo>
                    <a:pt x="458" y="1729"/>
                  </a:lnTo>
                  <a:lnTo>
                    <a:pt x="450" y="1724"/>
                  </a:lnTo>
                  <a:lnTo>
                    <a:pt x="443" y="1717"/>
                  </a:lnTo>
                  <a:lnTo>
                    <a:pt x="433" y="1703"/>
                  </a:lnTo>
                  <a:lnTo>
                    <a:pt x="423" y="1687"/>
                  </a:lnTo>
                  <a:lnTo>
                    <a:pt x="419" y="1680"/>
                  </a:lnTo>
                  <a:lnTo>
                    <a:pt x="414" y="1675"/>
                  </a:lnTo>
                  <a:lnTo>
                    <a:pt x="409" y="1669"/>
                  </a:lnTo>
                  <a:lnTo>
                    <a:pt x="402" y="1668"/>
                  </a:lnTo>
                  <a:lnTo>
                    <a:pt x="396" y="1668"/>
                  </a:lnTo>
                  <a:lnTo>
                    <a:pt x="386" y="1671"/>
                  </a:lnTo>
                  <a:lnTo>
                    <a:pt x="374" y="1676"/>
                  </a:lnTo>
                  <a:lnTo>
                    <a:pt x="361" y="1685"/>
                  </a:lnTo>
                  <a:lnTo>
                    <a:pt x="353" y="1692"/>
                  </a:lnTo>
                  <a:lnTo>
                    <a:pt x="346" y="1700"/>
                  </a:lnTo>
                  <a:lnTo>
                    <a:pt x="341" y="1707"/>
                  </a:lnTo>
                  <a:lnTo>
                    <a:pt x="336" y="1715"/>
                  </a:lnTo>
                  <a:lnTo>
                    <a:pt x="333" y="1724"/>
                  </a:lnTo>
                  <a:lnTo>
                    <a:pt x="330" y="1733"/>
                  </a:lnTo>
                  <a:lnTo>
                    <a:pt x="329" y="1744"/>
                  </a:lnTo>
                  <a:lnTo>
                    <a:pt x="328" y="1756"/>
                  </a:lnTo>
                  <a:lnTo>
                    <a:pt x="326" y="1784"/>
                  </a:lnTo>
                  <a:lnTo>
                    <a:pt x="326" y="1817"/>
                  </a:lnTo>
                  <a:lnTo>
                    <a:pt x="326" y="1859"/>
                  </a:lnTo>
                  <a:lnTo>
                    <a:pt x="325" y="1908"/>
                  </a:lnTo>
                  <a:lnTo>
                    <a:pt x="292" y="1923"/>
                  </a:lnTo>
                  <a:lnTo>
                    <a:pt x="266" y="1933"/>
                  </a:lnTo>
                  <a:lnTo>
                    <a:pt x="258" y="1939"/>
                  </a:lnTo>
                  <a:lnTo>
                    <a:pt x="252" y="1944"/>
                  </a:lnTo>
                  <a:lnTo>
                    <a:pt x="246" y="1949"/>
                  </a:lnTo>
                  <a:lnTo>
                    <a:pt x="244" y="1956"/>
                  </a:lnTo>
                  <a:lnTo>
                    <a:pt x="244" y="1961"/>
                  </a:lnTo>
                  <a:lnTo>
                    <a:pt x="244" y="1969"/>
                  </a:lnTo>
                  <a:lnTo>
                    <a:pt x="248" y="1976"/>
                  </a:lnTo>
                  <a:lnTo>
                    <a:pt x="252" y="1985"/>
                  </a:lnTo>
                  <a:lnTo>
                    <a:pt x="268" y="2007"/>
                  </a:lnTo>
                  <a:lnTo>
                    <a:pt x="289" y="2035"/>
                  </a:lnTo>
                  <a:lnTo>
                    <a:pt x="274" y="2024"/>
                  </a:lnTo>
                  <a:lnTo>
                    <a:pt x="261" y="2015"/>
                  </a:lnTo>
                  <a:lnTo>
                    <a:pt x="248" y="2004"/>
                  </a:lnTo>
                  <a:lnTo>
                    <a:pt x="237" y="1993"/>
                  </a:lnTo>
                  <a:lnTo>
                    <a:pt x="226" y="1983"/>
                  </a:lnTo>
                  <a:lnTo>
                    <a:pt x="218" y="1972"/>
                  </a:lnTo>
                  <a:lnTo>
                    <a:pt x="212" y="1961"/>
                  </a:lnTo>
                  <a:lnTo>
                    <a:pt x="206" y="1949"/>
                  </a:lnTo>
                  <a:lnTo>
                    <a:pt x="204" y="1939"/>
                  </a:lnTo>
                  <a:lnTo>
                    <a:pt x="204" y="1928"/>
                  </a:lnTo>
                  <a:lnTo>
                    <a:pt x="206" y="1916"/>
                  </a:lnTo>
                  <a:lnTo>
                    <a:pt x="212" y="1905"/>
                  </a:lnTo>
                  <a:lnTo>
                    <a:pt x="220" y="1893"/>
                  </a:lnTo>
                  <a:lnTo>
                    <a:pt x="232" y="1883"/>
                  </a:lnTo>
                  <a:lnTo>
                    <a:pt x="246" y="1872"/>
                  </a:lnTo>
                  <a:lnTo>
                    <a:pt x="265" y="1860"/>
                  </a:lnTo>
                  <a:lnTo>
                    <a:pt x="264" y="1844"/>
                  </a:lnTo>
                  <a:lnTo>
                    <a:pt x="260" y="1825"/>
                  </a:lnTo>
                  <a:lnTo>
                    <a:pt x="253" y="1804"/>
                  </a:lnTo>
                  <a:lnTo>
                    <a:pt x="246" y="1781"/>
                  </a:lnTo>
                  <a:lnTo>
                    <a:pt x="232" y="1743"/>
                  </a:lnTo>
                  <a:lnTo>
                    <a:pt x="222" y="1721"/>
                  </a:lnTo>
                  <a:lnTo>
                    <a:pt x="202" y="1687"/>
                  </a:lnTo>
                  <a:lnTo>
                    <a:pt x="185" y="1656"/>
                  </a:lnTo>
                  <a:lnTo>
                    <a:pt x="168" y="1629"/>
                  </a:lnTo>
                  <a:lnTo>
                    <a:pt x="152" y="1607"/>
                  </a:lnTo>
                  <a:lnTo>
                    <a:pt x="136" y="1587"/>
                  </a:lnTo>
                  <a:lnTo>
                    <a:pt x="122" y="1570"/>
                  </a:lnTo>
                  <a:lnTo>
                    <a:pt x="109" y="1555"/>
                  </a:lnTo>
                  <a:lnTo>
                    <a:pt x="96" y="1542"/>
                  </a:lnTo>
                  <a:lnTo>
                    <a:pt x="70" y="1520"/>
                  </a:lnTo>
                  <a:lnTo>
                    <a:pt x="48" y="1500"/>
                  </a:lnTo>
                  <a:lnTo>
                    <a:pt x="24" y="1480"/>
                  </a:lnTo>
                  <a:lnTo>
                    <a:pt x="0" y="1456"/>
                  </a:lnTo>
                  <a:lnTo>
                    <a:pt x="0" y="1450"/>
                  </a:lnTo>
                  <a:lnTo>
                    <a:pt x="2" y="1435"/>
                  </a:lnTo>
                  <a:lnTo>
                    <a:pt x="9" y="1414"/>
                  </a:lnTo>
                  <a:lnTo>
                    <a:pt x="16" y="1387"/>
                  </a:lnTo>
                  <a:lnTo>
                    <a:pt x="22" y="1356"/>
                  </a:lnTo>
                  <a:lnTo>
                    <a:pt x="29" y="1324"/>
                  </a:lnTo>
                  <a:lnTo>
                    <a:pt x="32" y="1307"/>
                  </a:lnTo>
                  <a:lnTo>
                    <a:pt x="34" y="1291"/>
                  </a:lnTo>
                  <a:lnTo>
                    <a:pt x="36" y="1274"/>
                  </a:lnTo>
                  <a:lnTo>
                    <a:pt x="36" y="1258"/>
                  </a:lnTo>
                  <a:lnTo>
                    <a:pt x="58" y="1252"/>
                  </a:lnTo>
                  <a:lnTo>
                    <a:pt x="85" y="1247"/>
                  </a:lnTo>
                  <a:lnTo>
                    <a:pt x="114" y="1243"/>
                  </a:lnTo>
                  <a:lnTo>
                    <a:pt x="144" y="1240"/>
                  </a:lnTo>
                  <a:lnTo>
                    <a:pt x="174" y="1236"/>
                  </a:lnTo>
                  <a:lnTo>
                    <a:pt x="204" y="1232"/>
                  </a:lnTo>
                  <a:lnTo>
                    <a:pt x="230" y="1228"/>
                  </a:lnTo>
                  <a:lnTo>
                    <a:pt x="253" y="1222"/>
                  </a:lnTo>
                  <a:lnTo>
                    <a:pt x="250" y="1186"/>
                  </a:lnTo>
                  <a:lnTo>
                    <a:pt x="246" y="1151"/>
                  </a:lnTo>
                  <a:lnTo>
                    <a:pt x="241" y="1118"/>
                  </a:lnTo>
                  <a:lnTo>
                    <a:pt x="236" y="1086"/>
                  </a:lnTo>
                  <a:lnTo>
                    <a:pt x="229" y="1055"/>
                  </a:lnTo>
                  <a:lnTo>
                    <a:pt x="222" y="1026"/>
                  </a:lnTo>
                  <a:lnTo>
                    <a:pt x="214" y="996"/>
                  </a:lnTo>
                  <a:lnTo>
                    <a:pt x="206" y="970"/>
                  </a:lnTo>
                  <a:lnTo>
                    <a:pt x="190" y="918"/>
                  </a:lnTo>
                  <a:lnTo>
                    <a:pt x="172" y="869"/>
                  </a:lnTo>
                  <a:lnTo>
                    <a:pt x="154" y="822"/>
                  </a:lnTo>
                  <a:lnTo>
                    <a:pt x="138" y="777"/>
                  </a:lnTo>
                  <a:lnTo>
                    <a:pt x="138" y="78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0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6724650" y="2698750"/>
              <a:ext cx="1046163" cy="1536700"/>
            </a:xfrm>
            <a:custGeom>
              <a:avLst/>
              <a:gdLst/>
              <a:ahLst/>
              <a:cxnLst>
                <a:cxn ang="0">
                  <a:pos x="1091" y="3591"/>
                </a:cxn>
                <a:cxn ang="0">
                  <a:pos x="969" y="3538"/>
                </a:cxn>
                <a:cxn ang="0">
                  <a:pos x="879" y="3385"/>
                </a:cxn>
                <a:cxn ang="0">
                  <a:pos x="885" y="3222"/>
                </a:cxn>
                <a:cxn ang="0">
                  <a:pos x="998" y="3006"/>
                </a:cxn>
                <a:cxn ang="0">
                  <a:pos x="947" y="2908"/>
                </a:cxn>
                <a:cxn ang="0">
                  <a:pos x="1135" y="2812"/>
                </a:cxn>
                <a:cxn ang="0">
                  <a:pos x="1015" y="2582"/>
                </a:cxn>
                <a:cxn ang="0">
                  <a:pos x="877" y="2680"/>
                </a:cxn>
                <a:cxn ang="0">
                  <a:pos x="769" y="2834"/>
                </a:cxn>
                <a:cxn ang="0">
                  <a:pos x="657" y="2884"/>
                </a:cxn>
                <a:cxn ang="0">
                  <a:pos x="482" y="2853"/>
                </a:cxn>
                <a:cxn ang="0">
                  <a:pos x="469" y="2730"/>
                </a:cxn>
                <a:cxn ang="0">
                  <a:pos x="469" y="2617"/>
                </a:cxn>
                <a:cxn ang="0">
                  <a:pos x="502" y="2349"/>
                </a:cxn>
                <a:cxn ang="0">
                  <a:pos x="258" y="2444"/>
                </a:cxn>
                <a:cxn ang="0">
                  <a:pos x="206" y="2152"/>
                </a:cxn>
                <a:cxn ang="0">
                  <a:pos x="126" y="2040"/>
                </a:cxn>
                <a:cxn ang="0">
                  <a:pos x="54" y="1780"/>
                </a:cxn>
                <a:cxn ang="0">
                  <a:pos x="84" y="1511"/>
                </a:cxn>
                <a:cxn ang="0">
                  <a:pos x="229" y="1342"/>
                </a:cxn>
                <a:cxn ang="0">
                  <a:pos x="366" y="1270"/>
                </a:cxn>
                <a:cxn ang="0">
                  <a:pos x="426" y="1098"/>
                </a:cxn>
                <a:cxn ang="0">
                  <a:pos x="318" y="915"/>
                </a:cxn>
                <a:cxn ang="0">
                  <a:pos x="241" y="739"/>
                </a:cxn>
                <a:cxn ang="0">
                  <a:pos x="212" y="382"/>
                </a:cxn>
                <a:cxn ang="0">
                  <a:pos x="378" y="318"/>
                </a:cxn>
                <a:cxn ang="0">
                  <a:pos x="537" y="222"/>
                </a:cxn>
                <a:cxn ang="0">
                  <a:pos x="674" y="180"/>
                </a:cxn>
                <a:cxn ang="0">
                  <a:pos x="786" y="0"/>
                </a:cxn>
                <a:cxn ang="0">
                  <a:pos x="993" y="186"/>
                </a:cxn>
                <a:cxn ang="0">
                  <a:pos x="997" y="317"/>
                </a:cxn>
                <a:cxn ang="0">
                  <a:pos x="1121" y="284"/>
                </a:cxn>
                <a:cxn ang="0">
                  <a:pos x="1257" y="342"/>
                </a:cxn>
                <a:cxn ang="0">
                  <a:pos x="1253" y="474"/>
                </a:cxn>
                <a:cxn ang="0">
                  <a:pos x="1067" y="613"/>
                </a:cxn>
                <a:cxn ang="0">
                  <a:pos x="919" y="785"/>
                </a:cxn>
                <a:cxn ang="0">
                  <a:pos x="930" y="1364"/>
                </a:cxn>
                <a:cxn ang="0">
                  <a:pos x="923" y="1895"/>
                </a:cxn>
                <a:cxn ang="0">
                  <a:pos x="902" y="2283"/>
                </a:cxn>
                <a:cxn ang="0">
                  <a:pos x="1122" y="2200"/>
                </a:cxn>
                <a:cxn ang="0">
                  <a:pos x="1193" y="2263"/>
                </a:cxn>
                <a:cxn ang="0">
                  <a:pos x="1263" y="2299"/>
                </a:cxn>
                <a:cxn ang="0">
                  <a:pos x="1386" y="2228"/>
                </a:cxn>
                <a:cxn ang="0">
                  <a:pos x="1451" y="1964"/>
                </a:cxn>
                <a:cxn ang="0">
                  <a:pos x="1683" y="2001"/>
                </a:cxn>
                <a:cxn ang="0">
                  <a:pos x="1764" y="2087"/>
                </a:cxn>
                <a:cxn ang="0">
                  <a:pos x="1908" y="2176"/>
                </a:cxn>
                <a:cxn ang="0">
                  <a:pos x="2239" y="2744"/>
                </a:cxn>
                <a:cxn ang="0">
                  <a:pos x="2419" y="3202"/>
                </a:cxn>
                <a:cxn ang="0">
                  <a:pos x="2353" y="3359"/>
                </a:cxn>
                <a:cxn ang="0">
                  <a:pos x="2168" y="3413"/>
                </a:cxn>
                <a:cxn ang="0">
                  <a:pos x="2279" y="3557"/>
                </a:cxn>
                <a:cxn ang="0">
                  <a:pos x="2253" y="3674"/>
                </a:cxn>
                <a:cxn ang="0">
                  <a:pos x="2164" y="3794"/>
                </a:cxn>
                <a:cxn ang="0">
                  <a:pos x="1927" y="3900"/>
                </a:cxn>
                <a:cxn ang="0">
                  <a:pos x="1928" y="4023"/>
                </a:cxn>
                <a:cxn ang="0">
                  <a:pos x="1860" y="3726"/>
                </a:cxn>
                <a:cxn ang="0">
                  <a:pos x="1703" y="3623"/>
                </a:cxn>
                <a:cxn ang="0">
                  <a:pos x="1400" y="4075"/>
                </a:cxn>
                <a:cxn ang="0">
                  <a:pos x="1222" y="3990"/>
                </a:cxn>
                <a:cxn ang="0">
                  <a:pos x="1167" y="3823"/>
                </a:cxn>
                <a:cxn ang="0">
                  <a:pos x="1203" y="3726"/>
                </a:cxn>
              </a:cxnLst>
              <a:rect l="0" t="0" r="r" b="b"/>
              <a:pathLst>
                <a:path w="2429" h="4104">
                  <a:moveTo>
                    <a:pt x="1203" y="3720"/>
                  </a:moveTo>
                  <a:lnTo>
                    <a:pt x="1210" y="3720"/>
                  </a:lnTo>
                  <a:lnTo>
                    <a:pt x="1201" y="3720"/>
                  </a:lnTo>
                  <a:lnTo>
                    <a:pt x="1193" y="3718"/>
                  </a:lnTo>
                  <a:lnTo>
                    <a:pt x="1186" y="3716"/>
                  </a:lnTo>
                  <a:lnTo>
                    <a:pt x="1178" y="3712"/>
                  </a:lnTo>
                  <a:lnTo>
                    <a:pt x="1171" y="3710"/>
                  </a:lnTo>
                  <a:lnTo>
                    <a:pt x="1165" y="3704"/>
                  </a:lnTo>
                  <a:lnTo>
                    <a:pt x="1159" y="3699"/>
                  </a:lnTo>
                  <a:lnTo>
                    <a:pt x="1154" y="3694"/>
                  </a:lnTo>
                  <a:lnTo>
                    <a:pt x="1143" y="3682"/>
                  </a:lnTo>
                  <a:lnTo>
                    <a:pt x="1134" y="3667"/>
                  </a:lnTo>
                  <a:lnTo>
                    <a:pt x="1126" y="3651"/>
                  </a:lnTo>
                  <a:lnTo>
                    <a:pt x="1117" y="3637"/>
                  </a:lnTo>
                  <a:lnTo>
                    <a:pt x="1109" y="3621"/>
                  </a:lnTo>
                  <a:lnTo>
                    <a:pt x="1101" y="3605"/>
                  </a:lnTo>
                  <a:lnTo>
                    <a:pt x="1091" y="3591"/>
                  </a:lnTo>
                  <a:lnTo>
                    <a:pt x="1082" y="3578"/>
                  </a:lnTo>
                  <a:lnTo>
                    <a:pt x="1077" y="3573"/>
                  </a:lnTo>
                  <a:lnTo>
                    <a:pt x="1071" y="3567"/>
                  </a:lnTo>
                  <a:lnTo>
                    <a:pt x="1065" y="3563"/>
                  </a:lnTo>
                  <a:lnTo>
                    <a:pt x="1059" y="3559"/>
                  </a:lnTo>
                  <a:lnTo>
                    <a:pt x="1053" y="3557"/>
                  </a:lnTo>
                  <a:lnTo>
                    <a:pt x="1045" y="3554"/>
                  </a:lnTo>
                  <a:lnTo>
                    <a:pt x="1038" y="3553"/>
                  </a:lnTo>
                  <a:lnTo>
                    <a:pt x="1029" y="3551"/>
                  </a:lnTo>
                  <a:lnTo>
                    <a:pt x="1019" y="3551"/>
                  </a:lnTo>
                  <a:lnTo>
                    <a:pt x="1014" y="3551"/>
                  </a:lnTo>
                  <a:lnTo>
                    <a:pt x="1006" y="3551"/>
                  </a:lnTo>
                  <a:lnTo>
                    <a:pt x="993" y="3551"/>
                  </a:lnTo>
                  <a:lnTo>
                    <a:pt x="985" y="3551"/>
                  </a:lnTo>
                  <a:lnTo>
                    <a:pt x="978" y="3547"/>
                  </a:lnTo>
                  <a:lnTo>
                    <a:pt x="973" y="3543"/>
                  </a:lnTo>
                  <a:lnTo>
                    <a:pt x="969" y="3538"/>
                  </a:lnTo>
                  <a:lnTo>
                    <a:pt x="962" y="3523"/>
                  </a:lnTo>
                  <a:lnTo>
                    <a:pt x="957" y="3510"/>
                  </a:lnTo>
                  <a:lnTo>
                    <a:pt x="945" y="3513"/>
                  </a:lnTo>
                  <a:lnTo>
                    <a:pt x="934" y="3513"/>
                  </a:lnTo>
                  <a:lnTo>
                    <a:pt x="925" y="3513"/>
                  </a:lnTo>
                  <a:lnTo>
                    <a:pt x="917" y="3510"/>
                  </a:lnTo>
                  <a:lnTo>
                    <a:pt x="910" y="3506"/>
                  </a:lnTo>
                  <a:lnTo>
                    <a:pt x="903" y="3501"/>
                  </a:lnTo>
                  <a:lnTo>
                    <a:pt x="898" y="3494"/>
                  </a:lnTo>
                  <a:lnTo>
                    <a:pt x="893" y="3487"/>
                  </a:lnTo>
                  <a:lnTo>
                    <a:pt x="889" y="3479"/>
                  </a:lnTo>
                  <a:lnTo>
                    <a:pt x="886" y="3470"/>
                  </a:lnTo>
                  <a:lnTo>
                    <a:pt x="883" y="3459"/>
                  </a:lnTo>
                  <a:lnTo>
                    <a:pt x="882" y="3449"/>
                  </a:lnTo>
                  <a:lnTo>
                    <a:pt x="879" y="3426"/>
                  </a:lnTo>
                  <a:lnTo>
                    <a:pt x="878" y="3401"/>
                  </a:lnTo>
                  <a:lnTo>
                    <a:pt x="879" y="3385"/>
                  </a:lnTo>
                  <a:lnTo>
                    <a:pt x="882" y="3369"/>
                  </a:lnTo>
                  <a:lnTo>
                    <a:pt x="887" y="3355"/>
                  </a:lnTo>
                  <a:lnTo>
                    <a:pt x="893" y="3343"/>
                  </a:lnTo>
                  <a:lnTo>
                    <a:pt x="905" y="3321"/>
                  </a:lnTo>
                  <a:lnTo>
                    <a:pt x="915" y="3299"/>
                  </a:lnTo>
                  <a:lnTo>
                    <a:pt x="907" y="3297"/>
                  </a:lnTo>
                  <a:lnTo>
                    <a:pt x="901" y="3293"/>
                  </a:lnTo>
                  <a:lnTo>
                    <a:pt x="894" y="3289"/>
                  </a:lnTo>
                  <a:lnTo>
                    <a:pt x="887" y="3283"/>
                  </a:lnTo>
                  <a:lnTo>
                    <a:pt x="881" y="3278"/>
                  </a:lnTo>
                  <a:lnTo>
                    <a:pt x="877" y="3270"/>
                  </a:lnTo>
                  <a:lnTo>
                    <a:pt x="874" y="3261"/>
                  </a:lnTo>
                  <a:lnTo>
                    <a:pt x="873" y="3250"/>
                  </a:lnTo>
                  <a:lnTo>
                    <a:pt x="874" y="3243"/>
                  </a:lnTo>
                  <a:lnTo>
                    <a:pt x="875" y="3237"/>
                  </a:lnTo>
                  <a:lnTo>
                    <a:pt x="879" y="3230"/>
                  </a:lnTo>
                  <a:lnTo>
                    <a:pt x="885" y="3222"/>
                  </a:lnTo>
                  <a:lnTo>
                    <a:pt x="898" y="3207"/>
                  </a:lnTo>
                  <a:lnTo>
                    <a:pt x="913" y="3190"/>
                  </a:lnTo>
                  <a:lnTo>
                    <a:pt x="927" y="3173"/>
                  </a:lnTo>
                  <a:lnTo>
                    <a:pt x="941" y="3154"/>
                  </a:lnTo>
                  <a:lnTo>
                    <a:pt x="947" y="3145"/>
                  </a:lnTo>
                  <a:lnTo>
                    <a:pt x="951" y="3134"/>
                  </a:lnTo>
                  <a:lnTo>
                    <a:pt x="955" y="3123"/>
                  </a:lnTo>
                  <a:lnTo>
                    <a:pt x="957" y="3113"/>
                  </a:lnTo>
                  <a:lnTo>
                    <a:pt x="957" y="3098"/>
                  </a:lnTo>
                  <a:lnTo>
                    <a:pt x="957" y="3075"/>
                  </a:lnTo>
                  <a:lnTo>
                    <a:pt x="958" y="3066"/>
                  </a:lnTo>
                  <a:lnTo>
                    <a:pt x="959" y="3058"/>
                  </a:lnTo>
                  <a:lnTo>
                    <a:pt x="962" y="3050"/>
                  </a:lnTo>
                  <a:lnTo>
                    <a:pt x="966" y="3042"/>
                  </a:lnTo>
                  <a:lnTo>
                    <a:pt x="975" y="3029"/>
                  </a:lnTo>
                  <a:lnTo>
                    <a:pt x="987" y="3017"/>
                  </a:lnTo>
                  <a:lnTo>
                    <a:pt x="998" y="3006"/>
                  </a:lnTo>
                  <a:lnTo>
                    <a:pt x="1007" y="2994"/>
                  </a:lnTo>
                  <a:lnTo>
                    <a:pt x="1011" y="2989"/>
                  </a:lnTo>
                  <a:lnTo>
                    <a:pt x="1014" y="2982"/>
                  </a:lnTo>
                  <a:lnTo>
                    <a:pt x="1017" y="2976"/>
                  </a:lnTo>
                  <a:lnTo>
                    <a:pt x="1017" y="2968"/>
                  </a:lnTo>
                  <a:lnTo>
                    <a:pt x="1017" y="2960"/>
                  </a:lnTo>
                  <a:lnTo>
                    <a:pt x="1014" y="2953"/>
                  </a:lnTo>
                  <a:lnTo>
                    <a:pt x="1010" y="2948"/>
                  </a:lnTo>
                  <a:lnTo>
                    <a:pt x="1006" y="2944"/>
                  </a:lnTo>
                  <a:lnTo>
                    <a:pt x="994" y="2938"/>
                  </a:lnTo>
                  <a:lnTo>
                    <a:pt x="981" y="2933"/>
                  </a:lnTo>
                  <a:lnTo>
                    <a:pt x="974" y="2930"/>
                  </a:lnTo>
                  <a:lnTo>
                    <a:pt x="967" y="2928"/>
                  </a:lnTo>
                  <a:lnTo>
                    <a:pt x="962" y="2925"/>
                  </a:lnTo>
                  <a:lnTo>
                    <a:pt x="957" y="2921"/>
                  </a:lnTo>
                  <a:lnTo>
                    <a:pt x="951" y="2914"/>
                  </a:lnTo>
                  <a:lnTo>
                    <a:pt x="947" y="2908"/>
                  </a:lnTo>
                  <a:lnTo>
                    <a:pt x="946" y="2900"/>
                  </a:lnTo>
                  <a:lnTo>
                    <a:pt x="945" y="2889"/>
                  </a:lnTo>
                  <a:lnTo>
                    <a:pt x="946" y="2885"/>
                  </a:lnTo>
                  <a:lnTo>
                    <a:pt x="947" y="2880"/>
                  </a:lnTo>
                  <a:lnTo>
                    <a:pt x="949" y="2874"/>
                  </a:lnTo>
                  <a:lnTo>
                    <a:pt x="953" y="2869"/>
                  </a:lnTo>
                  <a:lnTo>
                    <a:pt x="957" y="2864"/>
                  </a:lnTo>
                  <a:lnTo>
                    <a:pt x="961" y="2860"/>
                  </a:lnTo>
                  <a:lnTo>
                    <a:pt x="965" y="2856"/>
                  </a:lnTo>
                  <a:lnTo>
                    <a:pt x="969" y="2853"/>
                  </a:lnTo>
                  <a:lnTo>
                    <a:pt x="1066" y="2853"/>
                  </a:lnTo>
                  <a:lnTo>
                    <a:pt x="1087" y="2845"/>
                  </a:lnTo>
                  <a:lnTo>
                    <a:pt x="1110" y="2836"/>
                  </a:lnTo>
                  <a:lnTo>
                    <a:pt x="1121" y="2829"/>
                  </a:lnTo>
                  <a:lnTo>
                    <a:pt x="1130" y="2821"/>
                  </a:lnTo>
                  <a:lnTo>
                    <a:pt x="1133" y="2817"/>
                  </a:lnTo>
                  <a:lnTo>
                    <a:pt x="1135" y="2812"/>
                  </a:lnTo>
                  <a:lnTo>
                    <a:pt x="1137" y="2805"/>
                  </a:lnTo>
                  <a:lnTo>
                    <a:pt x="1138" y="2800"/>
                  </a:lnTo>
                  <a:lnTo>
                    <a:pt x="1137" y="2789"/>
                  </a:lnTo>
                  <a:lnTo>
                    <a:pt x="1134" y="2776"/>
                  </a:lnTo>
                  <a:lnTo>
                    <a:pt x="1129" y="2761"/>
                  </a:lnTo>
                  <a:lnTo>
                    <a:pt x="1123" y="2745"/>
                  </a:lnTo>
                  <a:lnTo>
                    <a:pt x="1107" y="2709"/>
                  </a:lnTo>
                  <a:lnTo>
                    <a:pt x="1087" y="2673"/>
                  </a:lnTo>
                  <a:lnTo>
                    <a:pt x="1078" y="2654"/>
                  </a:lnTo>
                  <a:lnTo>
                    <a:pt x="1067" y="2638"/>
                  </a:lnTo>
                  <a:lnTo>
                    <a:pt x="1057" y="2622"/>
                  </a:lnTo>
                  <a:lnTo>
                    <a:pt x="1046" y="2609"/>
                  </a:lnTo>
                  <a:lnTo>
                    <a:pt x="1037" y="2598"/>
                  </a:lnTo>
                  <a:lnTo>
                    <a:pt x="1027" y="2589"/>
                  </a:lnTo>
                  <a:lnTo>
                    <a:pt x="1022" y="2586"/>
                  </a:lnTo>
                  <a:lnTo>
                    <a:pt x="1018" y="2584"/>
                  </a:lnTo>
                  <a:lnTo>
                    <a:pt x="1015" y="2582"/>
                  </a:lnTo>
                  <a:lnTo>
                    <a:pt x="1011" y="2582"/>
                  </a:lnTo>
                  <a:lnTo>
                    <a:pt x="1003" y="2582"/>
                  </a:lnTo>
                  <a:lnTo>
                    <a:pt x="997" y="2585"/>
                  </a:lnTo>
                  <a:lnTo>
                    <a:pt x="990" y="2586"/>
                  </a:lnTo>
                  <a:lnTo>
                    <a:pt x="985" y="2590"/>
                  </a:lnTo>
                  <a:lnTo>
                    <a:pt x="974" y="2598"/>
                  </a:lnTo>
                  <a:lnTo>
                    <a:pt x="965" y="2609"/>
                  </a:lnTo>
                  <a:lnTo>
                    <a:pt x="957" y="2620"/>
                  </a:lnTo>
                  <a:lnTo>
                    <a:pt x="949" y="2630"/>
                  </a:lnTo>
                  <a:lnTo>
                    <a:pt x="942" y="2641"/>
                  </a:lnTo>
                  <a:lnTo>
                    <a:pt x="933" y="2649"/>
                  </a:lnTo>
                  <a:lnTo>
                    <a:pt x="923" y="2656"/>
                  </a:lnTo>
                  <a:lnTo>
                    <a:pt x="914" y="2662"/>
                  </a:lnTo>
                  <a:lnTo>
                    <a:pt x="905" y="2666"/>
                  </a:lnTo>
                  <a:lnTo>
                    <a:pt x="894" y="2670"/>
                  </a:lnTo>
                  <a:lnTo>
                    <a:pt x="885" y="2674"/>
                  </a:lnTo>
                  <a:lnTo>
                    <a:pt x="877" y="2680"/>
                  </a:lnTo>
                  <a:lnTo>
                    <a:pt x="867" y="2688"/>
                  </a:lnTo>
                  <a:lnTo>
                    <a:pt x="861" y="2697"/>
                  </a:lnTo>
                  <a:lnTo>
                    <a:pt x="857" y="2702"/>
                  </a:lnTo>
                  <a:lnTo>
                    <a:pt x="853" y="2709"/>
                  </a:lnTo>
                  <a:lnTo>
                    <a:pt x="850" y="2717"/>
                  </a:lnTo>
                  <a:lnTo>
                    <a:pt x="847" y="2724"/>
                  </a:lnTo>
                  <a:lnTo>
                    <a:pt x="842" y="2740"/>
                  </a:lnTo>
                  <a:lnTo>
                    <a:pt x="838" y="2757"/>
                  </a:lnTo>
                  <a:lnTo>
                    <a:pt x="833" y="2774"/>
                  </a:lnTo>
                  <a:lnTo>
                    <a:pt x="826" y="2790"/>
                  </a:lnTo>
                  <a:lnTo>
                    <a:pt x="823" y="2797"/>
                  </a:lnTo>
                  <a:lnTo>
                    <a:pt x="818" y="2805"/>
                  </a:lnTo>
                  <a:lnTo>
                    <a:pt x="813" y="2812"/>
                  </a:lnTo>
                  <a:lnTo>
                    <a:pt x="806" y="2817"/>
                  </a:lnTo>
                  <a:lnTo>
                    <a:pt x="791" y="2825"/>
                  </a:lnTo>
                  <a:lnTo>
                    <a:pt x="777" y="2830"/>
                  </a:lnTo>
                  <a:lnTo>
                    <a:pt x="769" y="2834"/>
                  </a:lnTo>
                  <a:lnTo>
                    <a:pt x="761" y="2840"/>
                  </a:lnTo>
                  <a:lnTo>
                    <a:pt x="753" y="2845"/>
                  </a:lnTo>
                  <a:lnTo>
                    <a:pt x="746" y="2853"/>
                  </a:lnTo>
                  <a:lnTo>
                    <a:pt x="741" y="2858"/>
                  </a:lnTo>
                  <a:lnTo>
                    <a:pt x="735" y="2865"/>
                  </a:lnTo>
                  <a:lnTo>
                    <a:pt x="731" y="2872"/>
                  </a:lnTo>
                  <a:lnTo>
                    <a:pt x="726" y="2878"/>
                  </a:lnTo>
                  <a:lnTo>
                    <a:pt x="722" y="2885"/>
                  </a:lnTo>
                  <a:lnTo>
                    <a:pt x="715" y="2890"/>
                  </a:lnTo>
                  <a:lnTo>
                    <a:pt x="711" y="2893"/>
                  </a:lnTo>
                  <a:lnTo>
                    <a:pt x="707" y="2894"/>
                  </a:lnTo>
                  <a:lnTo>
                    <a:pt x="703" y="2896"/>
                  </a:lnTo>
                  <a:lnTo>
                    <a:pt x="698" y="2896"/>
                  </a:lnTo>
                  <a:lnTo>
                    <a:pt x="685" y="2894"/>
                  </a:lnTo>
                  <a:lnTo>
                    <a:pt x="674" y="2893"/>
                  </a:lnTo>
                  <a:lnTo>
                    <a:pt x="665" y="2889"/>
                  </a:lnTo>
                  <a:lnTo>
                    <a:pt x="657" y="2884"/>
                  </a:lnTo>
                  <a:lnTo>
                    <a:pt x="643" y="2873"/>
                  </a:lnTo>
                  <a:lnTo>
                    <a:pt x="631" y="2860"/>
                  </a:lnTo>
                  <a:lnTo>
                    <a:pt x="621" y="2846"/>
                  </a:lnTo>
                  <a:lnTo>
                    <a:pt x="606" y="2834"/>
                  </a:lnTo>
                  <a:lnTo>
                    <a:pt x="598" y="2830"/>
                  </a:lnTo>
                  <a:lnTo>
                    <a:pt x="589" y="2826"/>
                  </a:lnTo>
                  <a:lnTo>
                    <a:pt x="578" y="2824"/>
                  </a:lnTo>
                  <a:lnTo>
                    <a:pt x="566" y="2824"/>
                  </a:lnTo>
                  <a:lnTo>
                    <a:pt x="556" y="2825"/>
                  </a:lnTo>
                  <a:lnTo>
                    <a:pt x="546" y="2828"/>
                  </a:lnTo>
                  <a:lnTo>
                    <a:pt x="540" y="2833"/>
                  </a:lnTo>
                  <a:lnTo>
                    <a:pt x="532" y="2838"/>
                  </a:lnTo>
                  <a:lnTo>
                    <a:pt x="524" y="2844"/>
                  </a:lnTo>
                  <a:lnTo>
                    <a:pt x="516" y="2849"/>
                  </a:lnTo>
                  <a:lnTo>
                    <a:pt x="505" y="2852"/>
                  </a:lnTo>
                  <a:lnTo>
                    <a:pt x="493" y="2853"/>
                  </a:lnTo>
                  <a:lnTo>
                    <a:pt x="482" y="2853"/>
                  </a:lnTo>
                  <a:lnTo>
                    <a:pt x="472" y="2850"/>
                  </a:lnTo>
                  <a:lnTo>
                    <a:pt x="461" y="2846"/>
                  </a:lnTo>
                  <a:lnTo>
                    <a:pt x="452" y="2841"/>
                  </a:lnTo>
                  <a:lnTo>
                    <a:pt x="444" y="2833"/>
                  </a:lnTo>
                  <a:lnTo>
                    <a:pt x="438" y="2825"/>
                  </a:lnTo>
                  <a:lnTo>
                    <a:pt x="436" y="2821"/>
                  </a:lnTo>
                  <a:lnTo>
                    <a:pt x="434" y="2816"/>
                  </a:lnTo>
                  <a:lnTo>
                    <a:pt x="433" y="2810"/>
                  </a:lnTo>
                  <a:lnTo>
                    <a:pt x="433" y="2805"/>
                  </a:lnTo>
                  <a:lnTo>
                    <a:pt x="433" y="2797"/>
                  </a:lnTo>
                  <a:lnTo>
                    <a:pt x="434" y="2790"/>
                  </a:lnTo>
                  <a:lnTo>
                    <a:pt x="437" y="2784"/>
                  </a:lnTo>
                  <a:lnTo>
                    <a:pt x="440" y="2777"/>
                  </a:lnTo>
                  <a:lnTo>
                    <a:pt x="446" y="2765"/>
                  </a:lnTo>
                  <a:lnTo>
                    <a:pt x="454" y="2754"/>
                  </a:lnTo>
                  <a:lnTo>
                    <a:pt x="462" y="2742"/>
                  </a:lnTo>
                  <a:lnTo>
                    <a:pt x="469" y="2730"/>
                  </a:lnTo>
                  <a:lnTo>
                    <a:pt x="472" y="2724"/>
                  </a:lnTo>
                  <a:lnTo>
                    <a:pt x="473" y="2717"/>
                  </a:lnTo>
                  <a:lnTo>
                    <a:pt x="474" y="2710"/>
                  </a:lnTo>
                  <a:lnTo>
                    <a:pt x="476" y="2702"/>
                  </a:lnTo>
                  <a:lnTo>
                    <a:pt x="474" y="2694"/>
                  </a:lnTo>
                  <a:lnTo>
                    <a:pt x="472" y="2688"/>
                  </a:lnTo>
                  <a:lnTo>
                    <a:pt x="468" y="2681"/>
                  </a:lnTo>
                  <a:lnTo>
                    <a:pt x="464" y="2674"/>
                  </a:lnTo>
                  <a:lnTo>
                    <a:pt x="458" y="2669"/>
                  </a:lnTo>
                  <a:lnTo>
                    <a:pt x="456" y="2661"/>
                  </a:lnTo>
                  <a:lnTo>
                    <a:pt x="452" y="2653"/>
                  </a:lnTo>
                  <a:lnTo>
                    <a:pt x="452" y="2642"/>
                  </a:lnTo>
                  <a:lnTo>
                    <a:pt x="452" y="2636"/>
                  </a:lnTo>
                  <a:lnTo>
                    <a:pt x="456" y="2630"/>
                  </a:lnTo>
                  <a:lnTo>
                    <a:pt x="460" y="2626"/>
                  </a:lnTo>
                  <a:lnTo>
                    <a:pt x="464" y="2621"/>
                  </a:lnTo>
                  <a:lnTo>
                    <a:pt x="469" y="2617"/>
                  </a:lnTo>
                  <a:lnTo>
                    <a:pt x="474" y="2612"/>
                  </a:lnTo>
                  <a:lnTo>
                    <a:pt x="478" y="2606"/>
                  </a:lnTo>
                  <a:lnTo>
                    <a:pt x="481" y="2601"/>
                  </a:lnTo>
                  <a:lnTo>
                    <a:pt x="496" y="2554"/>
                  </a:lnTo>
                  <a:lnTo>
                    <a:pt x="509" y="2506"/>
                  </a:lnTo>
                  <a:lnTo>
                    <a:pt x="514" y="2483"/>
                  </a:lnTo>
                  <a:lnTo>
                    <a:pt x="520" y="2457"/>
                  </a:lnTo>
                  <a:lnTo>
                    <a:pt x="522" y="2433"/>
                  </a:lnTo>
                  <a:lnTo>
                    <a:pt x="524" y="2408"/>
                  </a:lnTo>
                  <a:lnTo>
                    <a:pt x="522" y="2391"/>
                  </a:lnTo>
                  <a:lnTo>
                    <a:pt x="521" y="2377"/>
                  </a:lnTo>
                  <a:lnTo>
                    <a:pt x="520" y="2371"/>
                  </a:lnTo>
                  <a:lnTo>
                    <a:pt x="517" y="2365"/>
                  </a:lnTo>
                  <a:lnTo>
                    <a:pt x="514" y="2361"/>
                  </a:lnTo>
                  <a:lnTo>
                    <a:pt x="510" y="2357"/>
                  </a:lnTo>
                  <a:lnTo>
                    <a:pt x="506" y="2353"/>
                  </a:lnTo>
                  <a:lnTo>
                    <a:pt x="502" y="2349"/>
                  </a:lnTo>
                  <a:lnTo>
                    <a:pt x="497" y="2347"/>
                  </a:lnTo>
                  <a:lnTo>
                    <a:pt x="490" y="2345"/>
                  </a:lnTo>
                  <a:lnTo>
                    <a:pt x="476" y="2343"/>
                  </a:lnTo>
                  <a:lnTo>
                    <a:pt x="457" y="2341"/>
                  </a:lnTo>
                  <a:lnTo>
                    <a:pt x="444" y="2343"/>
                  </a:lnTo>
                  <a:lnTo>
                    <a:pt x="430" y="2344"/>
                  </a:lnTo>
                  <a:lnTo>
                    <a:pt x="417" y="2347"/>
                  </a:lnTo>
                  <a:lnTo>
                    <a:pt x="406" y="2351"/>
                  </a:lnTo>
                  <a:lnTo>
                    <a:pt x="394" y="2356"/>
                  </a:lnTo>
                  <a:lnTo>
                    <a:pt x="385" y="2361"/>
                  </a:lnTo>
                  <a:lnTo>
                    <a:pt x="374" y="2368"/>
                  </a:lnTo>
                  <a:lnTo>
                    <a:pt x="365" y="2375"/>
                  </a:lnTo>
                  <a:lnTo>
                    <a:pt x="348" y="2391"/>
                  </a:lnTo>
                  <a:lnTo>
                    <a:pt x="332" y="2408"/>
                  </a:lnTo>
                  <a:lnTo>
                    <a:pt x="316" y="2425"/>
                  </a:lnTo>
                  <a:lnTo>
                    <a:pt x="301" y="2444"/>
                  </a:lnTo>
                  <a:lnTo>
                    <a:pt x="258" y="2444"/>
                  </a:lnTo>
                  <a:lnTo>
                    <a:pt x="253" y="2411"/>
                  </a:lnTo>
                  <a:lnTo>
                    <a:pt x="248" y="2377"/>
                  </a:lnTo>
                  <a:lnTo>
                    <a:pt x="245" y="2345"/>
                  </a:lnTo>
                  <a:lnTo>
                    <a:pt x="242" y="2315"/>
                  </a:lnTo>
                  <a:lnTo>
                    <a:pt x="241" y="2284"/>
                  </a:lnTo>
                  <a:lnTo>
                    <a:pt x="241" y="2256"/>
                  </a:lnTo>
                  <a:lnTo>
                    <a:pt x="241" y="2229"/>
                  </a:lnTo>
                  <a:lnTo>
                    <a:pt x="241" y="2203"/>
                  </a:lnTo>
                  <a:lnTo>
                    <a:pt x="240" y="2196"/>
                  </a:lnTo>
                  <a:lnTo>
                    <a:pt x="238" y="2188"/>
                  </a:lnTo>
                  <a:lnTo>
                    <a:pt x="237" y="2183"/>
                  </a:lnTo>
                  <a:lnTo>
                    <a:pt x="234" y="2176"/>
                  </a:lnTo>
                  <a:lnTo>
                    <a:pt x="230" y="2171"/>
                  </a:lnTo>
                  <a:lnTo>
                    <a:pt x="228" y="2167"/>
                  </a:lnTo>
                  <a:lnTo>
                    <a:pt x="222" y="2163"/>
                  </a:lnTo>
                  <a:lnTo>
                    <a:pt x="218" y="2159"/>
                  </a:lnTo>
                  <a:lnTo>
                    <a:pt x="206" y="2152"/>
                  </a:lnTo>
                  <a:lnTo>
                    <a:pt x="194" y="2147"/>
                  </a:lnTo>
                  <a:lnTo>
                    <a:pt x="181" y="2141"/>
                  </a:lnTo>
                  <a:lnTo>
                    <a:pt x="168" y="2137"/>
                  </a:lnTo>
                  <a:lnTo>
                    <a:pt x="141" y="2131"/>
                  </a:lnTo>
                  <a:lnTo>
                    <a:pt x="118" y="2123"/>
                  </a:lnTo>
                  <a:lnTo>
                    <a:pt x="109" y="2117"/>
                  </a:lnTo>
                  <a:lnTo>
                    <a:pt x="102" y="2112"/>
                  </a:lnTo>
                  <a:lnTo>
                    <a:pt x="100" y="2108"/>
                  </a:lnTo>
                  <a:lnTo>
                    <a:pt x="97" y="2104"/>
                  </a:lnTo>
                  <a:lnTo>
                    <a:pt x="96" y="2100"/>
                  </a:lnTo>
                  <a:lnTo>
                    <a:pt x="96" y="2095"/>
                  </a:lnTo>
                  <a:lnTo>
                    <a:pt x="97" y="2087"/>
                  </a:lnTo>
                  <a:lnTo>
                    <a:pt x="98" y="2079"/>
                  </a:lnTo>
                  <a:lnTo>
                    <a:pt x="102" y="2072"/>
                  </a:lnTo>
                  <a:lnTo>
                    <a:pt x="106" y="2065"/>
                  </a:lnTo>
                  <a:lnTo>
                    <a:pt x="116" y="2053"/>
                  </a:lnTo>
                  <a:lnTo>
                    <a:pt x="126" y="2040"/>
                  </a:lnTo>
                  <a:lnTo>
                    <a:pt x="126" y="1951"/>
                  </a:lnTo>
                  <a:lnTo>
                    <a:pt x="81" y="1943"/>
                  </a:lnTo>
                  <a:lnTo>
                    <a:pt x="49" y="1936"/>
                  </a:lnTo>
                  <a:lnTo>
                    <a:pt x="36" y="1931"/>
                  </a:lnTo>
                  <a:lnTo>
                    <a:pt x="24" y="1923"/>
                  </a:lnTo>
                  <a:lnTo>
                    <a:pt x="12" y="1912"/>
                  </a:lnTo>
                  <a:lnTo>
                    <a:pt x="0" y="1896"/>
                  </a:lnTo>
                  <a:lnTo>
                    <a:pt x="17" y="1883"/>
                  </a:lnTo>
                  <a:lnTo>
                    <a:pt x="37" y="1867"/>
                  </a:lnTo>
                  <a:lnTo>
                    <a:pt x="45" y="1858"/>
                  </a:lnTo>
                  <a:lnTo>
                    <a:pt x="53" y="1848"/>
                  </a:lnTo>
                  <a:lnTo>
                    <a:pt x="56" y="1843"/>
                  </a:lnTo>
                  <a:lnTo>
                    <a:pt x="58" y="1836"/>
                  </a:lnTo>
                  <a:lnTo>
                    <a:pt x="60" y="1831"/>
                  </a:lnTo>
                  <a:lnTo>
                    <a:pt x="60" y="1824"/>
                  </a:lnTo>
                  <a:lnTo>
                    <a:pt x="58" y="1802"/>
                  </a:lnTo>
                  <a:lnTo>
                    <a:pt x="54" y="1780"/>
                  </a:lnTo>
                  <a:lnTo>
                    <a:pt x="50" y="1759"/>
                  </a:lnTo>
                  <a:lnTo>
                    <a:pt x="45" y="1739"/>
                  </a:lnTo>
                  <a:lnTo>
                    <a:pt x="40" y="1718"/>
                  </a:lnTo>
                  <a:lnTo>
                    <a:pt x="34" y="1696"/>
                  </a:lnTo>
                  <a:lnTo>
                    <a:pt x="30" y="1674"/>
                  </a:lnTo>
                  <a:lnTo>
                    <a:pt x="29" y="1650"/>
                  </a:lnTo>
                  <a:lnTo>
                    <a:pt x="30" y="1630"/>
                  </a:lnTo>
                  <a:lnTo>
                    <a:pt x="32" y="1612"/>
                  </a:lnTo>
                  <a:lnTo>
                    <a:pt x="34" y="1596"/>
                  </a:lnTo>
                  <a:lnTo>
                    <a:pt x="38" y="1582"/>
                  </a:lnTo>
                  <a:lnTo>
                    <a:pt x="42" y="1568"/>
                  </a:lnTo>
                  <a:lnTo>
                    <a:pt x="48" y="1556"/>
                  </a:lnTo>
                  <a:lnTo>
                    <a:pt x="54" y="1544"/>
                  </a:lnTo>
                  <a:lnTo>
                    <a:pt x="61" y="1535"/>
                  </a:lnTo>
                  <a:lnTo>
                    <a:pt x="68" y="1526"/>
                  </a:lnTo>
                  <a:lnTo>
                    <a:pt x="76" y="1518"/>
                  </a:lnTo>
                  <a:lnTo>
                    <a:pt x="84" y="1511"/>
                  </a:lnTo>
                  <a:lnTo>
                    <a:pt x="93" y="1504"/>
                  </a:lnTo>
                  <a:lnTo>
                    <a:pt x="110" y="1492"/>
                  </a:lnTo>
                  <a:lnTo>
                    <a:pt x="129" y="1482"/>
                  </a:lnTo>
                  <a:lnTo>
                    <a:pt x="148" y="1472"/>
                  </a:lnTo>
                  <a:lnTo>
                    <a:pt x="165" y="1462"/>
                  </a:lnTo>
                  <a:lnTo>
                    <a:pt x="174" y="1456"/>
                  </a:lnTo>
                  <a:lnTo>
                    <a:pt x="182" y="1450"/>
                  </a:lnTo>
                  <a:lnTo>
                    <a:pt x="190" y="1443"/>
                  </a:lnTo>
                  <a:lnTo>
                    <a:pt x="197" y="1436"/>
                  </a:lnTo>
                  <a:lnTo>
                    <a:pt x="204" y="1428"/>
                  </a:lnTo>
                  <a:lnTo>
                    <a:pt x="210" y="1419"/>
                  </a:lnTo>
                  <a:lnTo>
                    <a:pt x="216" y="1410"/>
                  </a:lnTo>
                  <a:lnTo>
                    <a:pt x="220" y="1398"/>
                  </a:lnTo>
                  <a:lnTo>
                    <a:pt x="224" y="1386"/>
                  </a:lnTo>
                  <a:lnTo>
                    <a:pt x="226" y="1372"/>
                  </a:lnTo>
                  <a:lnTo>
                    <a:pt x="228" y="1358"/>
                  </a:lnTo>
                  <a:lnTo>
                    <a:pt x="229" y="1342"/>
                  </a:lnTo>
                  <a:lnTo>
                    <a:pt x="229" y="1331"/>
                  </a:lnTo>
                  <a:lnTo>
                    <a:pt x="232" y="1322"/>
                  </a:lnTo>
                  <a:lnTo>
                    <a:pt x="234" y="1314"/>
                  </a:lnTo>
                  <a:lnTo>
                    <a:pt x="240" y="1309"/>
                  </a:lnTo>
                  <a:lnTo>
                    <a:pt x="245" y="1305"/>
                  </a:lnTo>
                  <a:lnTo>
                    <a:pt x="252" y="1301"/>
                  </a:lnTo>
                  <a:lnTo>
                    <a:pt x="258" y="1298"/>
                  </a:lnTo>
                  <a:lnTo>
                    <a:pt x="266" y="1297"/>
                  </a:lnTo>
                  <a:lnTo>
                    <a:pt x="284" y="1295"/>
                  </a:lnTo>
                  <a:lnTo>
                    <a:pt x="302" y="1295"/>
                  </a:lnTo>
                  <a:lnTo>
                    <a:pt x="312" y="1294"/>
                  </a:lnTo>
                  <a:lnTo>
                    <a:pt x="320" y="1293"/>
                  </a:lnTo>
                  <a:lnTo>
                    <a:pt x="329" y="1291"/>
                  </a:lnTo>
                  <a:lnTo>
                    <a:pt x="337" y="1289"/>
                  </a:lnTo>
                  <a:lnTo>
                    <a:pt x="348" y="1283"/>
                  </a:lnTo>
                  <a:lnTo>
                    <a:pt x="358" y="1277"/>
                  </a:lnTo>
                  <a:lnTo>
                    <a:pt x="366" y="1270"/>
                  </a:lnTo>
                  <a:lnTo>
                    <a:pt x="373" y="1263"/>
                  </a:lnTo>
                  <a:lnTo>
                    <a:pt x="378" y="1254"/>
                  </a:lnTo>
                  <a:lnTo>
                    <a:pt x="384" y="1246"/>
                  </a:lnTo>
                  <a:lnTo>
                    <a:pt x="386" y="1237"/>
                  </a:lnTo>
                  <a:lnTo>
                    <a:pt x="389" y="1226"/>
                  </a:lnTo>
                  <a:lnTo>
                    <a:pt x="392" y="1205"/>
                  </a:lnTo>
                  <a:lnTo>
                    <a:pt x="392" y="1183"/>
                  </a:lnTo>
                  <a:lnTo>
                    <a:pt x="392" y="1161"/>
                  </a:lnTo>
                  <a:lnTo>
                    <a:pt x="392" y="1138"/>
                  </a:lnTo>
                  <a:lnTo>
                    <a:pt x="392" y="1133"/>
                  </a:lnTo>
                  <a:lnTo>
                    <a:pt x="393" y="1127"/>
                  </a:lnTo>
                  <a:lnTo>
                    <a:pt x="394" y="1123"/>
                  </a:lnTo>
                  <a:lnTo>
                    <a:pt x="397" y="1119"/>
                  </a:lnTo>
                  <a:lnTo>
                    <a:pt x="405" y="1114"/>
                  </a:lnTo>
                  <a:lnTo>
                    <a:pt x="412" y="1109"/>
                  </a:lnTo>
                  <a:lnTo>
                    <a:pt x="420" y="1103"/>
                  </a:lnTo>
                  <a:lnTo>
                    <a:pt x="426" y="1098"/>
                  </a:lnTo>
                  <a:lnTo>
                    <a:pt x="429" y="1094"/>
                  </a:lnTo>
                  <a:lnTo>
                    <a:pt x="432" y="1091"/>
                  </a:lnTo>
                  <a:lnTo>
                    <a:pt x="433" y="1087"/>
                  </a:lnTo>
                  <a:lnTo>
                    <a:pt x="433" y="1083"/>
                  </a:lnTo>
                  <a:lnTo>
                    <a:pt x="433" y="1070"/>
                  </a:lnTo>
                  <a:lnTo>
                    <a:pt x="432" y="1058"/>
                  </a:lnTo>
                  <a:lnTo>
                    <a:pt x="429" y="1046"/>
                  </a:lnTo>
                  <a:lnTo>
                    <a:pt x="425" y="1034"/>
                  </a:lnTo>
                  <a:lnTo>
                    <a:pt x="421" y="1023"/>
                  </a:lnTo>
                  <a:lnTo>
                    <a:pt x="416" y="1014"/>
                  </a:lnTo>
                  <a:lnTo>
                    <a:pt x="409" y="1003"/>
                  </a:lnTo>
                  <a:lnTo>
                    <a:pt x="404" y="995"/>
                  </a:lnTo>
                  <a:lnTo>
                    <a:pt x="389" y="977"/>
                  </a:lnTo>
                  <a:lnTo>
                    <a:pt x="372" y="961"/>
                  </a:lnTo>
                  <a:lnTo>
                    <a:pt x="354" y="946"/>
                  </a:lnTo>
                  <a:lnTo>
                    <a:pt x="337" y="930"/>
                  </a:lnTo>
                  <a:lnTo>
                    <a:pt x="318" y="915"/>
                  </a:lnTo>
                  <a:lnTo>
                    <a:pt x="301" y="901"/>
                  </a:lnTo>
                  <a:lnTo>
                    <a:pt x="285" y="885"/>
                  </a:lnTo>
                  <a:lnTo>
                    <a:pt x="270" y="867"/>
                  </a:lnTo>
                  <a:lnTo>
                    <a:pt x="264" y="858"/>
                  </a:lnTo>
                  <a:lnTo>
                    <a:pt x="258" y="849"/>
                  </a:lnTo>
                  <a:lnTo>
                    <a:pt x="253" y="839"/>
                  </a:lnTo>
                  <a:lnTo>
                    <a:pt x="249" y="829"/>
                  </a:lnTo>
                  <a:lnTo>
                    <a:pt x="245" y="818"/>
                  </a:lnTo>
                  <a:lnTo>
                    <a:pt x="242" y="807"/>
                  </a:lnTo>
                  <a:lnTo>
                    <a:pt x="241" y="795"/>
                  </a:lnTo>
                  <a:lnTo>
                    <a:pt x="241" y="782"/>
                  </a:lnTo>
                  <a:lnTo>
                    <a:pt x="241" y="770"/>
                  </a:lnTo>
                  <a:lnTo>
                    <a:pt x="242" y="759"/>
                  </a:lnTo>
                  <a:lnTo>
                    <a:pt x="244" y="754"/>
                  </a:lnTo>
                  <a:lnTo>
                    <a:pt x="242" y="749"/>
                  </a:lnTo>
                  <a:lnTo>
                    <a:pt x="242" y="745"/>
                  </a:lnTo>
                  <a:lnTo>
                    <a:pt x="241" y="739"/>
                  </a:lnTo>
                  <a:lnTo>
                    <a:pt x="254" y="706"/>
                  </a:lnTo>
                  <a:lnTo>
                    <a:pt x="268" y="676"/>
                  </a:lnTo>
                  <a:lnTo>
                    <a:pt x="274" y="661"/>
                  </a:lnTo>
                  <a:lnTo>
                    <a:pt x="278" y="645"/>
                  </a:lnTo>
                  <a:lnTo>
                    <a:pt x="281" y="626"/>
                  </a:lnTo>
                  <a:lnTo>
                    <a:pt x="282" y="608"/>
                  </a:lnTo>
                  <a:lnTo>
                    <a:pt x="282" y="593"/>
                  </a:lnTo>
                  <a:lnTo>
                    <a:pt x="280" y="578"/>
                  </a:lnTo>
                  <a:lnTo>
                    <a:pt x="276" y="564"/>
                  </a:lnTo>
                  <a:lnTo>
                    <a:pt x="272" y="548"/>
                  </a:lnTo>
                  <a:lnTo>
                    <a:pt x="260" y="514"/>
                  </a:lnTo>
                  <a:lnTo>
                    <a:pt x="246" y="481"/>
                  </a:lnTo>
                  <a:lnTo>
                    <a:pt x="233" y="449"/>
                  </a:lnTo>
                  <a:lnTo>
                    <a:pt x="221" y="420"/>
                  </a:lnTo>
                  <a:lnTo>
                    <a:pt x="217" y="406"/>
                  </a:lnTo>
                  <a:lnTo>
                    <a:pt x="213" y="394"/>
                  </a:lnTo>
                  <a:lnTo>
                    <a:pt x="212" y="382"/>
                  </a:lnTo>
                  <a:lnTo>
                    <a:pt x="210" y="373"/>
                  </a:lnTo>
                  <a:lnTo>
                    <a:pt x="210" y="365"/>
                  </a:lnTo>
                  <a:lnTo>
                    <a:pt x="213" y="358"/>
                  </a:lnTo>
                  <a:lnTo>
                    <a:pt x="214" y="352"/>
                  </a:lnTo>
                  <a:lnTo>
                    <a:pt x="218" y="346"/>
                  </a:lnTo>
                  <a:lnTo>
                    <a:pt x="222" y="341"/>
                  </a:lnTo>
                  <a:lnTo>
                    <a:pt x="228" y="337"/>
                  </a:lnTo>
                  <a:lnTo>
                    <a:pt x="233" y="333"/>
                  </a:lnTo>
                  <a:lnTo>
                    <a:pt x="238" y="330"/>
                  </a:lnTo>
                  <a:lnTo>
                    <a:pt x="252" y="325"/>
                  </a:lnTo>
                  <a:lnTo>
                    <a:pt x="266" y="321"/>
                  </a:lnTo>
                  <a:lnTo>
                    <a:pt x="281" y="320"/>
                  </a:lnTo>
                  <a:lnTo>
                    <a:pt x="294" y="318"/>
                  </a:lnTo>
                  <a:lnTo>
                    <a:pt x="322" y="318"/>
                  </a:lnTo>
                  <a:lnTo>
                    <a:pt x="344" y="318"/>
                  </a:lnTo>
                  <a:lnTo>
                    <a:pt x="361" y="318"/>
                  </a:lnTo>
                  <a:lnTo>
                    <a:pt x="378" y="318"/>
                  </a:lnTo>
                  <a:lnTo>
                    <a:pt x="389" y="322"/>
                  </a:lnTo>
                  <a:lnTo>
                    <a:pt x="410" y="328"/>
                  </a:lnTo>
                  <a:lnTo>
                    <a:pt x="422" y="330"/>
                  </a:lnTo>
                  <a:lnTo>
                    <a:pt x="436" y="332"/>
                  </a:lnTo>
                  <a:lnTo>
                    <a:pt x="442" y="330"/>
                  </a:lnTo>
                  <a:lnTo>
                    <a:pt x="449" y="329"/>
                  </a:lnTo>
                  <a:lnTo>
                    <a:pt x="457" y="328"/>
                  </a:lnTo>
                  <a:lnTo>
                    <a:pt x="464" y="325"/>
                  </a:lnTo>
                  <a:lnTo>
                    <a:pt x="472" y="320"/>
                  </a:lnTo>
                  <a:lnTo>
                    <a:pt x="480" y="312"/>
                  </a:lnTo>
                  <a:lnTo>
                    <a:pt x="486" y="304"/>
                  </a:lnTo>
                  <a:lnTo>
                    <a:pt x="492" y="294"/>
                  </a:lnTo>
                  <a:lnTo>
                    <a:pt x="502" y="274"/>
                  </a:lnTo>
                  <a:lnTo>
                    <a:pt x="514" y="252"/>
                  </a:lnTo>
                  <a:lnTo>
                    <a:pt x="521" y="242"/>
                  </a:lnTo>
                  <a:lnTo>
                    <a:pt x="529" y="232"/>
                  </a:lnTo>
                  <a:lnTo>
                    <a:pt x="537" y="222"/>
                  </a:lnTo>
                  <a:lnTo>
                    <a:pt x="546" y="214"/>
                  </a:lnTo>
                  <a:lnTo>
                    <a:pt x="557" y="208"/>
                  </a:lnTo>
                  <a:lnTo>
                    <a:pt x="570" y="202"/>
                  </a:lnTo>
                  <a:lnTo>
                    <a:pt x="585" y="200"/>
                  </a:lnTo>
                  <a:lnTo>
                    <a:pt x="602" y="198"/>
                  </a:lnTo>
                  <a:lnTo>
                    <a:pt x="617" y="198"/>
                  </a:lnTo>
                  <a:lnTo>
                    <a:pt x="626" y="201"/>
                  </a:lnTo>
                  <a:lnTo>
                    <a:pt x="633" y="202"/>
                  </a:lnTo>
                  <a:lnTo>
                    <a:pt x="637" y="205"/>
                  </a:lnTo>
                  <a:lnTo>
                    <a:pt x="639" y="206"/>
                  </a:lnTo>
                  <a:lnTo>
                    <a:pt x="643" y="205"/>
                  </a:lnTo>
                  <a:lnTo>
                    <a:pt x="651" y="204"/>
                  </a:lnTo>
                  <a:lnTo>
                    <a:pt x="662" y="198"/>
                  </a:lnTo>
                  <a:lnTo>
                    <a:pt x="667" y="196"/>
                  </a:lnTo>
                  <a:lnTo>
                    <a:pt x="670" y="190"/>
                  </a:lnTo>
                  <a:lnTo>
                    <a:pt x="673" y="185"/>
                  </a:lnTo>
                  <a:lnTo>
                    <a:pt x="674" y="180"/>
                  </a:lnTo>
                  <a:lnTo>
                    <a:pt x="675" y="165"/>
                  </a:lnTo>
                  <a:lnTo>
                    <a:pt x="674" y="148"/>
                  </a:lnTo>
                  <a:lnTo>
                    <a:pt x="673" y="131"/>
                  </a:lnTo>
                  <a:lnTo>
                    <a:pt x="671" y="113"/>
                  </a:lnTo>
                  <a:lnTo>
                    <a:pt x="671" y="104"/>
                  </a:lnTo>
                  <a:lnTo>
                    <a:pt x="671" y="97"/>
                  </a:lnTo>
                  <a:lnTo>
                    <a:pt x="673" y="91"/>
                  </a:lnTo>
                  <a:lnTo>
                    <a:pt x="674" y="84"/>
                  </a:lnTo>
                  <a:lnTo>
                    <a:pt x="695" y="63"/>
                  </a:lnTo>
                  <a:lnTo>
                    <a:pt x="722" y="35"/>
                  </a:lnTo>
                  <a:lnTo>
                    <a:pt x="735" y="21"/>
                  </a:lnTo>
                  <a:lnTo>
                    <a:pt x="749" y="11"/>
                  </a:lnTo>
                  <a:lnTo>
                    <a:pt x="754" y="5"/>
                  </a:lnTo>
                  <a:lnTo>
                    <a:pt x="761" y="3"/>
                  </a:lnTo>
                  <a:lnTo>
                    <a:pt x="766" y="0"/>
                  </a:lnTo>
                  <a:lnTo>
                    <a:pt x="770" y="0"/>
                  </a:lnTo>
                  <a:lnTo>
                    <a:pt x="786" y="0"/>
                  </a:lnTo>
                  <a:lnTo>
                    <a:pt x="803" y="4"/>
                  </a:lnTo>
                  <a:lnTo>
                    <a:pt x="822" y="8"/>
                  </a:lnTo>
                  <a:lnTo>
                    <a:pt x="841" y="15"/>
                  </a:lnTo>
                  <a:lnTo>
                    <a:pt x="859" y="24"/>
                  </a:lnTo>
                  <a:lnTo>
                    <a:pt x="878" y="33"/>
                  </a:lnTo>
                  <a:lnTo>
                    <a:pt x="895" y="44"/>
                  </a:lnTo>
                  <a:lnTo>
                    <a:pt x="913" y="57"/>
                  </a:lnTo>
                  <a:lnTo>
                    <a:pt x="930" y="71"/>
                  </a:lnTo>
                  <a:lnTo>
                    <a:pt x="945" y="85"/>
                  </a:lnTo>
                  <a:lnTo>
                    <a:pt x="958" y="100"/>
                  </a:lnTo>
                  <a:lnTo>
                    <a:pt x="970" y="116"/>
                  </a:lnTo>
                  <a:lnTo>
                    <a:pt x="979" y="133"/>
                  </a:lnTo>
                  <a:lnTo>
                    <a:pt x="987" y="151"/>
                  </a:lnTo>
                  <a:lnTo>
                    <a:pt x="990" y="160"/>
                  </a:lnTo>
                  <a:lnTo>
                    <a:pt x="991" y="168"/>
                  </a:lnTo>
                  <a:lnTo>
                    <a:pt x="993" y="177"/>
                  </a:lnTo>
                  <a:lnTo>
                    <a:pt x="993" y="186"/>
                  </a:lnTo>
                  <a:lnTo>
                    <a:pt x="993" y="194"/>
                  </a:lnTo>
                  <a:lnTo>
                    <a:pt x="989" y="202"/>
                  </a:lnTo>
                  <a:lnTo>
                    <a:pt x="986" y="209"/>
                  </a:lnTo>
                  <a:lnTo>
                    <a:pt x="981" y="217"/>
                  </a:lnTo>
                  <a:lnTo>
                    <a:pt x="977" y="225"/>
                  </a:lnTo>
                  <a:lnTo>
                    <a:pt x="973" y="233"/>
                  </a:lnTo>
                  <a:lnTo>
                    <a:pt x="970" y="242"/>
                  </a:lnTo>
                  <a:lnTo>
                    <a:pt x="969" y="252"/>
                  </a:lnTo>
                  <a:lnTo>
                    <a:pt x="970" y="269"/>
                  </a:lnTo>
                  <a:lnTo>
                    <a:pt x="973" y="284"/>
                  </a:lnTo>
                  <a:lnTo>
                    <a:pt x="974" y="290"/>
                  </a:lnTo>
                  <a:lnTo>
                    <a:pt x="977" y="296"/>
                  </a:lnTo>
                  <a:lnTo>
                    <a:pt x="979" y="302"/>
                  </a:lnTo>
                  <a:lnTo>
                    <a:pt x="983" y="306"/>
                  </a:lnTo>
                  <a:lnTo>
                    <a:pt x="987" y="310"/>
                  </a:lnTo>
                  <a:lnTo>
                    <a:pt x="991" y="314"/>
                  </a:lnTo>
                  <a:lnTo>
                    <a:pt x="997" y="317"/>
                  </a:lnTo>
                  <a:lnTo>
                    <a:pt x="1002" y="320"/>
                  </a:lnTo>
                  <a:lnTo>
                    <a:pt x="1014" y="324"/>
                  </a:lnTo>
                  <a:lnTo>
                    <a:pt x="1029" y="325"/>
                  </a:lnTo>
                  <a:lnTo>
                    <a:pt x="1038" y="324"/>
                  </a:lnTo>
                  <a:lnTo>
                    <a:pt x="1045" y="322"/>
                  </a:lnTo>
                  <a:lnTo>
                    <a:pt x="1051" y="321"/>
                  </a:lnTo>
                  <a:lnTo>
                    <a:pt x="1055" y="318"/>
                  </a:lnTo>
                  <a:lnTo>
                    <a:pt x="1063" y="312"/>
                  </a:lnTo>
                  <a:lnTo>
                    <a:pt x="1070" y="304"/>
                  </a:lnTo>
                  <a:lnTo>
                    <a:pt x="1075" y="296"/>
                  </a:lnTo>
                  <a:lnTo>
                    <a:pt x="1082" y="289"/>
                  </a:lnTo>
                  <a:lnTo>
                    <a:pt x="1086" y="286"/>
                  </a:lnTo>
                  <a:lnTo>
                    <a:pt x="1090" y="284"/>
                  </a:lnTo>
                  <a:lnTo>
                    <a:pt x="1095" y="282"/>
                  </a:lnTo>
                  <a:lnTo>
                    <a:pt x="1102" y="282"/>
                  </a:lnTo>
                  <a:lnTo>
                    <a:pt x="1111" y="282"/>
                  </a:lnTo>
                  <a:lnTo>
                    <a:pt x="1121" y="284"/>
                  </a:lnTo>
                  <a:lnTo>
                    <a:pt x="1127" y="286"/>
                  </a:lnTo>
                  <a:lnTo>
                    <a:pt x="1134" y="289"/>
                  </a:lnTo>
                  <a:lnTo>
                    <a:pt x="1141" y="290"/>
                  </a:lnTo>
                  <a:lnTo>
                    <a:pt x="1146" y="293"/>
                  </a:lnTo>
                  <a:lnTo>
                    <a:pt x="1154" y="294"/>
                  </a:lnTo>
                  <a:lnTo>
                    <a:pt x="1162" y="294"/>
                  </a:lnTo>
                  <a:lnTo>
                    <a:pt x="1181" y="294"/>
                  </a:lnTo>
                  <a:lnTo>
                    <a:pt x="1194" y="294"/>
                  </a:lnTo>
                  <a:lnTo>
                    <a:pt x="1205" y="294"/>
                  </a:lnTo>
                  <a:lnTo>
                    <a:pt x="1215" y="294"/>
                  </a:lnTo>
                  <a:lnTo>
                    <a:pt x="1222" y="296"/>
                  </a:lnTo>
                  <a:lnTo>
                    <a:pt x="1227" y="297"/>
                  </a:lnTo>
                  <a:lnTo>
                    <a:pt x="1233" y="301"/>
                  </a:lnTo>
                  <a:lnTo>
                    <a:pt x="1237" y="305"/>
                  </a:lnTo>
                  <a:lnTo>
                    <a:pt x="1243" y="316"/>
                  </a:lnTo>
                  <a:lnTo>
                    <a:pt x="1250" y="329"/>
                  </a:lnTo>
                  <a:lnTo>
                    <a:pt x="1257" y="342"/>
                  </a:lnTo>
                  <a:lnTo>
                    <a:pt x="1265" y="356"/>
                  </a:lnTo>
                  <a:lnTo>
                    <a:pt x="1269" y="361"/>
                  </a:lnTo>
                  <a:lnTo>
                    <a:pt x="1274" y="366"/>
                  </a:lnTo>
                  <a:lnTo>
                    <a:pt x="1281" y="370"/>
                  </a:lnTo>
                  <a:lnTo>
                    <a:pt x="1289" y="373"/>
                  </a:lnTo>
                  <a:lnTo>
                    <a:pt x="1274" y="386"/>
                  </a:lnTo>
                  <a:lnTo>
                    <a:pt x="1262" y="400"/>
                  </a:lnTo>
                  <a:lnTo>
                    <a:pt x="1257" y="406"/>
                  </a:lnTo>
                  <a:lnTo>
                    <a:pt x="1253" y="413"/>
                  </a:lnTo>
                  <a:lnTo>
                    <a:pt x="1249" y="420"/>
                  </a:lnTo>
                  <a:lnTo>
                    <a:pt x="1247" y="426"/>
                  </a:lnTo>
                  <a:lnTo>
                    <a:pt x="1245" y="433"/>
                  </a:lnTo>
                  <a:lnTo>
                    <a:pt x="1245" y="441"/>
                  </a:lnTo>
                  <a:lnTo>
                    <a:pt x="1245" y="449"/>
                  </a:lnTo>
                  <a:lnTo>
                    <a:pt x="1247" y="457"/>
                  </a:lnTo>
                  <a:lnTo>
                    <a:pt x="1250" y="465"/>
                  </a:lnTo>
                  <a:lnTo>
                    <a:pt x="1253" y="474"/>
                  </a:lnTo>
                  <a:lnTo>
                    <a:pt x="1258" y="484"/>
                  </a:lnTo>
                  <a:lnTo>
                    <a:pt x="1265" y="493"/>
                  </a:lnTo>
                  <a:lnTo>
                    <a:pt x="1254" y="493"/>
                  </a:lnTo>
                  <a:lnTo>
                    <a:pt x="1245" y="493"/>
                  </a:lnTo>
                  <a:lnTo>
                    <a:pt x="1234" y="493"/>
                  </a:lnTo>
                  <a:lnTo>
                    <a:pt x="1225" y="494"/>
                  </a:lnTo>
                  <a:lnTo>
                    <a:pt x="1206" y="498"/>
                  </a:lnTo>
                  <a:lnTo>
                    <a:pt x="1189" y="505"/>
                  </a:lnTo>
                  <a:lnTo>
                    <a:pt x="1171" y="513"/>
                  </a:lnTo>
                  <a:lnTo>
                    <a:pt x="1155" y="522"/>
                  </a:lnTo>
                  <a:lnTo>
                    <a:pt x="1141" y="533"/>
                  </a:lnTo>
                  <a:lnTo>
                    <a:pt x="1127" y="542"/>
                  </a:lnTo>
                  <a:lnTo>
                    <a:pt x="1103" y="564"/>
                  </a:lnTo>
                  <a:lnTo>
                    <a:pt x="1086" y="584"/>
                  </a:lnTo>
                  <a:lnTo>
                    <a:pt x="1075" y="597"/>
                  </a:lnTo>
                  <a:lnTo>
                    <a:pt x="1071" y="601"/>
                  </a:lnTo>
                  <a:lnTo>
                    <a:pt x="1067" y="613"/>
                  </a:lnTo>
                  <a:lnTo>
                    <a:pt x="1062" y="625"/>
                  </a:lnTo>
                  <a:lnTo>
                    <a:pt x="1057" y="634"/>
                  </a:lnTo>
                  <a:lnTo>
                    <a:pt x="1051" y="644"/>
                  </a:lnTo>
                  <a:lnTo>
                    <a:pt x="1039" y="658"/>
                  </a:lnTo>
                  <a:lnTo>
                    <a:pt x="1026" y="672"/>
                  </a:lnTo>
                  <a:lnTo>
                    <a:pt x="1014" y="682"/>
                  </a:lnTo>
                  <a:lnTo>
                    <a:pt x="1001" y="692"/>
                  </a:lnTo>
                  <a:lnTo>
                    <a:pt x="987" y="700"/>
                  </a:lnTo>
                  <a:lnTo>
                    <a:pt x="975" y="708"/>
                  </a:lnTo>
                  <a:lnTo>
                    <a:pt x="963" y="716"/>
                  </a:lnTo>
                  <a:lnTo>
                    <a:pt x="951" y="726"/>
                  </a:lnTo>
                  <a:lnTo>
                    <a:pt x="942" y="737"/>
                  </a:lnTo>
                  <a:lnTo>
                    <a:pt x="933" y="750"/>
                  </a:lnTo>
                  <a:lnTo>
                    <a:pt x="929" y="757"/>
                  </a:lnTo>
                  <a:lnTo>
                    <a:pt x="925" y="766"/>
                  </a:lnTo>
                  <a:lnTo>
                    <a:pt x="922" y="775"/>
                  </a:lnTo>
                  <a:lnTo>
                    <a:pt x="919" y="785"/>
                  </a:lnTo>
                  <a:lnTo>
                    <a:pt x="918" y="797"/>
                  </a:lnTo>
                  <a:lnTo>
                    <a:pt x="915" y="809"/>
                  </a:lnTo>
                  <a:lnTo>
                    <a:pt x="915" y="822"/>
                  </a:lnTo>
                  <a:lnTo>
                    <a:pt x="915" y="837"/>
                  </a:lnTo>
                  <a:lnTo>
                    <a:pt x="915" y="879"/>
                  </a:lnTo>
                  <a:lnTo>
                    <a:pt x="918" y="921"/>
                  </a:lnTo>
                  <a:lnTo>
                    <a:pt x="921" y="961"/>
                  </a:lnTo>
                  <a:lnTo>
                    <a:pt x="925" y="1001"/>
                  </a:lnTo>
                  <a:lnTo>
                    <a:pt x="933" y="1078"/>
                  </a:lnTo>
                  <a:lnTo>
                    <a:pt x="939" y="1151"/>
                  </a:lnTo>
                  <a:lnTo>
                    <a:pt x="942" y="1187"/>
                  </a:lnTo>
                  <a:lnTo>
                    <a:pt x="943" y="1222"/>
                  </a:lnTo>
                  <a:lnTo>
                    <a:pt x="945" y="1255"/>
                  </a:lnTo>
                  <a:lnTo>
                    <a:pt x="943" y="1287"/>
                  </a:lnTo>
                  <a:lnTo>
                    <a:pt x="939" y="1319"/>
                  </a:lnTo>
                  <a:lnTo>
                    <a:pt x="934" y="1350"/>
                  </a:lnTo>
                  <a:lnTo>
                    <a:pt x="930" y="1364"/>
                  </a:lnTo>
                  <a:lnTo>
                    <a:pt x="926" y="1379"/>
                  </a:lnTo>
                  <a:lnTo>
                    <a:pt x="921" y="1394"/>
                  </a:lnTo>
                  <a:lnTo>
                    <a:pt x="915" y="1408"/>
                  </a:lnTo>
                  <a:lnTo>
                    <a:pt x="913" y="1414"/>
                  </a:lnTo>
                  <a:lnTo>
                    <a:pt x="913" y="1422"/>
                  </a:lnTo>
                  <a:lnTo>
                    <a:pt x="914" y="1432"/>
                  </a:lnTo>
                  <a:lnTo>
                    <a:pt x="915" y="1447"/>
                  </a:lnTo>
                  <a:lnTo>
                    <a:pt x="919" y="1484"/>
                  </a:lnTo>
                  <a:lnTo>
                    <a:pt x="926" y="1532"/>
                  </a:lnTo>
                  <a:lnTo>
                    <a:pt x="931" y="1590"/>
                  </a:lnTo>
                  <a:lnTo>
                    <a:pt x="935" y="1658"/>
                  </a:lnTo>
                  <a:lnTo>
                    <a:pt x="937" y="1695"/>
                  </a:lnTo>
                  <a:lnTo>
                    <a:pt x="937" y="1734"/>
                  </a:lnTo>
                  <a:lnTo>
                    <a:pt x="935" y="1775"/>
                  </a:lnTo>
                  <a:lnTo>
                    <a:pt x="933" y="1818"/>
                  </a:lnTo>
                  <a:lnTo>
                    <a:pt x="929" y="1856"/>
                  </a:lnTo>
                  <a:lnTo>
                    <a:pt x="923" y="1895"/>
                  </a:lnTo>
                  <a:lnTo>
                    <a:pt x="914" y="1936"/>
                  </a:lnTo>
                  <a:lnTo>
                    <a:pt x="905" y="1976"/>
                  </a:lnTo>
                  <a:lnTo>
                    <a:pt x="883" y="2056"/>
                  </a:lnTo>
                  <a:lnTo>
                    <a:pt x="865" y="2131"/>
                  </a:lnTo>
                  <a:lnTo>
                    <a:pt x="858" y="2164"/>
                  </a:lnTo>
                  <a:lnTo>
                    <a:pt x="854" y="2195"/>
                  </a:lnTo>
                  <a:lnTo>
                    <a:pt x="853" y="2209"/>
                  </a:lnTo>
                  <a:lnTo>
                    <a:pt x="853" y="2221"/>
                  </a:lnTo>
                  <a:lnTo>
                    <a:pt x="853" y="2233"/>
                  </a:lnTo>
                  <a:lnTo>
                    <a:pt x="855" y="2244"/>
                  </a:lnTo>
                  <a:lnTo>
                    <a:pt x="858" y="2255"/>
                  </a:lnTo>
                  <a:lnTo>
                    <a:pt x="862" y="2263"/>
                  </a:lnTo>
                  <a:lnTo>
                    <a:pt x="867" y="2269"/>
                  </a:lnTo>
                  <a:lnTo>
                    <a:pt x="874" y="2275"/>
                  </a:lnTo>
                  <a:lnTo>
                    <a:pt x="882" y="2279"/>
                  </a:lnTo>
                  <a:lnTo>
                    <a:pt x="891" y="2281"/>
                  </a:lnTo>
                  <a:lnTo>
                    <a:pt x="902" y="2283"/>
                  </a:lnTo>
                  <a:lnTo>
                    <a:pt x="915" y="2281"/>
                  </a:lnTo>
                  <a:lnTo>
                    <a:pt x="938" y="2260"/>
                  </a:lnTo>
                  <a:lnTo>
                    <a:pt x="961" y="2241"/>
                  </a:lnTo>
                  <a:lnTo>
                    <a:pt x="981" y="2224"/>
                  </a:lnTo>
                  <a:lnTo>
                    <a:pt x="999" y="2211"/>
                  </a:lnTo>
                  <a:lnTo>
                    <a:pt x="1017" y="2200"/>
                  </a:lnTo>
                  <a:lnTo>
                    <a:pt x="1033" y="2191"/>
                  </a:lnTo>
                  <a:lnTo>
                    <a:pt x="1046" y="2184"/>
                  </a:lnTo>
                  <a:lnTo>
                    <a:pt x="1059" y="2179"/>
                  </a:lnTo>
                  <a:lnTo>
                    <a:pt x="1070" y="2176"/>
                  </a:lnTo>
                  <a:lnTo>
                    <a:pt x="1081" y="2176"/>
                  </a:lnTo>
                  <a:lnTo>
                    <a:pt x="1090" y="2176"/>
                  </a:lnTo>
                  <a:lnTo>
                    <a:pt x="1098" y="2179"/>
                  </a:lnTo>
                  <a:lnTo>
                    <a:pt x="1105" y="2181"/>
                  </a:lnTo>
                  <a:lnTo>
                    <a:pt x="1111" y="2187"/>
                  </a:lnTo>
                  <a:lnTo>
                    <a:pt x="1118" y="2193"/>
                  </a:lnTo>
                  <a:lnTo>
                    <a:pt x="1122" y="2200"/>
                  </a:lnTo>
                  <a:lnTo>
                    <a:pt x="1131" y="2217"/>
                  </a:lnTo>
                  <a:lnTo>
                    <a:pt x="1138" y="2236"/>
                  </a:lnTo>
                  <a:lnTo>
                    <a:pt x="1145" y="2257"/>
                  </a:lnTo>
                  <a:lnTo>
                    <a:pt x="1150" y="2280"/>
                  </a:lnTo>
                  <a:lnTo>
                    <a:pt x="1157" y="2301"/>
                  </a:lnTo>
                  <a:lnTo>
                    <a:pt x="1165" y="2321"/>
                  </a:lnTo>
                  <a:lnTo>
                    <a:pt x="1169" y="2331"/>
                  </a:lnTo>
                  <a:lnTo>
                    <a:pt x="1174" y="2339"/>
                  </a:lnTo>
                  <a:lnTo>
                    <a:pt x="1179" y="2347"/>
                  </a:lnTo>
                  <a:lnTo>
                    <a:pt x="1186" y="2353"/>
                  </a:lnTo>
                  <a:lnTo>
                    <a:pt x="1191" y="2348"/>
                  </a:lnTo>
                  <a:lnTo>
                    <a:pt x="1195" y="2340"/>
                  </a:lnTo>
                  <a:lnTo>
                    <a:pt x="1198" y="2332"/>
                  </a:lnTo>
                  <a:lnTo>
                    <a:pt x="1199" y="2324"/>
                  </a:lnTo>
                  <a:lnTo>
                    <a:pt x="1199" y="2304"/>
                  </a:lnTo>
                  <a:lnTo>
                    <a:pt x="1197" y="2284"/>
                  </a:lnTo>
                  <a:lnTo>
                    <a:pt x="1193" y="2263"/>
                  </a:lnTo>
                  <a:lnTo>
                    <a:pt x="1191" y="2243"/>
                  </a:lnTo>
                  <a:lnTo>
                    <a:pt x="1191" y="2233"/>
                  </a:lnTo>
                  <a:lnTo>
                    <a:pt x="1191" y="2224"/>
                  </a:lnTo>
                  <a:lnTo>
                    <a:pt x="1194" y="2216"/>
                  </a:lnTo>
                  <a:lnTo>
                    <a:pt x="1198" y="2209"/>
                  </a:lnTo>
                  <a:lnTo>
                    <a:pt x="1198" y="2201"/>
                  </a:lnTo>
                  <a:lnTo>
                    <a:pt x="1199" y="2196"/>
                  </a:lnTo>
                  <a:lnTo>
                    <a:pt x="1201" y="2192"/>
                  </a:lnTo>
                  <a:lnTo>
                    <a:pt x="1202" y="2191"/>
                  </a:lnTo>
                  <a:lnTo>
                    <a:pt x="1203" y="2192"/>
                  </a:lnTo>
                  <a:lnTo>
                    <a:pt x="1206" y="2193"/>
                  </a:lnTo>
                  <a:lnTo>
                    <a:pt x="1209" y="2197"/>
                  </a:lnTo>
                  <a:lnTo>
                    <a:pt x="1210" y="2201"/>
                  </a:lnTo>
                  <a:lnTo>
                    <a:pt x="1223" y="2231"/>
                  </a:lnTo>
                  <a:lnTo>
                    <a:pt x="1241" y="2267"/>
                  </a:lnTo>
                  <a:lnTo>
                    <a:pt x="1251" y="2284"/>
                  </a:lnTo>
                  <a:lnTo>
                    <a:pt x="1263" y="2299"/>
                  </a:lnTo>
                  <a:lnTo>
                    <a:pt x="1269" y="2305"/>
                  </a:lnTo>
                  <a:lnTo>
                    <a:pt x="1275" y="2311"/>
                  </a:lnTo>
                  <a:lnTo>
                    <a:pt x="1283" y="2315"/>
                  </a:lnTo>
                  <a:lnTo>
                    <a:pt x="1290" y="2317"/>
                  </a:lnTo>
                  <a:lnTo>
                    <a:pt x="1298" y="2319"/>
                  </a:lnTo>
                  <a:lnTo>
                    <a:pt x="1306" y="2319"/>
                  </a:lnTo>
                  <a:lnTo>
                    <a:pt x="1314" y="2316"/>
                  </a:lnTo>
                  <a:lnTo>
                    <a:pt x="1323" y="2311"/>
                  </a:lnTo>
                  <a:lnTo>
                    <a:pt x="1331" y="2304"/>
                  </a:lnTo>
                  <a:lnTo>
                    <a:pt x="1341" y="2296"/>
                  </a:lnTo>
                  <a:lnTo>
                    <a:pt x="1350" y="2284"/>
                  </a:lnTo>
                  <a:lnTo>
                    <a:pt x="1361" y="2269"/>
                  </a:lnTo>
                  <a:lnTo>
                    <a:pt x="1371" y="2263"/>
                  </a:lnTo>
                  <a:lnTo>
                    <a:pt x="1379" y="2255"/>
                  </a:lnTo>
                  <a:lnTo>
                    <a:pt x="1383" y="2247"/>
                  </a:lnTo>
                  <a:lnTo>
                    <a:pt x="1386" y="2237"/>
                  </a:lnTo>
                  <a:lnTo>
                    <a:pt x="1386" y="2228"/>
                  </a:lnTo>
                  <a:lnTo>
                    <a:pt x="1383" y="2217"/>
                  </a:lnTo>
                  <a:lnTo>
                    <a:pt x="1381" y="2207"/>
                  </a:lnTo>
                  <a:lnTo>
                    <a:pt x="1377" y="2195"/>
                  </a:lnTo>
                  <a:lnTo>
                    <a:pt x="1366" y="2165"/>
                  </a:lnTo>
                  <a:lnTo>
                    <a:pt x="1354" y="2132"/>
                  </a:lnTo>
                  <a:lnTo>
                    <a:pt x="1350" y="2113"/>
                  </a:lnTo>
                  <a:lnTo>
                    <a:pt x="1346" y="2092"/>
                  </a:lnTo>
                  <a:lnTo>
                    <a:pt x="1343" y="2071"/>
                  </a:lnTo>
                  <a:lnTo>
                    <a:pt x="1342" y="2047"/>
                  </a:lnTo>
                  <a:lnTo>
                    <a:pt x="1358" y="2031"/>
                  </a:lnTo>
                  <a:lnTo>
                    <a:pt x="1373" y="2016"/>
                  </a:lnTo>
                  <a:lnTo>
                    <a:pt x="1386" y="2004"/>
                  </a:lnTo>
                  <a:lnTo>
                    <a:pt x="1400" y="1993"/>
                  </a:lnTo>
                  <a:lnTo>
                    <a:pt x="1414" y="1984"/>
                  </a:lnTo>
                  <a:lnTo>
                    <a:pt x="1426" y="1976"/>
                  </a:lnTo>
                  <a:lnTo>
                    <a:pt x="1439" y="1969"/>
                  </a:lnTo>
                  <a:lnTo>
                    <a:pt x="1451" y="1964"/>
                  </a:lnTo>
                  <a:lnTo>
                    <a:pt x="1463" y="1960"/>
                  </a:lnTo>
                  <a:lnTo>
                    <a:pt x="1475" y="1956"/>
                  </a:lnTo>
                  <a:lnTo>
                    <a:pt x="1486" y="1955"/>
                  </a:lnTo>
                  <a:lnTo>
                    <a:pt x="1496" y="1953"/>
                  </a:lnTo>
                  <a:lnTo>
                    <a:pt x="1507" y="1953"/>
                  </a:lnTo>
                  <a:lnTo>
                    <a:pt x="1518" y="1955"/>
                  </a:lnTo>
                  <a:lnTo>
                    <a:pt x="1527" y="1956"/>
                  </a:lnTo>
                  <a:lnTo>
                    <a:pt x="1538" y="1957"/>
                  </a:lnTo>
                  <a:lnTo>
                    <a:pt x="1555" y="1963"/>
                  </a:lnTo>
                  <a:lnTo>
                    <a:pt x="1572" y="1969"/>
                  </a:lnTo>
                  <a:lnTo>
                    <a:pt x="1588" y="1977"/>
                  </a:lnTo>
                  <a:lnTo>
                    <a:pt x="1604" y="1985"/>
                  </a:lnTo>
                  <a:lnTo>
                    <a:pt x="1618" y="1993"/>
                  </a:lnTo>
                  <a:lnTo>
                    <a:pt x="1631" y="1999"/>
                  </a:lnTo>
                  <a:lnTo>
                    <a:pt x="1644" y="2003"/>
                  </a:lnTo>
                  <a:lnTo>
                    <a:pt x="1655" y="2004"/>
                  </a:lnTo>
                  <a:lnTo>
                    <a:pt x="1683" y="2001"/>
                  </a:lnTo>
                  <a:lnTo>
                    <a:pt x="1708" y="1999"/>
                  </a:lnTo>
                  <a:lnTo>
                    <a:pt x="1730" y="1997"/>
                  </a:lnTo>
                  <a:lnTo>
                    <a:pt x="1748" y="1996"/>
                  </a:lnTo>
                  <a:lnTo>
                    <a:pt x="1763" y="1997"/>
                  </a:lnTo>
                  <a:lnTo>
                    <a:pt x="1776" y="1999"/>
                  </a:lnTo>
                  <a:lnTo>
                    <a:pt x="1787" y="2000"/>
                  </a:lnTo>
                  <a:lnTo>
                    <a:pt x="1795" y="2003"/>
                  </a:lnTo>
                  <a:lnTo>
                    <a:pt x="1800" y="2005"/>
                  </a:lnTo>
                  <a:lnTo>
                    <a:pt x="1804" y="2009"/>
                  </a:lnTo>
                  <a:lnTo>
                    <a:pt x="1807" y="2013"/>
                  </a:lnTo>
                  <a:lnTo>
                    <a:pt x="1807" y="2019"/>
                  </a:lnTo>
                  <a:lnTo>
                    <a:pt x="1807" y="2024"/>
                  </a:lnTo>
                  <a:lnTo>
                    <a:pt x="1804" y="2029"/>
                  </a:lnTo>
                  <a:lnTo>
                    <a:pt x="1802" y="2035"/>
                  </a:lnTo>
                  <a:lnTo>
                    <a:pt x="1799" y="2040"/>
                  </a:lnTo>
                  <a:lnTo>
                    <a:pt x="1780" y="2064"/>
                  </a:lnTo>
                  <a:lnTo>
                    <a:pt x="1764" y="2087"/>
                  </a:lnTo>
                  <a:lnTo>
                    <a:pt x="1762" y="2092"/>
                  </a:lnTo>
                  <a:lnTo>
                    <a:pt x="1760" y="2097"/>
                  </a:lnTo>
                  <a:lnTo>
                    <a:pt x="1760" y="2101"/>
                  </a:lnTo>
                  <a:lnTo>
                    <a:pt x="1763" y="2104"/>
                  </a:lnTo>
                  <a:lnTo>
                    <a:pt x="1766" y="2108"/>
                  </a:lnTo>
                  <a:lnTo>
                    <a:pt x="1771" y="2111"/>
                  </a:lnTo>
                  <a:lnTo>
                    <a:pt x="1779" y="2112"/>
                  </a:lnTo>
                  <a:lnTo>
                    <a:pt x="1788" y="2113"/>
                  </a:lnTo>
                  <a:lnTo>
                    <a:pt x="1804" y="2116"/>
                  </a:lnTo>
                  <a:lnTo>
                    <a:pt x="1820" y="2120"/>
                  </a:lnTo>
                  <a:lnTo>
                    <a:pt x="1835" y="2125"/>
                  </a:lnTo>
                  <a:lnTo>
                    <a:pt x="1848" y="2132"/>
                  </a:lnTo>
                  <a:lnTo>
                    <a:pt x="1862" y="2139"/>
                  </a:lnTo>
                  <a:lnTo>
                    <a:pt x="1875" y="2147"/>
                  </a:lnTo>
                  <a:lnTo>
                    <a:pt x="1887" y="2156"/>
                  </a:lnTo>
                  <a:lnTo>
                    <a:pt x="1898" y="2165"/>
                  </a:lnTo>
                  <a:lnTo>
                    <a:pt x="1908" y="2176"/>
                  </a:lnTo>
                  <a:lnTo>
                    <a:pt x="1919" y="2187"/>
                  </a:lnTo>
                  <a:lnTo>
                    <a:pt x="1928" y="2197"/>
                  </a:lnTo>
                  <a:lnTo>
                    <a:pt x="1938" y="2209"/>
                  </a:lnTo>
                  <a:lnTo>
                    <a:pt x="1954" y="2236"/>
                  </a:lnTo>
                  <a:lnTo>
                    <a:pt x="1970" y="2263"/>
                  </a:lnTo>
                  <a:lnTo>
                    <a:pt x="1983" y="2291"/>
                  </a:lnTo>
                  <a:lnTo>
                    <a:pt x="1996" y="2321"/>
                  </a:lnTo>
                  <a:lnTo>
                    <a:pt x="2008" y="2351"/>
                  </a:lnTo>
                  <a:lnTo>
                    <a:pt x="2019" y="2381"/>
                  </a:lnTo>
                  <a:lnTo>
                    <a:pt x="2042" y="2441"/>
                  </a:lnTo>
                  <a:lnTo>
                    <a:pt x="2066" y="2498"/>
                  </a:lnTo>
                  <a:lnTo>
                    <a:pt x="2083" y="2532"/>
                  </a:lnTo>
                  <a:lnTo>
                    <a:pt x="2102" y="2565"/>
                  </a:lnTo>
                  <a:lnTo>
                    <a:pt x="2123" y="2597"/>
                  </a:lnTo>
                  <a:lnTo>
                    <a:pt x="2144" y="2626"/>
                  </a:lnTo>
                  <a:lnTo>
                    <a:pt x="2191" y="2686"/>
                  </a:lnTo>
                  <a:lnTo>
                    <a:pt x="2239" y="2744"/>
                  </a:lnTo>
                  <a:lnTo>
                    <a:pt x="2263" y="2773"/>
                  </a:lnTo>
                  <a:lnTo>
                    <a:pt x="2287" y="2801"/>
                  </a:lnTo>
                  <a:lnTo>
                    <a:pt x="2309" y="2832"/>
                  </a:lnTo>
                  <a:lnTo>
                    <a:pt x="2332" y="2862"/>
                  </a:lnTo>
                  <a:lnTo>
                    <a:pt x="2353" y="2894"/>
                  </a:lnTo>
                  <a:lnTo>
                    <a:pt x="2373" y="2928"/>
                  </a:lnTo>
                  <a:lnTo>
                    <a:pt x="2391" y="2961"/>
                  </a:lnTo>
                  <a:lnTo>
                    <a:pt x="2408" y="2998"/>
                  </a:lnTo>
                  <a:lnTo>
                    <a:pt x="2417" y="3020"/>
                  </a:lnTo>
                  <a:lnTo>
                    <a:pt x="2423" y="3041"/>
                  </a:lnTo>
                  <a:lnTo>
                    <a:pt x="2427" y="3061"/>
                  </a:lnTo>
                  <a:lnTo>
                    <a:pt x="2429" y="3079"/>
                  </a:lnTo>
                  <a:lnTo>
                    <a:pt x="2429" y="3099"/>
                  </a:lnTo>
                  <a:lnTo>
                    <a:pt x="2428" y="3118"/>
                  </a:lnTo>
                  <a:lnTo>
                    <a:pt x="2427" y="3138"/>
                  </a:lnTo>
                  <a:lnTo>
                    <a:pt x="2424" y="3158"/>
                  </a:lnTo>
                  <a:lnTo>
                    <a:pt x="2419" y="3202"/>
                  </a:lnTo>
                  <a:lnTo>
                    <a:pt x="2416" y="3251"/>
                  </a:lnTo>
                  <a:lnTo>
                    <a:pt x="2416" y="3278"/>
                  </a:lnTo>
                  <a:lnTo>
                    <a:pt x="2417" y="3309"/>
                  </a:lnTo>
                  <a:lnTo>
                    <a:pt x="2420" y="3342"/>
                  </a:lnTo>
                  <a:lnTo>
                    <a:pt x="2427" y="3377"/>
                  </a:lnTo>
                  <a:lnTo>
                    <a:pt x="2411" y="3382"/>
                  </a:lnTo>
                  <a:lnTo>
                    <a:pt x="2397" y="3389"/>
                  </a:lnTo>
                  <a:lnTo>
                    <a:pt x="2391" y="3391"/>
                  </a:lnTo>
                  <a:lnTo>
                    <a:pt x="2384" y="3393"/>
                  </a:lnTo>
                  <a:lnTo>
                    <a:pt x="2379" y="3395"/>
                  </a:lnTo>
                  <a:lnTo>
                    <a:pt x="2372" y="3395"/>
                  </a:lnTo>
                  <a:lnTo>
                    <a:pt x="2367" y="3394"/>
                  </a:lnTo>
                  <a:lnTo>
                    <a:pt x="2363" y="3393"/>
                  </a:lnTo>
                  <a:lnTo>
                    <a:pt x="2360" y="3389"/>
                  </a:lnTo>
                  <a:lnTo>
                    <a:pt x="2357" y="3385"/>
                  </a:lnTo>
                  <a:lnTo>
                    <a:pt x="2355" y="3373"/>
                  </a:lnTo>
                  <a:lnTo>
                    <a:pt x="2353" y="3359"/>
                  </a:lnTo>
                  <a:lnTo>
                    <a:pt x="2353" y="3346"/>
                  </a:lnTo>
                  <a:lnTo>
                    <a:pt x="2352" y="3331"/>
                  </a:lnTo>
                  <a:lnTo>
                    <a:pt x="2351" y="3319"/>
                  </a:lnTo>
                  <a:lnTo>
                    <a:pt x="2348" y="3311"/>
                  </a:lnTo>
                  <a:lnTo>
                    <a:pt x="2347" y="3309"/>
                  </a:lnTo>
                  <a:lnTo>
                    <a:pt x="2343" y="3305"/>
                  </a:lnTo>
                  <a:lnTo>
                    <a:pt x="2337" y="3301"/>
                  </a:lnTo>
                  <a:lnTo>
                    <a:pt x="2329" y="3295"/>
                  </a:lnTo>
                  <a:lnTo>
                    <a:pt x="2311" y="3285"/>
                  </a:lnTo>
                  <a:lnTo>
                    <a:pt x="2289" y="3273"/>
                  </a:lnTo>
                  <a:lnTo>
                    <a:pt x="2267" y="3262"/>
                  </a:lnTo>
                  <a:lnTo>
                    <a:pt x="2247" y="3253"/>
                  </a:lnTo>
                  <a:lnTo>
                    <a:pt x="2231" y="3247"/>
                  </a:lnTo>
                  <a:lnTo>
                    <a:pt x="2221" y="3245"/>
                  </a:lnTo>
                  <a:lnTo>
                    <a:pt x="2119" y="3389"/>
                  </a:lnTo>
                  <a:lnTo>
                    <a:pt x="2135" y="3397"/>
                  </a:lnTo>
                  <a:lnTo>
                    <a:pt x="2168" y="3413"/>
                  </a:lnTo>
                  <a:lnTo>
                    <a:pt x="2188" y="3422"/>
                  </a:lnTo>
                  <a:lnTo>
                    <a:pt x="2205" y="3430"/>
                  </a:lnTo>
                  <a:lnTo>
                    <a:pt x="2219" y="3435"/>
                  </a:lnTo>
                  <a:lnTo>
                    <a:pt x="2228" y="3438"/>
                  </a:lnTo>
                  <a:lnTo>
                    <a:pt x="2241" y="3437"/>
                  </a:lnTo>
                  <a:lnTo>
                    <a:pt x="2252" y="3435"/>
                  </a:lnTo>
                  <a:lnTo>
                    <a:pt x="2259" y="3433"/>
                  </a:lnTo>
                  <a:lnTo>
                    <a:pt x="2265" y="3430"/>
                  </a:lnTo>
                  <a:lnTo>
                    <a:pt x="2272" y="3430"/>
                  </a:lnTo>
                  <a:lnTo>
                    <a:pt x="2279" y="3430"/>
                  </a:lnTo>
                  <a:lnTo>
                    <a:pt x="2288" y="3433"/>
                  </a:lnTo>
                  <a:lnTo>
                    <a:pt x="2300" y="3438"/>
                  </a:lnTo>
                  <a:lnTo>
                    <a:pt x="2300" y="3534"/>
                  </a:lnTo>
                  <a:lnTo>
                    <a:pt x="2296" y="3541"/>
                  </a:lnTo>
                  <a:lnTo>
                    <a:pt x="2291" y="3546"/>
                  </a:lnTo>
                  <a:lnTo>
                    <a:pt x="2285" y="3551"/>
                  </a:lnTo>
                  <a:lnTo>
                    <a:pt x="2279" y="3557"/>
                  </a:lnTo>
                  <a:lnTo>
                    <a:pt x="2265" y="3566"/>
                  </a:lnTo>
                  <a:lnTo>
                    <a:pt x="2251" y="3574"/>
                  </a:lnTo>
                  <a:lnTo>
                    <a:pt x="2237" y="3582"/>
                  </a:lnTo>
                  <a:lnTo>
                    <a:pt x="2225" y="3590"/>
                  </a:lnTo>
                  <a:lnTo>
                    <a:pt x="2221" y="3594"/>
                  </a:lnTo>
                  <a:lnTo>
                    <a:pt x="2219" y="3598"/>
                  </a:lnTo>
                  <a:lnTo>
                    <a:pt x="2216" y="3602"/>
                  </a:lnTo>
                  <a:lnTo>
                    <a:pt x="2215" y="3606"/>
                  </a:lnTo>
                  <a:lnTo>
                    <a:pt x="2216" y="3611"/>
                  </a:lnTo>
                  <a:lnTo>
                    <a:pt x="2217" y="3617"/>
                  </a:lnTo>
                  <a:lnTo>
                    <a:pt x="2219" y="3622"/>
                  </a:lnTo>
                  <a:lnTo>
                    <a:pt x="2221" y="3627"/>
                  </a:lnTo>
                  <a:lnTo>
                    <a:pt x="2228" y="3638"/>
                  </a:lnTo>
                  <a:lnTo>
                    <a:pt x="2236" y="3649"/>
                  </a:lnTo>
                  <a:lnTo>
                    <a:pt x="2244" y="3658"/>
                  </a:lnTo>
                  <a:lnTo>
                    <a:pt x="2251" y="3668"/>
                  </a:lnTo>
                  <a:lnTo>
                    <a:pt x="2253" y="3674"/>
                  </a:lnTo>
                  <a:lnTo>
                    <a:pt x="2256" y="3679"/>
                  </a:lnTo>
                  <a:lnTo>
                    <a:pt x="2257" y="3684"/>
                  </a:lnTo>
                  <a:lnTo>
                    <a:pt x="2257" y="3690"/>
                  </a:lnTo>
                  <a:lnTo>
                    <a:pt x="2257" y="3700"/>
                  </a:lnTo>
                  <a:lnTo>
                    <a:pt x="2256" y="3710"/>
                  </a:lnTo>
                  <a:lnTo>
                    <a:pt x="2253" y="3719"/>
                  </a:lnTo>
                  <a:lnTo>
                    <a:pt x="2251" y="3728"/>
                  </a:lnTo>
                  <a:lnTo>
                    <a:pt x="2247" y="3736"/>
                  </a:lnTo>
                  <a:lnTo>
                    <a:pt x="2241" y="3744"/>
                  </a:lnTo>
                  <a:lnTo>
                    <a:pt x="2236" y="3751"/>
                  </a:lnTo>
                  <a:lnTo>
                    <a:pt x="2231" y="3758"/>
                  </a:lnTo>
                  <a:lnTo>
                    <a:pt x="2224" y="3763"/>
                  </a:lnTo>
                  <a:lnTo>
                    <a:pt x="2217" y="3768"/>
                  </a:lnTo>
                  <a:lnTo>
                    <a:pt x="2209" y="3774"/>
                  </a:lnTo>
                  <a:lnTo>
                    <a:pt x="2201" y="3779"/>
                  </a:lnTo>
                  <a:lnTo>
                    <a:pt x="2183" y="3787"/>
                  </a:lnTo>
                  <a:lnTo>
                    <a:pt x="2164" y="3794"/>
                  </a:lnTo>
                  <a:lnTo>
                    <a:pt x="2144" y="3799"/>
                  </a:lnTo>
                  <a:lnTo>
                    <a:pt x="2123" y="3803"/>
                  </a:lnTo>
                  <a:lnTo>
                    <a:pt x="2102" y="3806"/>
                  </a:lnTo>
                  <a:lnTo>
                    <a:pt x="2080" y="3808"/>
                  </a:lnTo>
                  <a:lnTo>
                    <a:pt x="2038" y="3810"/>
                  </a:lnTo>
                  <a:lnTo>
                    <a:pt x="1999" y="3811"/>
                  </a:lnTo>
                  <a:lnTo>
                    <a:pt x="1992" y="3811"/>
                  </a:lnTo>
                  <a:lnTo>
                    <a:pt x="1987" y="3814"/>
                  </a:lnTo>
                  <a:lnTo>
                    <a:pt x="1980" y="3816"/>
                  </a:lnTo>
                  <a:lnTo>
                    <a:pt x="1975" y="3822"/>
                  </a:lnTo>
                  <a:lnTo>
                    <a:pt x="1963" y="3834"/>
                  </a:lnTo>
                  <a:lnTo>
                    <a:pt x="1951" y="3847"/>
                  </a:lnTo>
                  <a:lnTo>
                    <a:pt x="1942" y="3863"/>
                  </a:lnTo>
                  <a:lnTo>
                    <a:pt x="1934" y="3879"/>
                  </a:lnTo>
                  <a:lnTo>
                    <a:pt x="1931" y="3887"/>
                  </a:lnTo>
                  <a:lnTo>
                    <a:pt x="1928" y="3894"/>
                  </a:lnTo>
                  <a:lnTo>
                    <a:pt x="1927" y="3900"/>
                  </a:lnTo>
                  <a:lnTo>
                    <a:pt x="1927" y="3907"/>
                  </a:lnTo>
                  <a:lnTo>
                    <a:pt x="1927" y="3922"/>
                  </a:lnTo>
                  <a:lnTo>
                    <a:pt x="1930" y="3934"/>
                  </a:lnTo>
                  <a:lnTo>
                    <a:pt x="1934" y="3944"/>
                  </a:lnTo>
                  <a:lnTo>
                    <a:pt x="1939" y="3954"/>
                  </a:lnTo>
                  <a:lnTo>
                    <a:pt x="1943" y="3963"/>
                  </a:lnTo>
                  <a:lnTo>
                    <a:pt x="1947" y="3971"/>
                  </a:lnTo>
                  <a:lnTo>
                    <a:pt x="1950" y="3980"/>
                  </a:lnTo>
                  <a:lnTo>
                    <a:pt x="1951" y="3991"/>
                  </a:lnTo>
                  <a:lnTo>
                    <a:pt x="1950" y="3998"/>
                  </a:lnTo>
                  <a:lnTo>
                    <a:pt x="1948" y="4003"/>
                  </a:lnTo>
                  <a:lnTo>
                    <a:pt x="1947" y="4008"/>
                  </a:lnTo>
                  <a:lnTo>
                    <a:pt x="1944" y="4012"/>
                  </a:lnTo>
                  <a:lnTo>
                    <a:pt x="1942" y="4016"/>
                  </a:lnTo>
                  <a:lnTo>
                    <a:pt x="1938" y="4019"/>
                  </a:lnTo>
                  <a:lnTo>
                    <a:pt x="1934" y="4020"/>
                  </a:lnTo>
                  <a:lnTo>
                    <a:pt x="1928" y="4023"/>
                  </a:lnTo>
                  <a:lnTo>
                    <a:pt x="1919" y="4026"/>
                  </a:lnTo>
                  <a:lnTo>
                    <a:pt x="1907" y="4027"/>
                  </a:lnTo>
                  <a:lnTo>
                    <a:pt x="1896" y="4027"/>
                  </a:lnTo>
                  <a:lnTo>
                    <a:pt x="1884" y="4027"/>
                  </a:lnTo>
                  <a:lnTo>
                    <a:pt x="1884" y="4022"/>
                  </a:lnTo>
                  <a:lnTo>
                    <a:pt x="1874" y="3987"/>
                  </a:lnTo>
                  <a:lnTo>
                    <a:pt x="1864" y="3954"/>
                  </a:lnTo>
                  <a:lnTo>
                    <a:pt x="1858" y="3919"/>
                  </a:lnTo>
                  <a:lnTo>
                    <a:pt x="1852" y="3883"/>
                  </a:lnTo>
                  <a:lnTo>
                    <a:pt x="1850" y="3864"/>
                  </a:lnTo>
                  <a:lnTo>
                    <a:pt x="1850" y="3846"/>
                  </a:lnTo>
                  <a:lnTo>
                    <a:pt x="1850" y="3827"/>
                  </a:lnTo>
                  <a:lnTo>
                    <a:pt x="1850" y="3808"/>
                  </a:lnTo>
                  <a:lnTo>
                    <a:pt x="1851" y="3788"/>
                  </a:lnTo>
                  <a:lnTo>
                    <a:pt x="1854" y="3768"/>
                  </a:lnTo>
                  <a:lnTo>
                    <a:pt x="1856" y="3747"/>
                  </a:lnTo>
                  <a:lnTo>
                    <a:pt x="1860" y="3726"/>
                  </a:lnTo>
                  <a:lnTo>
                    <a:pt x="1848" y="3724"/>
                  </a:lnTo>
                  <a:lnTo>
                    <a:pt x="1838" y="3722"/>
                  </a:lnTo>
                  <a:lnTo>
                    <a:pt x="1828" y="3718"/>
                  </a:lnTo>
                  <a:lnTo>
                    <a:pt x="1819" y="3714"/>
                  </a:lnTo>
                  <a:lnTo>
                    <a:pt x="1812" y="3708"/>
                  </a:lnTo>
                  <a:lnTo>
                    <a:pt x="1804" y="3703"/>
                  </a:lnTo>
                  <a:lnTo>
                    <a:pt x="1798" y="3696"/>
                  </a:lnTo>
                  <a:lnTo>
                    <a:pt x="1792" y="3690"/>
                  </a:lnTo>
                  <a:lnTo>
                    <a:pt x="1772" y="3662"/>
                  </a:lnTo>
                  <a:lnTo>
                    <a:pt x="1752" y="3637"/>
                  </a:lnTo>
                  <a:lnTo>
                    <a:pt x="1746" y="3627"/>
                  </a:lnTo>
                  <a:lnTo>
                    <a:pt x="1738" y="3619"/>
                  </a:lnTo>
                  <a:lnTo>
                    <a:pt x="1734" y="3617"/>
                  </a:lnTo>
                  <a:lnTo>
                    <a:pt x="1728" y="3614"/>
                  </a:lnTo>
                  <a:lnTo>
                    <a:pt x="1722" y="3613"/>
                  </a:lnTo>
                  <a:lnTo>
                    <a:pt x="1715" y="3613"/>
                  </a:lnTo>
                  <a:lnTo>
                    <a:pt x="1703" y="3623"/>
                  </a:lnTo>
                  <a:lnTo>
                    <a:pt x="1692" y="3635"/>
                  </a:lnTo>
                  <a:lnTo>
                    <a:pt x="1682" y="3650"/>
                  </a:lnTo>
                  <a:lnTo>
                    <a:pt x="1672" y="3664"/>
                  </a:lnTo>
                  <a:lnTo>
                    <a:pt x="1654" y="3698"/>
                  </a:lnTo>
                  <a:lnTo>
                    <a:pt x="1636" y="3735"/>
                  </a:lnTo>
                  <a:lnTo>
                    <a:pt x="1619" y="3774"/>
                  </a:lnTo>
                  <a:lnTo>
                    <a:pt x="1602" y="3812"/>
                  </a:lnTo>
                  <a:lnTo>
                    <a:pt x="1584" y="3851"/>
                  </a:lnTo>
                  <a:lnTo>
                    <a:pt x="1566" y="3888"/>
                  </a:lnTo>
                  <a:lnTo>
                    <a:pt x="1548" y="3918"/>
                  </a:lnTo>
                  <a:lnTo>
                    <a:pt x="1530" y="3946"/>
                  </a:lnTo>
                  <a:lnTo>
                    <a:pt x="1510" y="3972"/>
                  </a:lnTo>
                  <a:lnTo>
                    <a:pt x="1490" y="3998"/>
                  </a:lnTo>
                  <a:lnTo>
                    <a:pt x="1467" y="4020"/>
                  </a:lnTo>
                  <a:lnTo>
                    <a:pt x="1446" y="4042"/>
                  </a:lnTo>
                  <a:lnTo>
                    <a:pt x="1423" y="4060"/>
                  </a:lnTo>
                  <a:lnTo>
                    <a:pt x="1400" y="4075"/>
                  </a:lnTo>
                  <a:lnTo>
                    <a:pt x="1390" y="4082"/>
                  </a:lnTo>
                  <a:lnTo>
                    <a:pt x="1378" y="4088"/>
                  </a:lnTo>
                  <a:lnTo>
                    <a:pt x="1367" y="4094"/>
                  </a:lnTo>
                  <a:lnTo>
                    <a:pt x="1357" y="4098"/>
                  </a:lnTo>
                  <a:lnTo>
                    <a:pt x="1346" y="4100"/>
                  </a:lnTo>
                  <a:lnTo>
                    <a:pt x="1337" y="4103"/>
                  </a:lnTo>
                  <a:lnTo>
                    <a:pt x="1326" y="4104"/>
                  </a:lnTo>
                  <a:lnTo>
                    <a:pt x="1317" y="4104"/>
                  </a:lnTo>
                  <a:lnTo>
                    <a:pt x="1309" y="4103"/>
                  </a:lnTo>
                  <a:lnTo>
                    <a:pt x="1299" y="4102"/>
                  </a:lnTo>
                  <a:lnTo>
                    <a:pt x="1291" y="4098"/>
                  </a:lnTo>
                  <a:lnTo>
                    <a:pt x="1283" y="4094"/>
                  </a:lnTo>
                  <a:lnTo>
                    <a:pt x="1277" y="4088"/>
                  </a:lnTo>
                  <a:lnTo>
                    <a:pt x="1270" y="4082"/>
                  </a:lnTo>
                  <a:lnTo>
                    <a:pt x="1263" y="4074"/>
                  </a:lnTo>
                  <a:lnTo>
                    <a:pt x="1258" y="4063"/>
                  </a:lnTo>
                  <a:lnTo>
                    <a:pt x="1222" y="3990"/>
                  </a:lnTo>
                  <a:lnTo>
                    <a:pt x="1202" y="3944"/>
                  </a:lnTo>
                  <a:lnTo>
                    <a:pt x="1198" y="3936"/>
                  </a:lnTo>
                  <a:lnTo>
                    <a:pt x="1193" y="3930"/>
                  </a:lnTo>
                  <a:lnTo>
                    <a:pt x="1187" y="3924"/>
                  </a:lnTo>
                  <a:lnTo>
                    <a:pt x="1181" y="3919"/>
                  </a:lnTo>
                  <a:lnTo>
                    <a:pt x="1173" y="3915"/>
                  </a:lnTo>
                  <a:lnTo>
                    <a:pt x="1162" y="3912"/>
                  </a:lnTo>
                  <a:lnTo>
                    <a:pt x="1151" y="3910"/>
                  </a:lnTo>
                  <a:lnTo>
                    <a:pt x="1138" y="3907"/>
                  </a:lnTo>
                  <a:lnTo>
                    <a:pt x="1146" y="3896"/>
                  </a:lnTo>
                  <a:lnTo>
                    <a:pt x="1153" y="3886"/>
                  </a:lnTo>
                  <a:lnTo>
                    <a:pt x="1158" y="3876"/>
                  </a:lnTo>
                  <a:lnTo>
                    <a:pt x="1162" y="3867"/>
                  </a:lnTo>
                  <a:lnTo>
                    <a:pt x="1165" y="3858"/>
                  </a:lnTo>
                  <a:lnTo>
                    <a:pt x="1166" y="3847"/>
                  </a:lnTo>
                  <a:lnTo>
                    <a:pt x="1167" y="3835"/>
                  </a:lnTo>
                  <a:lnTo>
                    <a:pt x="1167" y="3823"/>
                  </a:lnTo>
                  <a:lnTo>
                    <a:pt x="1167" y="3812"/>
                  </a:lnTo>
                  <a:lnTo>
                    <a:pt x="1167" y="3807"/>
                  </a:lnTo>
                  <a:lnTo>
                    <a:pt x="1167" y="3802"/>
                  </a:lnTo>
                  <a:lnTo>
                    <a:pt x="1167" y="3792"/>
                  </a:lnTo>
                  <a:lnTo>
                    <a:pt x="1169" y="3786"/>
                  </a:lnTo>
                  <a:lnTo>
                    <a:pt x="1169" y="3779"/>
                  </a:lnTo>
                  <a:lnTo>
                    <a:pt x="1170" y="3774"/>
                  </a:lnTo>
                  <a:lnTo>
                    <a:pt x="1173" y="3770"/>
                  </a:lnTo>
                  <a:lnTo>
                    <a:pt x="1178" y="3762"/>
                  </a:lnTo>
                  <a:lnTo>
                    <a:pt x="1183" y="3756"/>
                  </a:lnTo>
                  <a:lnTo>
                    <a:pt x="1190" y="3751"/>
                  </a:lnTo>
                  <a:lnTo>
                    <a:pt x="1195" y="3743"/>
                  </a:lnTo>
                  <a:lnTo>
                    <a:pt x="1198" y="3739"/>
                  </a:lnTo>
                  <a:lnTo>
                    <a:pt x="1201" y="3734"/>
                  </a:lnTo>
                  <a:lnTo>
                    <a:pt x="1202" y="3727"/>
                  </a:lnTo>
                  <a:lnTo>
                    <a:pt x="1203" y="3720"/>
                  </a:lnTo>
                  <a:lnTo>
                    <a:pt x="1203" y="3726"/>
                  </a:lnTo>
                  <a:lnTo>
                    <a:pt x="1203" y="372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1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8353425" y="3822700"/>
              <a:ext cx="46038" cy="107950"/>
            </a:xfrm>
            <a:custGeom>
              <a:avLst/>
              <a:gdLst/>
              <a:ahLst/>
              <a:cxnLst>
                <a:cxn ang="0">
                  <a:pos x="0" y="108"/>
                </a:cxn>
                <a:cxn ang="0">
                  <a:pos x="1" y="123"/>
                </a:cxn>
                <a:cxn ang="0">
                  <a:pos x="4" y="133"/>
                </a:cxn>
                <a:cxn ang="0">
                  <a:pos x="8" y="141"/>
                </a:cxn>
                <a:cxn ang="0">
                  <a:pos x="12" y="151"/>
                </a:cxn>
                <a:cxn ang="0">
                  <a:pos x="22" y="197"/>
                </a:cxn>
                <a:cxn ang="0">
                  <a:pos x="34" y="243"/>
                </a:cxn>
                <a:cxn ang="0">
                  <a:pos x="38" y="252"/>
                </a:cxn>
                <a:cxn ang="0">
                  <a:pos x="44" y="261"/>
                </a:cxn>
                <a:cxn ang="0">
                  <a:pos x="50" y="269"/>
                </a:cxn>
                <a:cxn ang="0">
                  <a:pos x="58" y="276"/>
                </a:cxn>
                <a:cxn ang="0">
                  <a:pos x="66" y="281"/>
                </a:cxn>
                <a:cxn ang="0">
                  <a:pos x="77" y="285"/>
                </a:cxn>
                <a:cxn ang="0">
                  <a:pos x="89" y="288"/>
                </a:cxn>
                <a:cxn ang="0">
                  <a:pos x="102" y="289"/>
                </a:cxn>
                <a:cxn ang="0">
                  <a:pos x="102" y="271"/>
                </a:cxn>
                <a:cxn ang="0">
                  <a:pos x="92" y="257"/>
                </a:cxn>
                <a:cxn ang="0">
                  <a:pos x="80" y="239"/>
                </a:cxn>
                <a:cxn ang="0">
                  <a:pos x="74" y="229"/>
                </a:cxn>
                <a:cxn ang="0">
                  <a:pos x="70" y="219"/>
                </a:cxn>
                <a:cxn ang="0">
                  <a:pos x="68" y="208"/>
                </a:cxn>
                <a:cxn ang="0">
                  <a:pos x="66" y="199"/>
                </a:cxn>
                <a:cxn ang="0">
                  <a:pos x="66" y="173"/>
                </a:cxn>
                <a:cxn ang="0">
                  <a:pos x="66" y="156"/>
                </a:cxn>
                <a:cxn ang="0">
                  <a:pos x="66" y="139"/>
                </a:cxn>
                <a:cxn ang="0">
                  <a:pos x="66" y="115"/>
                </a:cxn>
                <a:cxn ang="0">
                  <a:pos x="66" y="107"/>
                </a:cxn>
                <a:cxn ang="0">
                  <a:pos x="69" y="97"/>
                </a:cxn>
                <a:cxn ang="0">
                  <a:pos x="72" y="87"/>
                </a:cxn>
                <a:cxn ang="0">
                  <a:pos x="76" y="76"/>
                </a:cxn>
                <a:cxn ang="0">
                  <a:pos x="84" y="56"/>
                </a:cxn>
                <a:cxn ang="0">
                  <a:pos x="90" y="42"/>
                </a:cxn>
                <a:cxn ang="0">
                  <a:pos x="90" y="0"/>
                </a:cxn>
                <a:cxn ang="0">
                  <a:pos x="73" y="6"/>
                </a:cxn>
                <a:cxn ang="0">
                  <a:pos x="56" y="14"/>
                </a:cxn>
                <a:cxn ang="0">
                  <a:pos x="48" y="18"/>
                </a:cxn>
                <a:cxn ang="0">
                  <a:pos x="41" y="24"/>
                </a:cxn>
                <a:cxn ang="0">
                  <a:pos x="33" y="30"/>
                </a:cxn>
                <a:cxn ang="0">
                  <a:pos x="28" y="36"/>
                </a:cxn>
                <a:cxn ang="0">
                  <a:pos x="21" y="43"/>
                </a:cxn>
                <a:cxn ang="0">
                  <a:pos x="16" y="51"/>
                </a:cxn>
                <a:cxn ang="0">
                  <a:pos x="12" y="59"/>
                </a:cxn>
                <a:cxn ang="0">
                  <a:pos x="8" y="68"/>
                </a:cxn>
                <a:cxn ang="0">
                  <a:pos x="4" y="77"/>
                </a:cxn>
                <a:cxn ang="0">
                  <a:pos x="2" y="87"/>
                </a:cxn>
                <a:cxn ang="0">
                  <a:pos x="1" y="97"/>
                </a:cxn>
                <a:cxn ang="0">
                  <a:pos x="0" y="108"/>
                </a:cxn>
              </a:cxnLst>
              <a:rect l="0" t="0" r="r" b="b"/>
              <a:pathLst>
                <a:path w="102" h="289">
                  <a:moveTo>
                    <a:pt x="0" y="108"/>
                  </a:moveTo>
                  <a:lnTo>
                    <a:pt x="1" y="123"/>
                  </a:lnTo>
                  <a:lnTo>
                    <a:pt x="4" y="133"/>
                  </a:lnTo>
                  <a:lnTo>
                    <a:pt x="8" y="141"/>
                  </a:lnTo>
                  <a:lnTo>
                    <a:pt x="12" y="151"/>
                  </a:lnTo>
                  <a:lnTo>
                    <a:pt x="22" y="197"/>
                  </a:lnTo>
                  <a:lnTo>
                    <a:pt x="34" y="243"/>
                  </a:lnTo>
                  <a:lnTo>
                    <a:pt x="38" y="252"/>
                  </a:lnTo>
                  <a:lnTo>
                    <a:pt x="44" y="261"/>
                  </a:lnTo>
                  <a:lnTo>
                    <a:pt x="50" y="269"/>
                  </a:lnTo>
                  <a:lnTo>
                    <a:pt x="58" y="276"/>
                  </a:lnTo>
                  <a:lnTo>
                    <a:pt x="66" y="281"/>
                  </a:lnTo>
                  <a:lnTo>
                    <a:pt x="77" y="285"/>
                  </a:lnTo>
                  <a:lnTo>
                    <a:pt x="89" y="288"/>
                  </a:lnTo>
                  <a:lnTo>
                    <a:pt x="102" y="289"/>
                  </a:lnTo>
                  <a:lnTo>
                    <a:pt x="102" y="271"/>
                  </a:lnTo>
                  <a:lnTo>
                    <a:pt x="92" y="257"/>
                  </a:lnTo>
                  <a:lnTo>
                    <a:pt x="80" y="239"/>
                  </a:lnTo>
                  <a:lnTo>
                    <a:pt x="74" y="229"/>
                  </a:lnTo>
                  <a:lnTo>
                    <a:pt x="70" y="219"/>
                  </a:lnTo>
                  <a:lnTo>
                    <a:pt x="68" y="208"/>
                  </a:lnTo>
                  <a:lnTo>
                    <a:pt x="66" y="199"/>
                  </a:lnTo>
                  <a:lnTo>
                    <a:pt x="66" y="173"/>
                  </a:lnTo>
                  <a:lnTo>
                    <a:pt x="66" y="156"/>
                  </a:lnTo>
                  <a:lnTo>
                    <a:pt x="66" y="139"/>
                  </a:lnTo>
                  <a:lnTo>
                    <a:pt x="66" y="115"/>
                  </a:lnTo>
                  <a:lnTo>
                    <a:pt x="66" y="107"/>
                  </a:lnTo>
                  <a:lnTo>
                    <a:pt x="69" y="97"/>
                  </a:lnTo>
                  <a:lnTo>
                    <a:pt x="72" y="87"/>
                  </a:lnTo>
                  <a:lnTo>
                    <a:pt x="76" y="76"/>
                  </a:lnTo>
                  <a:lnTo>
                    <a:pt x="84" y="56"/>
                  </a:lnTo>
                  <a:lnTo>
                    <a:pt x="90" y="42"/>
                  </a:lnTo>
                  <a:lnTo>
                    <a:pt x="90" y="0"/>
                  </a:lnTo>
                  <a:lnTo>
                    <a:pt x="73" y="6"/>
                  </a:lnTo>
                  <a:lnTo>
                    <a:pt x="56" y="14"/>
                  </a:lnTo>
                  <a:lnTo>
                    <a:pt x="48" y="18"/>
                  </a:lnTo>
                  <a:lnTo>
                    <a:pt x="41" y="24"/>
                  </a:lnTo>
                  <a:lnTo>
                    <a:pt x="33" y="30"/>
                  </a:lnTo>
                  <a:lnTo>
                    <a:pt x="28" y="36"/>
                  </a:lnTo>
                  <a:lnTo>
                    <a:pt x="21" y="43"/>
                  </a:lnTo>
                  <a:lnTo>
                    <a:pt x="16" y="51"/>
                  </a:lnTo>
                  <a:lnTo>
                    <a:pt x="12" y="59"/>
                  </a:lnTo>
                  <a:lnTo>
                    <a:pt x="8" y="68"/>
                  </a:lnTo>
                  <a:lnTo>
                    <a:pt x="4" y="77"/>
                  </a:lnTo>
                  <a:lnTo>
                    <a:pt x="2" y="87"/>
                  </a:lnTo>
                  <a:lnTo>
                    <a:pt x="1" y="97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2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380413" y="3649663"/>
              <a:ext cx="46037" cy="165100"/>
            </a:xfrm>
            <a:custGeom>
              <a:avLst/>
              <a:gdLst/>
              <a:ahLst/>
              <a:cxnLst>
                <a:cxn ang="0">
                  <a:pos x="12" y="250"/>
                </a:cxn>
                <a:cxn ang="0">
                  <a:pos x="12" y="201"/>
                </a:cxn>
                <a:cxn ang="0">
                  <a:pos x="10" y="168"/>
                </a:cxn>
                <a:cxn ang="0">
                  <a:pos x="4" y="149"/>
                </a:cxn>
                <a:cxn ang="0">
                  <a:pos x="1" y="136"/>
                </a:cxn>
                <a:cxn ang="0">
                  <a:pos x="0" y="117"/>
                </a:cxn>
                <a:cxn ang="0">
                  <a:pos x="13" y="108"/>
                </a:cxn>
                <a:cxn ang="0">
                  <a:pos x="30" y="98"/>
                </a:cxn>
                <a:cxn ang="0">
                  <a:pos x="42" y="84"/>
                </a:cxn>
                <a:cxn ang="0">
                  <a:pos x="49" y="65"/>
                </a:cxn>
                <a:cxn ang="0">
                  <a:pos x="56" y="34"/>
                </a:cxn>
                <a:cxn ang="0">
                  <a:pos x="65" y="10"/>
                </a:cxn>
                <a:cxn ang="0">
                  <a:pos x="77" y="1"/>
                </a:cxn>
                <a:cxn ang="0">
                  <a:pos x="89" y="1"/>
                </a:cxn>
                <a:cxn ang="0">
                  <a:pos x="97" y="9"/>
                </a:cxn>
                <a:cxn ang="0">
                  <a:pos x="104" y="20"/>
                </a:cxn>
                <a:cxn ang="0">
                  <a:pos x="108" y="32"/>
                </a:cxn>
                <a:cxn ang="0">
                  <a:pos x="108" y="50"/>
                </a:cxn>
                <a:cxn ang="0">
                  <a:pos x="101" y="72"/>
                </a:cxn>
                <a:cxn ang="0">
                  <a:pos x="92" y="89"/>
                </a:cxn>
                <a:cxn ang="0">
                  <a:pos x="85" y="108"/>
                </a:cxn>
                <a:cxn ang="0">
                  <a:pos x="85" y="136"/>
                </a:cxn>
                <a:cxn ang="0">
                  <a:pos x="88" y="158"/>
                </a:cxn>
                <a:cxn ang="0">
                  <a:pos x="93" y="177"/>
                </a:cxn>
                <a:cxn ang="0">
                  <a:pos x="96" y="198"/>
                </a:cxn>
                <a:cxn ang="0">
                  <a:pos x="96" y="217"/>
                </a:cxn>
                <a:cxn ang="0">
                  <a:pos x="93" y="225"/>
                </a:cxn>
                <a:cxn ang="0">
                  <a:pos x="85" y="237"/>
                </a:cxn>
                <a:cxn ang="0">
                  <a:pos x="72" y="249"/>
                </a:cxn>
                <a:cxn ang="0">
                  <a:pos x="64" y="260"/>
                </a:cxn>
                <a:cxn ang="0">
                  <a:pos x="61" y="266"/>
                </a:cxn>
                <a:cxn ang="0">
                  <a:pos x="61" y="282"/>
                </a:cxn>
                <a:cxn ang="0">
                  <a:pos x="68" y="304"/>
                </a:cxn>
                <a:cxn ang="0">
                  <a:pos x="77" y="324"/>
                </a:cxn>
                <a:cxn ang="0">
                  <a:pos x="84" y="345"/>
                </a:cxn>
                <a:cxn ang="0">
                  <a:pos x="84" y="368"/>
                </a:cxn>
                <a:cxn ang="0">
                  <a:pos x="78" y="388"/>
                </a:cxn>
                <a:cxn ang="0">
                  <a:pos x="72" y="405"/>
                </a:cxn>
                <a:cxn ang="0">
                  <a:pos x="68" y="424"/>
                </a:cxn>
                <a:cxn ang="0">
                  <a:pos x="58" y="429"/>
                </a:cxn>
                <a:cxn ang="0">
                  <a:pos x="50" y="416"/>
                </a:cxn>
                <a:cxn ang="0">
                  <a:pos x="48" y="389"/>
                </a:cxn>
                <a:cxn ang="0">
                  <a:pos x="48" y="362"/>
                </a:cxn>
                <a:cxn ang="0">
                  <a:pos x="42" y="356"/>
                </a:cxn>
                <a:cxn ang="0">
                  <a:pos x="30" y="353"/>
                </a:cxn>
                <a:cxn ang="0">
                  <a:pos x="21" y="346"/>
                </a:cxn>
                <a:cxn ang="0">
                  <a:pos x="17" y="337"/>
                </a:cxn>
                <a:cxn ang="0">
                  <a:pos x="14" y="322"/>
                </a:cxn>
                <a:cxn ang="0">
                  <a:pos x="14" y="292"/>
                </a:cxn>
              </a:cxnLst>
              <a:rect l="0" t="0" r="r" b="b"/>
              <a:pathLst>
                <a:path w="109" h="434">
                  <a:moveTo>
                    <a:pt x="12" y="277"/>
                  </a:moveTo>
                  <a:lnTo>
                    <a:pt x="12" y="250"/>
                  </a:lnTo>
                  <a:lnTo>
                    <a:pt x="12" y="225"/>
                  </a:lnTo>
                  <a:lnTo>
                    <a:pt x="12" y="201"/>
                  </a:lnTo>
                  <a:lnTo>
                    <a:pt x="12" y="181"/>
                  </a:lnTo>
                  <a:lnTo>
                    <a:pt x="10" y="168"/>
                  </a:lnTo>
                  <a:lnTo>
                    <a:pt x="6" y="156"/>
                  </a:lnTo>
                  <a:lnTo>
                    <a:pt x="4" y="149"/>
                  </a:lnTo>
                  <a:lnTo>
                    <a:pt x="2" y="142"/>
                  </a:lnTo>
                  <a:lnTo>
                    <a:pt x="1" y="136"/>
                  </a:lnTo>
                  <a:lnTo>
                    <a:pt x="0" y="126"/>
                  </a:lnTo>
                  <a:lnTo>
                    <a:pt x="0" y="117"/>
                  </a:lnTo>
                  <a:lnTo>
                    <a:pt x="0" y="109"/>
                  </a:lnTo>
                  <a:lnTo>
                    <a:pt x="13" y="108"/>
                  </a:lnTo>
                  <a:lnTo>
                    <a:pt x="22" y="104"/>
                  </a:lnTo>
                  <a:lnTo>
                    <a:pt x="30" y="98"/>
                  </a:lnTo>
                  <a:lnTo>
                    <a:pt x="37" y="92"/>
                  </a:lnTo>
                  <a:lnTo>
                    <a:pt x="42" y="84"/>
                  </a:lnTo>
                  <a:lnTo>
                    <a:pt x="46" y="74"/>
                  </a:lnTo>
                  <a:lnTo>
                    <a:pt x="49" y="65"/>
                  </a:lnTo>
                  <a:lnTo>
                    <a:pt x="52" y="54"/>
                  </a:lnTo>
                  <a:lnTo>
                    <a:pt x="56" y="34"/>
                  </a:lnTo>
                  <a:lnTo>
                    <a:pt x="61" y="17"/>
                  </a:lnTo>
                  <a:lnTo>
                    <a:pt x="65" y="10"/>
                  </a:lnTo>
                  <a:lnTo>
                    <a:pt x="70" y="5"/>
                  </a:lnTo>
                  <a:lnTo>
                    <a:pt x="77" y="1"/>
                  </a:lnTo>
                  <a:lnTo>
                    <a:pt x="85" y="0"/>
                  </a:lnTo>
                  <a:lnTo>
                    <a:pt x="89" y="1"/>
                  </a:lnTo>
                  <a:lnTo>
                    <a:pt x="93" y="4"/>
                  </a:lnTo>
                  <a:lnTo>
                    <a:pt x="97" y="9"/>
                  </a:lnTo>
                  <a:lnTo>
                    <a:pt x="101" y="13"/>
                  </a:lnTo>
                  <a:lnTo>
                    <a:pt x="104" y="20"/>
                  </a:lnTo>
                  <a:lnTo>
                    <a:pt x="106" y="25"/>
                  </a:lnTo>
                  <a:lnTo>
                    <a:pt x="108" y="32"/>
                  </a:lnTo>
                  <a:lnTo>
                    <a:pt x="109" y="36"/>
                  </a:lnTo>
                  <a:lnTo>
                    <a:pt x="108" y="50"/>
                  </a:lnTo>
                  <a:lnTo>
                    <a:pt x="105" y="62"/>
                  </a:lnTo>
                  <a:lnTo>
                    <a:pt x="101" y="72"/>
                  </a:lnTo>
                  <a:lnTo>
                    <a:pt x="97" y="81"/>
                  </a:lnTo>
                  <a:lnTo>
                    <a:pt x="92" y="89"/>
                  </a:lnTo>
                  <a:lnTo>
                    <a:pt x="88" y="98"/>
                  </a:lnTo>
                  <a:lnTo>
                    <a:pt x="85" y="108"/>
                  </a:lnTo>
                  <a:lnTo>
                    <a:pt x="85" y="121"/>
                  </a:lnTo>
                  <a:lnTo>
                    <a:pt x="85" y="136"/>
                  </a:lnTo>
                  <a:lnTo>
                    <a:pt x="86" y="148"/>
                  </a:lnTo>
                  <a:lnTo>
                    <a:pt x="88" y="158"/>
                  </a:lnTo>
                  <a:lnTo>
                    <a:pt x="90" y="168"/>
                  </a:lnTo>
                  <a:lnTo>
                    <a:pt x="93" y="177"/>
                  </a:lnTo>
                  <a:lnTo>
                    <a:pt x="94" y="188"/>
                  </a:lnTo>
                  <a:lnTo>
                    <a:pt x="96" y="198"/>
                  </a:lnTo>
                  <a:lnTo>
                    <a:pt x="97" y="210"/>
                  </a:lnTo>
                  <a:lnTo>
                    <a:pt x="96" y="217"/>
                  </a:lnTo>
                  <a:lnTo>
                    <a:pt x="96" y="221"/>
                  </a:lnTo>
                  <a:lnTo>
                    <a:pt x="93" y="225"/>
                  </a:lnTo>
                  <a:lnTo>
                    <a:pt x="90" y="230"/>
                  </a:lnTo>
                  <a:lnTo>
                    <a:pt x="85" y="237"/>
                  </a:lnTo>
                  <a:lnTo>
                    <a:pt x="78" y="244"/>
                  </a:lnTo>
                  <a:lnTo>
                    <a:pt x="72" y="249"/>
                  </a:lnTo>
                  <a:lnTo>
                    <a:pt x="66" y="256"/>
                  </a:lnTo>
                  <a:lnTo>
                    <a:pt x="64" y="260"/>
                  </a:lnTo>
                  <a:lnTo>
                    <a:pt x="62" y="262"/>
                  </a:lnTo>
                  <a:lnTo>
                    <a:pt x="61" y="266"/>
                  </a:lnTo>
                  <a:lnTo>
                    <a:pt x="61" y="272"/>
                  </a:lnTo>
                  <a:lnTo>
                    <a:pt x="61" y="282"/>
                  </a:lnTo>
                  <a:lnTo>
                    <a:pt x="64" y="293"/>
                  </a:lnTo>
                  <a:lnTo>
                    <a:pt x="68" y="304"/>
                  </a:lnTo>
                  <a:lnTo>
                    <a:pt x="73" y="313"/>
                  </a:lnTo>
                  <a:lnTo>
                    <a:pt x="77" y="324"/>
                  </a:lnTo>
                  <a:lnTo>
                    <a:pt x="81" y="334"/>
                  </a:lnTo>
                  <a:lnTo>
                    <a:pt x="84" y="345"/>
                  </a:lnTo>
                  <a:lnTo>
                    <a:pt x="85" y="356"/>
                  </a:lnTo>
                  <a:lnTo>
                    <a:pt x="84" y="368"/>
                  </a:lnTo>
                  <a:lnTo>
                    <a:pt x="82" y="378"/>
                  </a:lnTo>
                  <a:lnTo>
                    <a:pt x="78" y="388"/>
                  </a:lnTo>
                  <a:lnTo>
                    <a:pt x="76" y="397"/>
                  </a:lnTo>
                  <a:lnTo>
                    <a:pt x="72" y="405"/>
                  </a:lnTo>
                  <a:lnTo>
                    <a:pt x="69" y="414"/>
                  </a:lnTo>
                  <a:lnTo>
                    <a:pt x="68" y="424"/>
                  </a:lnTo>
                  <a:lnTo>
                    <a:pt x="66" y="434"/>
                  </a:lnTo>
                  <a:lnTo>
                    <a:pt x="58" y="429"/>
                  </a:lnTo>
                  <a:lnTo>
                    <a:pt x="53" y="422"/>
                  </a:lnTo>
                  <a:lnTo>
                    <a:pt x="50" y="416"/>
                  </a:lnTo>
                  <a:lnTo>
                    <a:pt x="49" y="408"/>
                  </a:lnTo>
                  <a:lnTo>
                    <a:pt x="48" y="389"/>
                  </a:lnTo>
                  <a:lnTo>
                    <a:pt x="49" y="368"/>
                  </a:lnTo>
                  <a:lnTo>
                    <a:pt x="48" y="362"/>
                  </a:lnTo>
                  <a:lnTo>
                    <a:pt x="45" y="358"/>
                  </a:lnTo>
                  <a:lnTo>
                    <a:pt x="42" y="356"/>
                  </a:lnTo>
                  <a:lnTo>
                    <a:pt x="38" y="354"/>
                  </a:lnTo>
                  <a:lnTo>
                    <a:pt x="30" y="353"/>
                  </a:lnTo>
                  <a:lnTo>
                    <a:pt x="24" y="349"/>
                  </a:lnTo>
                  <a:lnTo>
                    <a:pt x="21" y="346"/>
                  </a:lnTo>
                  <a:lnTo>
                    <a:pt x="18" y="342"/>
                  </a:lnTo>
                  <a:lnTo>
                    <a:pt x="17" y="337"/>
                  </a:lnTo>
                  <a:lnTo>
                    <a:pt x="16" y="332"/>
                  </a:lnTo>
                  <a:lnTo>
                    <a:pt x="14" y="322"/>
                  </a:lnTo>
                  <a:lnTo>
                    <a:pt x="14" y="312"/>
                  </a:lnTo>
                  <a:lnTo>
                    <a:pt x="14" y="292"/>
                  </a:lnTo>
                  <a:lnTo>
                    <a:pt x="12" y="27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3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8434388" y="3844925"/>
              <a:ext cx="15875" cy="26988"/>
            </a:xfrm>
            <a:custGeom>
              <a:avLst/>
              <a:gdLst/>
              <a:ahLst/>
              <a:cxnLst>
                <a:cxn ang="0">
                  <a:pos x="43" y="17"/>
                </a:cxn>
                <a:cxn ang="0">
                  <a:pos x="39" y="17"/>
                </a:cxn>
                <a:cxn ang="0">
                  <a:pos x="36" y="15"/>
                </a:cxn>
                <a:cxn ang="0">
                  <a:pos x="34" y="12"/>
                </a:cxn>
                <a:cxn ang="0">
                  <a:pos x="31" y="10"/>
                </a:cxn>
                <a:cxn ang="0">
                  <a:pos x="28" y="3"/>
                </a:cxn>
                <a:cxn ang="0">
                  <a:pos x="24" y="0"/>
                </a:cxn>
                <a:cxn ang="0">
                  <a:pos x="19" y="2"/>
                </a:cxn>
                <a:cxn ang="0">
                  <a:pos x="14" y="6"/>
                </a:cxn>
                <a:cxn ang="0">
                  <a:pos x="10" y="11"/>
                </a:cxn>
                <a:cxn ang="0">
                  <a:pos x="6" y="17"/>
                </a:cxn>
                <a:cxn ang="0">
                  <a:pos x="3" y="27"/>
                </a:cxn>
                <a:cxn ang="0">
                  <a:pos x="2" y="36"/>
                </a:cxn>
                <a:cxn ang="0">
                  <a:pos x="0" y="45"/>
                </a:cxn>
                <a:cxn ang="0">
                  <a:pos x="0" y="55"/>
                </a:cxn>
                <a:cxn ang="0">
                  <a:pos x="2" y="59"/>
                </a:cxn>
                <a:cxn ang="0">
                  <a:pos x="3" y="61"/>
                </a:cxn>
                <a:cxn ang="0">
                  <a:pos x="4" y="64"/>
                </a:cxn>
                <a:cxn ang="0">
                  <a:pos x="7" y="65"/>
                </a:cxn>
                <a:cxn ang="0">
                  <a:pos x="14" y="68"/>
                </a:cxn>
                <a:cxn ang="0">
                  <a:pos x="19" y="72"/>
                </a:cxn>
                <a:cxn ang="0">
                  <a:pos x="26" y="59"/>
                </a:cxn>
                <a:cxn ang="0">
                  <a:pos x="35" y="40"/>
                </a:cxn>
                <a:cxn ang="0">
                  <a:pos x="39" y="32"/>
                </a:cxn>
                <a:cxn ang="0">
                  <a:pos x="43" y="25"/>
                </a:cxn>
                <a:cxn ang="0">
                  <a:pos x="44" y="20"/>
                </a:cxn>
                <a:cxn ang="0">
                  <a:pos x="43" y="17"/>
                </a:cxn>
              </a:cxnLst>
              <a:rect l="0" t="0" r="r" b="b"/>
              <a:pathLst>
                <a:path w="44" h="72">
                  <a:moveTo>
                    <a:pt x="43" y="17"/>
                  </a:moveTo>
                  <a:lnTo>
                    <a:pt x="39" y="17"/>
                  </a:lnTo>
                  <a:lnTo>
                    <a:pt x="36" y="15"/>
                  </a:lnTo>
                  <a:lnTo>
                    <a:pt x="34" y="12"/>
                  </a:lnTo>
                  <a:lnTo>
                    <a:pt x="31" y="10"/>
                  </a:lnTo>
                  <a:lnTo>
                    <a:pt x="28" y="3"/>
                  </a:lnTo>
                  <a:lnTo>
                    <a:pt x="24" y="0"/>
                  </a:lnTo>
                  <a:lnTo>
                    <a:pt x="19" y="2"/>
                  </a:lnTo>
                  <a:lnTo>
                    <a:pt x="14" y="6"/>
                  </a:lnTo>
                  <a:lnTo>
                    <a:pt x="10" y="11"/>
                  </a:lnTo>
                  <a:lnTo>
                    <a:pt x="6" y="17"/>
                  </a:lnTo>
                  <a:lnTo>
                    <a:pt x="3" y="27"/>
                  </a:lnTo>
                  <a:lnTo>
                    <a:pt x="2" y="36"/>
                  </a:lnTo>
                  <a:lnTo>
                    <a:pt x="0" y="45"/>
                  </a:lnTo>
                  <a:lnTo>
                    <a:pt x="0" y="55"/>
                  </a:lnTo>
                  <a:lnTo>
                    <a:pt x="2" y="59"/>
                  </a:lnTo>
                  <a:lnTo>
                    <a:pt x="3" y="61"/>
                  </a:lnTo>
                  <a:lnTo>
                    <a:pt x="4" y="64"/>
                  </a:lnTo>
                  <a:lnTo>
                    <a:pt x="7" y="65"/>
                  </a:lnTo>
                  <a:lnTo>
                    <a:pt x="14" y="68"/>
                  </a:lnTo>
                  <a:lnTo>
                    <a:pt x="19" y="72"/>
                  </a:lnTo>
                  <a:lnTo>
                    <a:pt x="26" y="59"/>
                  </a:lnTo>
                  <a:lnTo>
                    <a:pt x="35" y="40"/>
                  </a:lnTo>
                  <a:lnTo>
                    <a:pt x="39" y="32"/>
                  </a:lnTo>
                  <a:lnTo>
                    <a:pt x="43" y="25"/>
                  </a:lnTo>
                  <a:lnTo>
                    <a:pt x="44" y="20"/>
                  </a:lnTo>
                  <a:lnTo>
                    <a:pt x="43" y="1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4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8423275" y="3521075"/>
              <a:ext cx="26988" cy="88900"/>
            </a:xfrm>
            <a:custGeom>
              <a:avLst/>
              <a:gdLst/>
              <a:ahLst/>
              <a:cxnLst>
                <a:cxn ang="0">
                  <a:pos x="67" y="50"/>
                </a:cxn>
                <a:cxn ang="0">
                  <a:pos x="67" y="82"/>
                </a:cxn>
                <a:cxn ang="0">
                  <a:pos x="67" y="113"/>
                </a:cxn>
                <a:cxn ang="0">
                  <a:pos x="67" y="140"/>
                </a:cxn>
                <a:cxn ang="0">
                  <a:pos x="67" y="158"/>
                </a:cxn>
                <a:cxn ang="0">
                  <a:pos x="64" y="173"/>
                </a:cxn>
                <a:cxn ang="0">
                  <a:pos x="58" y="200"/>
                </a:cxn>
                <a:cxn ang="0">
                  <a:pos x="54" y="214"/>
                </a:cxn>
                <a:cxn ang="0">
                  <a:pos x="50" y="225"/>
                </a:cxn>
                <a:cxn ang="0">
                  <a:pos x="46" y="234"/>
                </a:cxn>
                <a:cxn ang="0">
                  <a:pos x="43" y="237"/>
                </a:cxn>
                <a:cxn ang="0">
                  <a:pos x="28" y="210"/>
                </a:cxn>
                <a:cxn ang="0">
                  <a:pos x="15" y="184"/>
                </a:cxn>
                <a:cxn ang="0">
                  <a:pos x="10" y="169"/>
                </a:cxn>
                <a:cxn ang="0">
                  <a:pos x="4" y="153"/>
                </a:cxn>
                <a:cxn ang="0">
                  <a:pos x="2" y="136"/>
                </a:cxn>
                <a:cxn ang="0">
                  <a:pos x="0" y="117"/>
                </a:cxn>
                <a:cxn ang="0">
                  <a:pos x="2" y="92"/>
                </a:cxn>
                <a:cxn ang="0">
                  <a:pos x="3" y="68"/>
                </a:cxn>
                <a:cxn ang="0">
                  <a:pos x="6" y="45"/>
                </a:cxn>
                <a:cxn ang="0">
                  <a:pos x="7" y="20"/>
                </a:cxn>
                <a:cxn ang="0">
                  <a:pos x="7" y="13"/>
                </a:cxn>
                <a:cxn ang="0">
                  <a:pos x="10" y="8"/>
                </a:cxn>
                <a:cxn ang="0">
                  <a:pos x="12" y="4"/>
                </a:cxn>
                <a:cxn ang="0">
                  <a:pos x="16" y="1"/>
                </a:cxn>
                <a:cxn ang="0">
                  <a:pos x="20" y="0"/>
                </a:cxn>
                <a:cxn ang="0">
                  <a:pos x="26" y="0"/>
                </a:cxn>
                <a:cxn ang="0">
                  <a:pos x="31" y="1"/>
                </a:cxn>
                <a:cxn ang="0">
                  <a:pos x="36" y="4"/>
                </a:cxn>
                <a:cxn ang="0">
                  <a:pos x="43" y="6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8" y="22"/>
                </a:cxn>
                <a:cxn ang="0">
                  <a:pos x="62" y="28"/>
                </a:cxn>
                <a:cxn ang="0">
                  <a:pos x="64" y="36"/>
                </a:cxn>
                <a:cxn ang="0">
                  <a:pos x="66" y="42"/>
                </a:cxn>
                <a:cxn ang="0">
                  <a:pos x="67" y="50"/>
                </a:cxn>
              </a:cxnLst>
              <a:rect l="0" t="0" r="r" b="b"/>
              <a:pathLst>
                <a:path w="67" h="237">
                  <a:moveTo>
                    <a:pt x="67" y="50"/>
                  </a:moveTo>
                  <a:lnTo>
                    <a:pt x="67" y="82"/>
                  </a:lnTo>
                  <a:lnTo>
                    <a:pt x="67" y="113"/>
                  </a:lnTo>
                  <a:lnTo>
                    <a:pt x="67" y="140"/>
                  </a:lnTo>
                  <a:lnTo>
                    <a:pt x="67" y="158"/>
                  </a:lnTo>
                  <a:lnTo>
                    <a:pt x="64" y="173"/>
                  </a:lnTo>
                  <a:lnTo>
                    <a:pt x="58" y="200"/>
                  </a:lnTo>
                  <a:lnTo>
                    <a:pt x="54" y="214"/>
                  </a:lnTo>
                  <a:lnTo>
                    <a:pt x="50" y="225"/>
                  </a:lnTo>
                  <a:lnTo>
                    <a:pt x="46" y="234"/>
                  </a:lnTo>
                  <a:lnTo>
                    <a:pt x="43" y="237"/>
                  </a:lnTo>
                  <a:lnTo>
                    <a:pt x="28" y="210"/>
                  </a:lnTo>
                  <a:lnTo>
                    <a:pt x="15" y="184"/>
                  </a:lnTo>
                  <a:lnTo>
                    <a:pt x="10" y="169"/>
                  </a:lnTo>
                  <a:lnTo>
                    <a:pt x="4" y="153"/>
                  </a:lnTo>
                  <a:lnTo>
                    <a:pt x="2" y="136"/>
                  </a:lnTo>
                  <a:lnTo>
                    <a:pt x="0" y="117"/>
                  </a:lnTo>
                  <a:lnTo>
                    <a:pt x="2" y="92"/>
                  </a:lnTo>
                  <a:lnTo>
                    <a:pt x="3" y="68"/>
                  </a:lnTo>
                  <a:lnTo>
                    <a:pt x="6" y="45"/>
                  </a:lnTo>
                  <a:lnTo>
                    <a:pt x="7" y="20"/>
                  </a:lnTo>
                  <a:lnTo>
                    <a:pt x="7" y="13"/>
                  </a:lnTo>
                  <a:lnTo>
                    <a:pt x="10" y="8"/>
                  </a:lnTo>
                  <a:lnTo>
                    <a:pt x="12" y="4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1" y="1"/>
                  </a:lnTo>
                  <a:lnTo>
                    <a:pt x="36" y="4"/>
                  </a:lnTo>
                  <a:lnTo>
                    <a:pt x="43" y="6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8" y="22"/>
                  </a:lnTo>
                  <a:lnTo>
                    <a:pt x="62" y="28"/>
                  </a:lnTo>
                  <a:lnTo>
                    <a:pt x="64" y="36"/>
                  </a:lnTo>
                  <a:lnTo>
                    <a:pt x="66" y="42"/>
                  </a:lnTo>
                  <a:lnTo>
                    <a:pt x="67" y="5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5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8434388" y="3379788"/>
              <a:ext cx="25400" cy="49212"/>
            </a:xfrm>
            <a:custGeom>
              <a:avLst/>
              <a:gdLst/>
              <a:ahLst/>
              <a:cxnLst>
                <a:cxn ang="0">
                  <a:pos x="31" y="120"/>
                </a:cxn>
                <a:cxn ang="0">
                  <a:pos x="31" y="84"/>
                </a:cxn>
                <a:cxn ang="0">
                  <a:pos x="30" y="78"/>
                </a:cxn>
                <a:cxn ang="0">
                  <a:pos x="26" y="71"/>
                </a:cxn>
                <a:cxn ang="0">
                  <a:pos x="22" y="66"/>
                </a:cxn>
                <a:cxn ang="0">
                  <a:pos x="16" y="59"/>
                </a:cxn>
                <a:cxn ang="0">
                  <a:pos x="10" y="51"/>
                </a:cxn>
                <a:cxn ang="0">
                  <a:pos x="6" y="43"/>
                </a:cxn>
                <a:cxn ang="0">
                  <a:pos x="2" y="35"/>
                </a:cxn>
                <a:cxn ang="0">
                  <a:pos x="0" y="24"/>
                </a:cxn>
                <a:cxn ang="0">
                  <a:pos x="2" y="19"/>
                </a:cxn>
                <a:cxn ang="0">
                  <a:pos x="3" y="15"/>
                </a:cxn>
                <a:cxn ang="0">
                  <a:pos x="4" y="11"/>
                </a:cxn>
                <a:cxn ang="0">
                  <a:pos x="7" y="7"/>
                </a:cxn>
                <a:cxn ang="0">
                  <a:pos x="14" y="2"/>
                </a:cxn>
                <a:cxn ang="0">
                  <a:pos x="19" y="0"/>
                </a:cxn>
                <a:cxn ang="0">
                  <a:pos x="32" y="20"/>
                </a:cxn>
                <a:cxn ang="0">
                  <a:pos x="47" y="42"/>
                </a:cxn>
                <a:cxn ang="0">
                  <a:pos x="52" y="54"/>
                </a:cxn>
                <a:cxn ang="0">
                  <a:pos x="56" y="67"/>
                </a:cxn>
                <a:cxn ang="0">
                  <a:pos x="60" y="83"/>
                </a:cxn>
                <a:cxn ang="0">
                  <a:pos x="60" y="101"/>
                </a:cxn>
                <a:cxn ang="0">
                  <a:pos x="60" y="115"/>
                </a:cxn>
                <a:cxn ang="0">
                  <a:pos x="59" y="124"/>
                </a:cxn>
                <a:cxn ang="0">
                  <a:pos x="58" y="127"/>
                </a:cxn>
                <a:cxn ang="0">
                  <a:pos x="56" y="129"/>
                </a:cxn>
                <a:cxn ang="0">
                  <a:pos x="52" y="132"/>
                </a:cxn>
                <a:cxn ang="0">
                  <a:pos x="48" y="132"/>
                </a:cxn>
                <a:cxn ang="0">
                  <a:pos x="38" y="127"/>
                </a:cxn>
                <a:cxn ang="0">
                  <a:pos x="31" y="120"/>
                </a:cxn>
              </a:cxnLst>
              <a:rect l="0" t="0" r="r" b="b"/>
              <a:pathLst>
                <a:path w="60" h="132">
                  <a:moveTo>
                    <a:pt x="31" y="120"/>
                  </a:moveTo>
                  <a:lnTo>
                    <a:pt x="31" y="84"/>
                  </a:lnTo>
                  <a:lnTo>
                    <a:pt x="30" y="78"/>
                  </a:lnTo>
                  <a:lnTo>
                    <a:pt x="26" y="71"/>
                  </a:lnTo>
                  <a:lnTo>
                    <a:pt x="22" y="66"/>
                  </a:lnTo>
                  <a:lnTo>
                    <a:pt x="16" y="59"/>
                  </a:lnTo>
                  <a:lnTo>
                    <a:pt x="10" y="51"/>
                  </a:lnTo>
                  <a:lnTo>
                    <a:pt x="6" y="43"/>
                  </a:lnTo>
                  <a:lnTo>
                    <a:pt x="2" y="35"/>
                  </a:lnTo>
                  <a:lnTo>
                    <a:pt x="0" y="24"/>
                  </a:lnTo>
                  <a:lnTo>
                    <a:pt x="2" y="19"/>
                  </a:lnTo>
                  <a:lnTo>
                    <a:pt x="3" y="15"/>
                  </a:lnTo>
                  <a:lnTo>
                    <a:pt x="4" y="11"/>
                  </a:lnTo>
                  <a:lnTo>
                    <a:pt x="7" y="7"/>
                  </a:lnTo>
                  <a:lnTo>
                    <a:pt x="14" y="2"/>
                  </a:lnTo>
                  <a:lnTo>
                    <a:pt x="19" y="0"/>
                  </a:lnTo>
                  <a:lnTo>
                    <a:pt x="32" y="20"/>
                  </a:lnTo>
                  <a:lnTo>
                    <a:pt x="47" y="42"/>
                  </a:lnTo>
                  <a:lnTo>
                    <a:pt x="52" y="54"/>
                  </a:lnTo>
                  <a:lnTo>
                    <a:pt x="56" y="67"/>
                  </a:lnTo>
                  <a:lnTo>
                    <a:pt x="60" y="83"/>
                  </a:lnTo>
                  <a:lnTo>
                    <a:pt x="60" y="101"/>
                  </a:lnTo>
                  <a:lnTo>
                    <a:pt x="60" y="115"/>
                  </a:lnTo>
                  <a:lnTo>
                    <a:pt x="59" y="124"/>
                  </a:lnTo>
                  <a:lnTo>
                    <a:pt x="58" y="127"/>
                  </a:lnTo>
                  <a:lnTo>
                    <a:pt x="56" y="129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38" y="127"/>
                  </a:lnTo>
                  <a:lnTo>
                    <a:pt x="31" y="12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6" name="Freeform 19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8431213" y="3346450"/>
              <a:ext cx="12700" cy="19050"/>
            </a:xfrm>
            <a:custGeom>
              <a:avLst/>
              <a:gdLst/>
              <a:ahLst/>
              <a:cxnLst>
                <a:cxn ang="0">
                  <a:pos x="17" y="49"/>
                </a:cxn>
                <a:cxn ang="0">
                  <a:pos x="13" y="48"/>
                </a:cxn>
                <a:cxn ang="0">
                  <a:pos x="9" y="48"/>
                </a:cxn>
                <a:cxn ang="0">
                  <a:pos x="7" y="47"/>
                </a:cxn>
                <a:cxn ang="0">
                  <a:pos x="4" y="44"/>
                </a:cxn>
                <a:cxn ang="0">
                  <a:pos x="3" y="41"/>
                </a:cxn>
                <a:cxn ang="0">
                  <a:pos x="1" y="39"/>
                </a:cxn>
                <a:cxn ang="0">
                  <a:pos x="0" y="35"/>
                </a:cxn>
                <a:cxn ang="0">
                  <a:pos x="0" y="31"/>
                </a:cxn>
                <a:cxn ang="0">
                  <a:pos x="0" y="20"/>
                </a:cxn>
                <a:cxn ang="0">
                  <a:pos x="0" y="13"/>
                </a:cxn>
                <a:cxn ang="0">
                  <a:pos x="3" y="8"/>
                </a:cxn>
                <a:cxn ang="0">
                  <a:pos x="5" y="0"/>
                </a:cxn>
                <a:cxn ang="0">
                  <a:pos x="15" y="7"/>
                </a:cxn>
                <a:cxn ang="0">
                  <a:pos x="24" y="12"/>
                </a:cxn>
                <a:cxn ang="0">
                  <a:pos x="24" y="29"/>
                </a:cxn>
                <a:cxn ang="0">
                  <a:pos x="24" y="43"/>
                </a:cxn>
                <a:cxn ang="0">
                  <a:pos x="17" y="49"/>
                </a:cxn>
              </a:cxnLst>
              <a:rect l="0" t="0" r="r" b="b"/>
              <a:pathLst>
                <a:path w="24" h="49">
                  <a:moveTo>
                    <a:pt x="17" y="49"/>
                  </a:moveTo>
                  <a:lnTo>
                    <a:pt x="13" y="48"/>
                  </a:lnTo>
                  <a:lnTo>
                    <a:pt x="9" y="48"/>
                  </a:lnTo>
                  <a:lnTo>
                    <a:pt x="7" y="47"/>
                  </a:lnTo>
                  <a:lnTo>
                    <a:pt x="4" y="44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5"/>
                  </a:lnTo>
                  <a:lnTo>
                    <a:pt x="0" y="31"/>
                  </a:lnTo>
                  <a:lnTo>
                    <a:pt x="0" y="20"/>
                  </a:lnTo>
                  <a:lnTo>
                    <a:pt x="0" y="13"/>
                  </a:lnTo>
                  <a:lnTo>
                    <a:pt x="3" y="8"/>
                  </a:lnTo>
                  <a:lnTo>
                    <a:pt x="5" y="0"/>
                  </a:lnTo>
                  <a:lnTo>
                    <a:pt x="15" y="7"/>
                  </a:lnTo>
                  <a:lnTo>
                    <a:pt x="24" y="12"/>
                  </a:lnTo>
                  <a:lnTo>
                    <a:pt x="24" y="29"/>
                  </a:lnTo>
                  <a:lnTo>
                    <a:pt x="24" y="43"/>
                  </a:lnTo>
                  <a:lnTo>
                    <a:pt x="17" y="4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7" name="Freeform 20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8426450" y="3298825"/>
              <a:ext cx="17463" cy="14288"/>
            </a:xfrm>
            <a:custGeom>
              <a:avLst/>
              <a:gdLst/>
              <a:ahLst/>
              <a:cxnLst>
                <a:cxn ang="0">
                  <a:pos x="29" y="19"/>
                </a:cxn>
                <a:cxn ang="0">
                  <a:pos x="15" y="9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0" y="24"/>
                </a:cxn>
                <a:cxn ang="0">
                  <a:pos x="0" y="29"/>
                </a:cxn>
                <a:cxn ang="0">
                  <a:pos x="4" y="36"/>
                </a:cxn>
                <a:cxn ang="0">
                  <a:pos x="7" y="40"/>
                </a:cxn>
                <a:cxn ang="0">
                  <a:pos x="12" y="43"/>
                </a:cxn>
                <a:cxn ang="0">
                  <a:pos x="17" y="40"/>
                </a:cxn>
                <a:cxn ang="0">
                  <a:pos x="24" y="36"/>
                </a:cxn>
                <a:cxn ang="0">
                  <a:pos x="31" y="29"/>
                </a:cxn>
                <a:cxn ang="0">
                  <a:pos x="36" y="24"/>
                </a:cxn>
                <a:cxn ang="0">
                  <a:pos x="33" y="21"/>
                </a:cxn>
                <a:cxn ang="0">
                  <a:pos x="29" y="19"/>
                </a:cxn>
              </a:cxnLst>
              <a:rect l="0" t="0" r="r" b="b"/>
              <a:pathLst>
                <a:path w="36" h="43">
                  <a:moveTo>
                    <a:pt x="29" y="19"/>
                  </a:moveTo>
                  <a:lnTo>
                    <a:pt x="15" y="9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4" y="36"/>
                  </a:lnTo>
                  <a:lnTo>
                    <a:pt x="7" y="40"/>
                  </a:lnTo>
                  <a:lnTo>
                    <a:pt x="12" y="43"/>
                  </a:lnTo>
                  <a:lnTo>
                    <a:pt x="17" y="40"/>
                  </a:lnTo>
                  <a:lnTo>
                    <a:pt x="24" y="36"/>
                  </a:lnTo>
                  <a:lnTo>
                    <a:pt x="31" y="29"/>
                  </a:lnTo>
                  <a:lnTo>
                    <a:pt x="36" y="24"/>
                  </a:lnTo>
                  <a:lnTo>
                    <a:pt x="33" y="21"/>
                  </a:lnTo>
                  <a:lnTo>
                    <a:pt x="29" y="1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8" name="Freeform 21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8407400" y="3268663"/>
              <a:ext cx="15875" cy="14287"/>
            </a:xfrm>
            <a:custGeom>
              <a:avLst/>
              <a:gdLst/>
              <a:ahLst/>
              <a:cxnLst>
                <a:cxn ang="0">
                  <a:pos x="19" y="36"/>
                </a:cxn>
                <a:cxn ang="0">
                  <a:pos x="10" y="31"/>
                </a:cxn>
                <a:cxn ang="0">
                  <a:pos x="0" y="24"/>
                </a:cxn>
                <a:cxn ang="0">
                  <a:pos x="0" y="0"/>
                </a:cxn>
                <a:cxn ang="0">
                  <a:pos x="7" y="2"/>
                </a:cxn>
                <a:cxn ang="0">
                  <a:pos x="12" y="3"/>
                </a:cxn>
                <a:cxn ang="0">
                  <a:pos x="18" y="6"/>
                </a:cxn>
                <a:cxn ang="0">
                  <a:pos x="23" y="8"/>
                </a:cxn>
                <a:cxn ang="0">
                  <a:pos x="31" y="16"/>
                </a:cxn>
                <a:cxn ang="0">
                  <a:pos x="36" y="24"/>
                </a:cxn>
                <a:cxn ang="0">
                  <a:pos x="27" y="31"/>
                </a:cxn>
                <a:cxn ang="0">
                  <a:pos x="19" y="36"/>
                </a:cxn>
              </a:cxnLst>
              <a:rect l="0" t="0" r="r" b="b"/>
              <a:pathLst>
                <a:path w="36" h="36">
                  <a:moveTo>
                    <a:pt x="19" y="36"/>
                  </a:moveTo>
                  <a:lnTo>
                    <a:pt x="10" y="31"/>
                  </a:lnTo>
                  <a:lnTo>
                    <a:pt x="0" y="24"/>
                  </a:lnTo>
                  <a:lnTo>
                    <a:pt x="0" y="0"/>
                  </a:lnTo>
                  <a:lnTo>
                    <a:pt x="7" y="2"/>
                  </a:lnTo>
                  <a:lnTo>
                    <a:pt x="12" y="3"/>
                  </a:lnTo>
                  <a:lnTo>
                    <a:pt x="18" y="6"/>
                  </a:lnTo>
                  <a:lnTo>
                    <a:pt x="23" y="8"/>
                  </a:lnTo>
                  <a:lnTo>
                    <a:pt x="31" y="16"/>
                  </a:lnTo>
                  <a:lnTo>
                    <a:pt x="36" y="24"/>
                  </a:lnTo>
                  <a:lnTo>
                    <a:pt x="27" y="31"/>
                  </a:lnTo>
                  <a:lnTo>
                    <a:pt x="19" y="3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59" name="Freeform 22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8380413" y="3184525"/>
              <a:ext cx="19050" cy="23813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6" y="0"/>
                </a:cxn>
                <a:cxn ang="0">
                  <a:pos x="10" y="4"/>
                </a:cxn>
                <a:cxn ang="0">
                  <a:pos x="6" y="8"/>
                </a:cxn>
                <a:cxn ang="0">
                  <a:pos x="4" y="13"/>
                </a:cxn>
                <a:cxn ang="0">
                  <a:pos x="1" y="25"/>
                </a:cxn>
                <a:cxn ang="0">
                  <a:pos x="0" y="35"/>
                </a:cxn>
                <a:cxn ang="0">
                  <a:pos x="1" y="43"/>
                </a:cxn>
                <a:cxn ang="0">
                  <a:pos x="2" y="50"/>
                </a:cxn>
                <a:cxn ang="0">
                  <a:pos x="5" y="55"/>
                </a:cxn>
                <a:cxn ang="0">
                  <a:pos x="8" y="59"/>
                </a:cxn>
                <a:cxn ang="0">
                  <a:pos x="12" y="62"/>
                </a:cxn>
                <a:cxn ang="0">
                  <a:pos x="16" y="63"/>
                </a:cxn>
                <a:cxn ang="0">
                  <a:pos x="20" y="65"/>
                </a:cxn>
                <a:cxn ang="0">
                  <a:pos x="24" y="65"/>
                </a:cxn>
                <a:cxn ang="0">
                  <a:pos x="29" y="63"/>
                </a:cxn>
                <a:cxn ang="0">
                  <a:pos x="32" y="61"/>
                </a:cxn>
                <a:cxn ang="0">
                  <a:pos x="36" y="57"/>
                </a:cxn>
                <a:cxn ang="0">
                  <a:pos x="38" y="53"/>
                </a:cxn>
                <a:cxn ang="0">
                  <a:pos x="41" y="42"/>
                </a:cxn>
                <a:cxn ang="0">
                  <a:pos x="42" y="35"/>
                </a:cxn>
                <a:cxn ang="0">
                  <a:pos x="42" y="18"/>
                </a:cxn>
                <a:cxn ang="0">
                  <a:pos x="42" y="12"/>
                </a:cxn>
                <a:cxn ang="0">
                  <a:pos x="38" y="6"/>
                </a:cxn>
                <a:cxn ang="0">
                  <a:pos x="33" y="2"/>
                </a:cxn>
                <a:cxn ang="0">
                  <a:pos x="29" y="0"/>
                </a:cxn>
                <a:cxn ang="0">
                  <a:pos x="24" y="0"/>
                </a:cxn>
              </a:cxnLst>
              <a:rect l="0" t="0" r="r" b="b"/>
              <a:pathLst>
                <a:path w="42" h="65">
                  <a:moveTo>
                    <a:pt x="24" y="0"/>
                  </a:moveTo>
                  <a:lnTo>
                    <a:pt x="16" y="0"/>
                  </a:lnTo>
                  <a:lnTo>
                    <a:pt x="10" y="4"/>
                  </a:lnTo>
                  <a:lnTo>
                    <a:pt x="6" y="8"/>
                  </a:lnTo>
                  <a:lnTo>
                    <a:pt x="4" y="13"/>
                  </a:lnTo>
                  <a:lnTo>
                    <a:pt x="1" y="25"/>
                  </a:lnTo>
                  <a:lnTo>
                    <a:pt x="0" y="35"/>
                  </a:lnTo>
                  <a:lnTo>
                    <a:pt x="1" y="43"/>
                  </a:lnTo>
                  <a:lnTo>
                    <a:pt x="2" y="50"/>
                  </a:lnTo>
                  <a:lnTo>
                    <a:pt x="5" y="55"/>
                  </a:lnTo>
                  <a:lnTo>
                    <a:pt x="8" y="59"/>
                  </a:lnTo>
                  <a:lnTo>
                    <a:pt x="12" y="62"/>
                  </a:lnTo>
                  <a:lnTo>
                    <a:pt x="16" y="63"/>
                  </a:lnTo>
                  <a:lnTo>
                    <a:pt x="20" y="65"/>
                  </a:lnTo>
                  <a:lnTo>
                    <a:pt x="24" y="65"/>
                  </a:lnTo>
                  <a:lnTo>
                    <a:pt x="29" y="63"/>
                  </a:lnTo>
                  <a:lnTo>
                    <a:pt x="32" y="61"/>
                  </a:lnTo>
                  <a:lnTo>
                    <a:pt x="36" y="57"/>
                  </a:lnTo>
                  <a:lnTo>
                    <a:pt x="38" y="53"/>
                  </a:lnTo>
                  <a:lnTo>
                    <a:pt x="41" y="42"/>
                  </a:lnTo>
                  <a:lnTo>
                    <a:pt x="42" y="35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38" y="6"/>
                  </a:lnTo>
                  <a:lnTo>
                    <a:pt x="33" y="2"/>
                  </a:lnTo>
                  <a:lnTo>
                    <a:pt x="29" y="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0" name="Freeform 23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8372475" y="3149600"/>
              <a:ext cx="14288" cy="11113"/>
            </a:xfrm>
            <a:custGeom>
              <a:avLst/>
              <a:gdLst/>
              <a:ahLst/>
              <a:cxnLst>
                <a:cxn ang="0">
                  <a:pos x="36" y="17"/>
                </a:cxn>
                <a:cxn ang="0">
                  <a:pos x="18" y="0"/>
                </a:cxn>
                <a:cxn ang="0">
                  <a:pos x="12" y="1"/>
                </a:cxn>
                <a:cxn ang="0">
                  <a:pos x="7" y="4"/>
                </a:cxn>
                <a:cxn ang="0">
                  <a:pos x="4" y="7"/>
                </a:cxn>
                <a:cxn ang="0">
                  <a:pos x="2" y="9"/>
                </a:cxn>
                <a:cxn ang="0">
                  <a:pos x="0" y="13"/>
                </a:cxn>
                <a:cxn ang="0">
                  <a:pos x="0" y="17"/>
                </a:cxn>
                <a:cxn ang="0">
                  <a:pos x="2" y="21"/>
                </a:cxn>
                <a:cxn ang="0">
                  <a:pos x="4" y="25"/>
                </a:cxn>
                <a:cxn ang="0">
                  <a:pos x="8" y="27"/>
                </a:cxn>
                <a:cxn ang="0">
                  <a:pos x="12" y="28"/>
                </a:cxn>
                <a:cxn ang="0">
                  <a:pos x="23" y="29"/>
                </a:cxn>
                <a:cxn ang="0">
                  <a:pos x="30" y="29"/>
                </a:cxn>
                <a:cxn ang="0">
                  <a:pos x="34" y="29"/>
                </a:cxn>
                <a:cxn ang="0">
                  <a:pos x="35" y="27"/>
                </a:cxn>
                <a:cxn ang="0">
                  <a:pos x="36" y="23"/>
                </a:cxn>
                <a:cxn ang="0">
                  <a:pos x="36" y="17"/>
                </a:cxn>
              </a:cxnLst>
              <a:rect l="0" t="0" r="r" b="b"/>
              <a:pathLst>
                <a:path w="36" h="29">
                  <a:moveTo>
                    <a:pt x="36" y="17"/>
                  </a:moveTo>
                  <a:lnTo>
                    <a:pt x="18" y="0"/>
                  </a:lnTo>
                  <a:lnTo>
                    <a:pt x="12" y="1"/>
                  </a:lnTo>
                  <a:lnTo>
                    <a:pt x="7" y="4"/>
                  </a:lnTo>
                  <a:lnTo>
                    <a:pt x="4" y="7"/>
                  </a:lnTo>
                  <a:lnTo>
                    <a:pt x="2" y="9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2" y="21"/>
                  </a:lnTo>
                  <a:lnTo>
                    <a:pt x="4" y="25"/>
                  </a:lnTo>
                  <a:lnTo>
                    <a:pt x="8" y="27"/>
                  </a:lnTo>
                  <a:lnTo>
                    <a:pt x="12" y="28"/>
                  </a:lnTo>
                  <a:lnTo>
                    <a:pt x="23" y="29"/>
                  </a:lnTo>
                  <a:lnTo>
                    <a:pt x="30" y="29"/>
                  </a:lnTo>
                  <a:lnTo>
                    <a:pt x="34" y="29"/>
                  </a:lnTo>
                  <a:lnTo>
                    <a:pt x="35" y="27"/>
                  </a:lnTo>
                  <a:lnTo>
                    <a:pt x="36" y="23"/>
                  </a:lnTo>
                  <a:lnTo>
                    <a:pt x="36" y="1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1" name="Freeform 24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8351838" y="3105150"/>
              <a:ext cx="30162" cy="31750"/>
            </a:xfrm>
            <a:custGeom>
              <a:avLst/>
              <a:gdLst/>
              <a:ahLst/>
              <a:cxnLst>
                <a:cxn ang="0">
                  <a:pos x="78" y="55"/>
                </a:cxn>
                <a:cxn ang="0">
                  <a:pos x="66" y="39"/>
                </a:cxn>
                <a:cxn ang="0">
                  <a:pos x="49" y="20"/>
                </a:cxn>
                <a:cxn ang="0">
                  <a:pos x="40" y="12"/>
                </a:cxn>
                <a:cxn ang="0">
                  <a:pos x="30" y="6"/>
                </a:cxn>
                <a:cxn ang="0">
                  <a:pos x="21" y="2"/>
                </a:cxn>
                <a:cxn ang="0">
                  <a:pos x="12" y="0"/>
                </a:cxn>
                <a:cxn ang="0">
                  <a:pos x="4" y="3"/>
                </a:cxn>
                <a:cxn ang="0">
                  <a:pos x="0" y="6"/>
                </a:cxn>
                <a:cxn ang="0">
                  <a:pos x="4" y="14"/>
                </a:cxn>
                <a:cxn ang="0">
                  <a:pos x="5" y="22"/>
                </a:cxn>
                <a:cxn ang="0">
                  <a:pos x="6" y="30"/>
                </a:cxn>
                <a:cxn ang="0">
                  <a:pos x="8" y="38"/>
                </a:cxn>
                <a:cxn ang="0">
                  <a:pos x="9" y="44"/>
                </a:cxn>
                <a:cxn ang="0">
                  <a:pos x="12" y="50"/>
                </a:cxn>
                <a:cxn ang="0">
                  <a:pos x="14" y="51"/>
                </a:cxn>
                <a:cxn ang="0">
                  <a:pos x="17" y="54"/>
                </a:cxn>
                <a:cxn ang="0">
                  <a:pos x="20" y="54"/>
                </a:cxn>
                <a:cxn ang="0">
                  <a:pos x="24" y="55"/>
                </a:cxn>
                <a:cxn ang="0">
                  <a:pos x="25" y="64"/>
                </a:cxn>
                <a:cxn ang="0">
                  <a:pos x="26" y="72"/>
                </a:cxn>
                <a:cxn ang="0">
                  <a:pos x="29" y="78"/>
                </a:cxn>
                <a:cxn ang="0">
                  <a:pos x="32" y="80"/>
                </a:cxn>
                <a:cxn ang="0">
                  <a:pos x="37" y="83"/>
                </a:cxn>
                <a:cxn ang="0">
                  <a:pos x="42" y="84"/>
                </a:cxn>
                <a:cxn ang="0">
                  <a:pos x="48" y="84"/>
                </a:cxn>
                <a:cxn ang="0">
                  <a:pos x="54" y="84"/>
                </a:cxn>
                <a:cxn ang="0">
                  <a:pos x="60" y="84"/>
                </a:cxn>
                <a:cxn ang="0">
                  <a:pos x="65" y="83"/>
                </a:cxn>
                <a:cxn ang="0">
                  <a:pos x="69" y="80"/>
                </a:cxn>
                <a:cxn ang="0">
                  <a:pos x="73" y="76"/>
                </a:cxn>
                <a:cxn ang="0">
                  <a:pos x="76" y="72"/>
                </a:cxn>
                <a:cxn ang="0">
                  <a:pos x="77" y="67"/>
                </a:cxn>
                <a:cxn ang="0">
                  <a:pos x="78" y="60"/>
                </a:cxn>
                <a:cxn ang="0">
                  <a:pos x="78" y="55"/>
                </a:cxn>
              </a:cxnLst>
              <a:rect l="0" t="0" r="r" b="b"/>
              <a:pathLst>
                <a:path w="78" h="84">
                  <a:moveTo>
                    <a:pt x="78" y="55"/>
                  </a:moveTo>
                  <a:lnTo>
                    <a:pt x="66" y="39"/>
                  </a:lnTo>
                  <a:lnTo>
                    <a:pt x="49" y="20"/>
                  </a:lnTo>
                  <a:lnTo>
                    <a:pt x="40" y="12"/>
                  </a:lnTo>
                  <a:lnTo>
                    <a:pt x="30" y="6"/>
                  </a:lnTo>
                  <a:lnTo>
                    <a:pt x="21" y="2"/>
                  </a:lnTo>
                  <a:lnTo>
                    <a:pt x="12" y="0"/>
                  </a:lnTo>
                  <a:lnTo>
                    <a:pt x="4" y="3"/>
                  </a:lnTo>
                  <a:lnTo>
                    <a:pt x="0" y="6"/>
                  </a:lnTo>
                  <a:lnTo>
                    <a:pt x="4" y="14"/>
                  </a:lnTo>
                  <a:lnTo>
                    <a:pt x="5" y="22"/>
                  </a:lnTo>
                  <a:lnTo>
                    <a:pt x="6" y="30"/>
                  </a:lnTo>
                  <a:lnTo>
                    <a:pt x="8" y="38"/>
                  </a:lnTo>
                  <a:lnTo>
                    <a:pt x="9" y="44"/>
                  </a:lnTo>
                  <a:lnTo>
                    <a:pt x="12" y="50"/>
                  </a:lnTo>
                  <a:lnTo>
                    <a:pt x="14" y="51"/>
                  </a:lnTo>
                  <a:lnTo>
                    <a:pt x="17" y="54"/>
                  </a:lnTo>
                  <a:lnTo>
                    <a:pt x="20" y="54"/>
                  </a:lnTo>
                  <a:lnTo>
                    <a:pt x="24" y="55"/>
                  </a:lnTo>
                  <a:lnTo>
                    <a:pt x="25" y="64"/>
                  </a:lnTo>
                  <a:lnTo>
                    <a:pt x="26" y="72"/>
                  </a:lnTo>
                  <a:lnTo>
                    <a:pt x="29" y="78"/>
                  </a:lnTo>
                  <a:lnTo>
                    <a:pt x="32" y="80"/>
                  </a:lnTo>
                  <a:lnTo>
                    <a:pt x="37" y="83"/>
                  </a:lnTo>
                  <a:lnTo>
                    <a:pt x="42" y="84"/>
                  </a:lnTo>
                  <a:lnTo>
                    <a:pt x="48" y="84"/>
                  </a:lnTo>
                  <a:lnTo>
                    <a:pt x="54" y="84"/>
                  </a:lnTo>
                  <a:lnTo>
                    <a:pt x="60" y="84"/>
                  </a:lnTo>
                  <a:lnTo>
                    <a:pt x="65" y="83"/>
                  </a:lnTo>
                  <a:lnTo>
                    <a:pt x="69" y="80"/>
                  </a:lnTo>
                  <a:lnTo>
                    <a:pt x="73" y="76"/>
                  </a:lnTo>
                  <a:lnTo>
                    <a:pt x="76" y="72"/>
                  </a:lnTo>
                  <a:lnTo>
                    <a:pt x="77" y="67"/>
                  </a:lnTo>
                  <a:lnTo>
                    <a:pt x="78" y="60"/>
                  </a:lnTo>
                  <a:lnTo>
                    <a:pt x="78" y="5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 25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310563" y="2986088"/>
              <a:ext cx="30162" cy="793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" y="7"/>
                </a:cxn>
                <a:cxn ang="0">
                  <a:pos x="37" y="14"/>
                </a:cxn>
                <a:cxn ang="0">
                  <a:pos x="43" y="14"/>
                </a:cxn>
                <a:cxn ang="0">
                  <a:pos x="48" y="15"/>
                </a:cxn>
                <a:cxn ang="0">
                  <a:pos x="52" y="18"/>
                </a:cxn>
                <a:cxn ang="0">
                  <a:pos x="55" y="22"/>
                </a:cxn>
                <a:cxn ang="0">
                  <a:pos x="57" y="30"/>
                </a:cxn>
                <a:cxn ang="0">
                  <a:pos x="59" y="42"/>
                </a:cxn>
                <a:cxn ang="0">
                  <a:pos x="60" y="55"/>
                </a:cxn>
                <a:cxn ang="0">
                  <a:pos x="63" y="68"/>
                </a:cxn>
                <a:cxn ang="0">
                  <a:pos x="64" y="76"/>
                </a:cxn>
                <a:cxn ang="0">
                  <a:pos x="65" y="83"/>
                </a:cxn>
                <a:cxn ang="0">
                  <a:pos x="69" y="91"/>
                </a:cxn>
                <a:cxn ang="0">
                  <a:pos x="73" y="98"/>
                </a:cxn>
                <a:cxn ang="0">
                  <a:pos x="73" y="126"/>
                </a:cxn>
                <a:cxn ang="0">
                  <a:pos x="73" y="152"/>
                </a:cxn>
                <a:cxn ang="0">
                  <a:pos x="73" y="176"/>
                </a:cxn>
                <a:cxn ang="0">
                  <a:pos x="73" y="194"/>
                </a:cxn>
                <a:cxn ang="0">
                  <a:pos x="72" y="200"/>
                </a:cxn>
                <a:cxn ang="0">
                  <a:pos x="68" y="208"/>
                </a:cxn>
                <a:cxn ang="0">
                  <a:pos x="64" y="212"/>
                </a:cxn>
                <a:cxn ang="0">
                  <a:pos x="60" y="215"/>
                </a:cxn>
                <a:cxn ang="0">
                  <a:pos x="55" y="218"/>
                </a:cxn>
                <a:cxn ang="0">
                  <a:pos x="49" y="218"/>
                </a:cxn>
                <a:cxn ang="0">
                  <a:pos x="43" y="216"/>
                </a:cxn>
                <a:cxn ang="0">
                  <a:pos x="36" y="212"/>
                </a:cxn>
                <a:cxn ang="0">
                  <a:pos x="28" y="206"/>
                </a:cxn>
                <a:cxn ang="0">
                  <a:pos x="20" y="198"/>
                </a:cxn>
                <a:cxn ang="0">
                  <a:pos x="12" y="188"/>
                </a:cxn>
                <a:cxn ang="0">
                  <a:pos x="7" y="180"/>
                </a:cxn>
                <a:cxn ang="0">
                  <a:pos x="3" y="171"/>
                </a:cxn>
                <a:cxn ang="0">
                  <a:pos x="0" y="163"/>
                </a:cxn>
                <a:cxn ang="0">
                  <a:pos x="1" y="154"/>
                </a:cxn>
                <a:cxn ang="0">
                  <a:pos x="4" y="144"/>
                </a:cxn>
                <a:cxn ang="0">
                  <a:pos x="7" y="138"/>
                </a:cxn>
                <a:cxn ang="0">
                  <a:pos x="9" y="131"/>
                </a:cxn>
                <a:cxn ang="0">
                  <a:pos x="13" y="126"/>
                </a:cxn>
                <a:cxn ang="0">
                  <a:pos x="16" y="119"/>
                </a:cxn>
                <a:cxn ang="0">
                  <a:pos x="17" y="112"/>
                </a:cxn>
                <a:cxn ang="0">
                  <a:pos x="19" y="103"/>
                </a:cxn>
                <a:cxn ang="0">
                  <a:pos x="17" y="91"/>
                </a:cxn>
                <a:cxn ang="0">
                  <a:pos x="16" y="83"/>
                </a:cxn>
                <a:cxn ang="0">
                  <a:pos x="13" y="76"/>
                </a:cxn>
                <a:cxn ang="0">
                  <a:pos x="9" y="71"/>
                </a:cxn>
                <a:cxn ang="0">
                  <a:pos x="7" y="66"/>
                </a:cxn>
                <a:cxn ang="0">
                  <a:pos x="4" y="60"/>
                </a:cxn>
                <a:cxn ang="0">
                  <a:pos x="1" y="52"/>
                </a:cxn>
                <a:cxn ang="0">
                  <a:pos x="0" y="43"/>
                </a:cxn>
                <a:cxn ang="0">
                  <a:pos x="0" y="38"/>
                </a:cxn>
                <a:cxn ang="0">
                  <a:pos x="0" y="24"/>
                </a:cxn>
                <a:cxn ang="0">
                  <a:pos x="0" y="10"/>
                </a:cxn>
                <a:cxn ang="0">
                  <a:pos x="0" y="0"/>
                </a:cxn>
              </a:cxnLst>
              <a:rect l="0" t="0" r="r" b="b"/>
              <a:pathLst>
                <a:path w="73" h="218">
                  <a:moveTo>
                    <a:pt x="0" y="0"/>
                  </a:moveTo>
                  <a:lnTo>
                    <a:pt x="21" y="7"/>
                  </a:lnTo>
                  <a:lnTo>
                    <a:pt x="37" y="14"/>
                  </a:lnTo>
                  <a:lnTo>
                    <a:pt x="43" y="14"/>
                  </a:lnTo>
                  <a:lnTo>
                    <a:pt x="48" y="15"/>
                  </a:lnTo>
                  <a:lnTo>
                    <a:pt x="52" y="18"/>
                  </a:lnTo>
                  <a:lnTo>
                    <a:pt x="55" y="22"/>
                  </a:lnTo>
                  <a:lnTo>
                    <a:pt x="57" y="30"/>
                  </a:lnTo>
                  <a:lnTo>
                    <a:pt x="59" y="42"/>
                  </a:lnTo>
                  <a:lnTo>
                    <a:pt x="60" y="55"/>
                  </a:lnTo>
                  <a:lnTo>
                    <a:pt x="63" y="68"/>
                  </a:lnTo>
                  <a:lnTo>
                    <a:pt x="64" y="76"/>
                  </a:lnTo>
                  <a:lnTo>
                    <a:pt x="65" y="83"/>
                  </a:lnTo>
                  <a:lnTo>
                    <a:pt x="69" y="91"/>
                  </a:lnTo>
                  <a:lnTo>
                    <a:pt x="73" y="98"/>
                  </a:lnTo>
                  <a:lnTo>
                    <a:pt x="73" y="126"/>
                  </a:lnTo>
                  <a:lnTo>
                    <a:pt x="73" y="152"/>
                  </a:lnTo>
                  <a:lnTo>
                    <a:pt x="73" y="176"/>
                  </a:lnTo>
                  <a:lnTo>
                    <a:pt x="73" y="194"/>
                  </a:lnTo>
                  <a:lnTo>
                    <a:pt x="72" y="200"/>
                  </a:lnTo>
                  <a:lnTo>
                    <a:pt x="68" y="208"/>
                  </a:lnTo>
                  <a:lnTo>
                    <a:pt x="64" y="212"/>
                  </a:lnTo>
                  <a:lnTo>
                    <a:pt x="60" y="215"/>
                  </a:lnTo>
                  <a:lnTo>
                    <a:pt x="55" y="218"/>
                  </a:lnTo>
                  <a:lnTo>
                    <a:pt x="49" y="218"/>
                  </a:lnTo>
                  <a:lnTo>
                    <a:pt x="43" y="216"/>
                  </a:lnTo>
                  <a:lnTo>
                    <a:pt x="36" y="212"/>
                  </a:lnTo>
                  <a:lnTo>
                    <a:pt x="28" y="206"/>
                  </a:lnTo>
                  <a:lnTo>
                    <a:pt x="20" y="198"/>
                  </a:lnTo>
                  <a:lnTo>
                    <a:pt x="12" y="188"/>
                  </a:lnTo>
                  <a:lnTo>
                    <a:pt x="7" y="180"/>
                  </a:lnTo>
                  <a:lnTo>
                    <a:pt x="3" y="171"/>
                  </a:lnTo>
                  <a:lnTo>
                    <a:pt x="0" y="163"/>
                  </a:lnTo>
                  <a:lnTo>
                    <a:pt x="1" y="154"/>
                  </a:lnTo>
                  <a:lnTo>
                    <a:pt x="4" y="144"/>
                  </a:lnTo>
                  <a:lnTo>
                    <a:pt x="7" y="138"/>
                  </a:lnTo>
                  <a:lnTo>
                    <a:pt x="9" y="131"/>
                  </a:lnTo>
                  <a:lnTo>
                    <a:pt x="13" y="126"/>
                  </a:lnTo>
                  <a:lnTo>
                    <a:pt x="16" y="119"/>
                  </a:lnTo>
                  <a:lnTo>
                    <a:pt x="17" y="112"/>
                  </a:lnTo>
                  <a:lnTo>
                    <a:pt x="19" y="103"/>
                  </a:lnTo>
                  <a:lnTo>
                    <a:pt x="17" y="91"/>
                  </a:lnTo>
                  <a:lnTo>
                    <a:pt x="16" y="83"/>
                  </a:lnTo>
                  <a:lnTo>
                    <a:pt x="13" y="76"/>
                  </a:lnTo>
                  <a:lnTo>
                    <a:pt x="9" y="71"/>
                  </a:lnTo>
                  <a:lnTo>
                    <a:pt x="7" y="66"/>
                  </a:lnTo>
                  <a:lnTo>
                    <a:pt x="4" y="60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0" y="24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 26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308975" y="2957513"/>
              <a:ext cx="26988" cy="20637"/>
            </a:xfrm>
            <a:custGeom>
              <a:avLst/>
              <a:gdLst/>
              <a:ahLst/>
              <a:cxnLst>
                <a:cxn ang="0">
                  <a:pos x="29" y="12"/>
                </a:cxn>
                <a:cxn ang="0">
                  <a:pos x="18" y="11"/>
                </a:cxn>
                <a:cxn ang="0">
                  <a:pos x="12" y="8"/>
                </a:cxn>
                <a:cxn ang="0">
                  <a:pos x="6" y="4"/>
                </a:cxn>
                <a:cxn ang="0">
                  <a:pos x="0" y="0"/>
                </a:cxn>
                <a:cxn ang="0">
                  <a:pos x="0" y="23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1" y="44"/>
                </a:cxn>
                <a:cxn ang="0">
                  <a:pos x="4" y="49"/>
                </a:cxn>
                <a:cxn ang="0">
                  <a:pos x="8" y="52"/>
                </a:cxn>
                <a:cxn ang="0">
                  <a:pos x="12" y="56"/>
                </a:cxn>
                <a:cxn ang="0">
                  <a:pos x="17" y="57"/>
                </a:cxn>
                <a:cxn ang="0">
                  <a:pos x="24" y="60"/>
                </a:cxn>
                <a:cxn ang="0">
                  <a:pos x="29" y="60"/>
                </a:cxn>
                <a:cxn ang="0">
                  <a:pos x="38" y="60"/>
                </a:cxn>
                <a:cxn ang="0">
                  <a:pos x="45" y="59"/>
                </a:cxn>
                <a:cxn ang="0">
                  <a:pos x="50" y="57"/>
                </a:cxn>
                <a:cxn ang="0">
                  <a:pos x="54" y="55"/>
                </a:cxn>
                <a:cxn ang="0">
                  <a:pos x="58" y="52"/>
                </a:cxn>
                <a:cxn ang="0">
                  <a:pos x="61" y="47"/>
                </a:cxn>
                <a:cxn ang="0">
                  <a:pos x="64" y="43"/>
                </a:cxn>
                <a:cxn ang="0">
                  <a:pos x="66" y="36"/>
                </a:cxn>
                <a:cxn ang="0">
                  <a:pos x="29" y="12"/>
                </a:cxn>
              </a:cxnLst>
              <a:rect l="0" t="0" r="r" b="b"/>
              <a:pathLst>
                <a:path w="66" h="60">
                  <a:moveTo>
                    <a:pt x="29" y="12"/>
                  </a:moveTo>
                  <a:lnTo>
                    <a:pt x="18" y="11"/>
                  </a:lnTo>
                  <a:lnTo>
                    <a:pt x="12" y="8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1" y="44"/>
                  </a:lnTo>
                  <a:lnTo>
                    <a:pt x="4" y="49"/>
                  </a:lnTo>
                  <a:lnTo>
                    <a:pt x="8" y="52"/>
                  </a:lnTo>
                  <a:lnTo>
                    <a:pt x="12" y="56"/>
                  </a:lnTo>
                  <a:lnTo>
                    <a:pt x="17" y="57"/>
                  </a:lnTo>
                  <a:lnTo>
                    <a:pt x="24" y="60"/>
                  </a:lnTo>
                  <a:lnTo>
                    <a:pt x="29" y="60"/>
                  </a:lnTo>
                  <a:lnTo>
                    <a:pt x="38" y="60"/>
                  </a:lnTo>
                  <a:lnTo>
                    <a:pt x="45" y="59"/>
                  </a:lnTo>
                  <a:lnTo>
                    <a:pt x="50" y="57"/>
                  </a:lnTo>
                  <a:lnTo>
                    <a:pt x="54" y="55"/>
                  </a:lnTo>
                  <a:lnTo>
                    <a:pt x="58" y="52"/>
                  </a:lnTo>
                  <a:lnTo>
                    <a:pt x="61" y="47"/>
                  </a:lnTo>
                  <a:lnTo>
                    <a:pt x="64" y="43"/>
                  </a:lnTo>
                  <a:lnTo>
                    <a:pt x="66" y="36"/>
                  </a:lnTo>
                  <a:lnTo>
                    <a:pt x="29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 27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8267700" y="2995613"/>
              <a:ext cx="20638" cy="19050"/>
            </a:xfrm>
            <a:custGeom>
              <a:avLst/>
              <a:gdLst/>
              <a:ahLst/>
              <a:cxnLst>
                <a:cxn ang="0">
                  <a:pos x="53" y="5"/>
                </a:cxn>
                <a:cxn ang="0">
                  <a:pos x="36" y="2"/>
                </a:cxn>
                <a:cxn ang="0">
                  <a:pos x="24" y="0"/>
                </a:cxn>
                <a:cxn ang="0">
                  <a:pos x="17" y="2"/>
                </a:cxn>
                <a:cxn ang="0">
                  <a:pos x="9" y="9"/>
                </a:cxn>
                <a:cxn ang="0">
                  <a:pos x="5" y="14"/>
                </a:cxn>
                <a:cxn ang="0">
                  <a:pos x="3" y="20"/>
                </a:cxn>
                <a:cxn ang="0">
                  <a:pos x="0" y="25"/>
                </a:cxn>
                <a:cxn ang="0">
                  <a:pos x="0" y="29"/>
                </a:cxn>
                <a:cxn ang="0">
                  <a:pos x="1" y="32"/>
                </a:cxn>
                <a:cxn ang="0">
                  <a:pos x="4" y="34"/>
                </a:cxn>
                <a:cxn ang="0">
                  <a:pos x="9" y="37"/>
                </a:cxn>
                <a:cxn ang="0">
                  <a:pos x="15" y="41"/>
                </a:cxn>
                <a:cxn ang="0">
                  <a:pos x="28" y="45"/>
                </a:cxn>
                <a:cxn ang="0">
                  <a:pos x="36" y="48"/>
                </a:cxn>
                <a:cxn ang="0">
                  <a:pos x="44" y="48"/>
                </a:cxn>
                <a:cxn ang="0">
                  <a:pos x="53" y="48"/>
                </a:cxn>
                <a:cxn ang="0">
                  <a:pos x="53" y="37"/>
                </a:cxn>
                <a:cxn ang="0">
                  <a:pos x="53" y="29"/>
                </a:cxn>
                <a:cxn ang="0">
                  <a:pos x="53" y="20"/>
                </a:cxn>
                <a:cxn ang="0">
                  <a:pos x="53" y="5"/>
                </a:cxn>
              </a:cxnLst>
              <a:rect l="0" t="0" r="r" b="b"/>
              <a:pathLst>
                <a:path w="53" h="48">
                  <a:moveTo>
                    <a:pt x="53" y="5"/>
                  </a:moveTo>
                  <a:lnTo>
                    <a:pt x="36" y="2"/>
                  </a:lnTo>
                  <a:lnTo>
                    <a:pt x="24" y="0"/>
                  </a:lnTo>
                  <a:lnTo>
                    <a:pt x="17" y="2"/>
                  </a:lnTo>
                  <a:lnTo>
                    <a:pt x="9" y="9"/>
                  </a:lnTo>
                  <a:lnTo>
                    <a:pt x="5" y="14"/>
                  </a:lnTo>
                  <a:lnTo>
                    <a:pt x="3" y="20"/>
                  </a:lnTo>
                  <a:lnTo>
                    <a:pt x="0" y="25"/>
                  </a:lnTo>
                  <a:lnTo>
                    <a:pt x="0" y="29"/>
                  </a:lnTo>
                  <a:lnTo>
                    <a:pt x="1" y="32"/>
                  </a:lnTo>
                  <a:lnTo>
                    <a:pt x="4" y="34"/>
                  </a:lnTo>
                  <a:lnTo>
                    <a:pt x="9" y="37"/>
                  </a:lnTo>
                  <a:lnTo>
                    <a:pt x="15" y="41"/>
                  </a:lnTo>
                  <a:lnTo>
                    <a:pt x="28" y="45"/>
                  </a:lnTo>
                  <a:lnTo>
                    <a:pt x="36" y="48"/>
                  </a:lnTo>
                  <a:lnTo>
                    <a:pt x="44" y="48"/>
                  </a:lnTo>
                  <a:lnTo>
                    <a:pt x="53" y="48"/>
                  </a:lnTo>
                  <a:lnTo>
                    <a:pt x="53" y="37"/>
                  </a:lnTo>
                  <a:lnTo>
                    <a:pt x="53" y="29"/>
                  </a:lnTo>
                  <a:lnTo>
                    <a:pt x="53" y="20"/>
                  </a:lnTo>
                  <a:lnTo>
                    <a:pt x="53" y="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5" name="Freeform 28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8232775" y="2270125"/>
              <a:ext cx="61913" cy="25400"/>
            </a:xfrm>
            <a:custGeom>
              <a:avLst/>
              <a:gdLst/>
              <a:ahLst/>
              <a:cxnLst>
                <a:cxn ang="0">
                  <a:pos x="108" y="17"/>
                </a:cxn>
                <a:cxn ang="0">
                  <a:pos x="86" y="17"/>
                </a:cxn>
                <a:cxn ang="0">
                  <a:pos x="62" y="16"/>
                </a:cxn>
                <a:cxn ang="0">
                  <a:pos x="51" y="13"/>
                </a:cxn>
                <a:cxn ang="0">
                  <a:pos x="40" y="11"/>
                </a:cxn>
                <a:cxn ang="0">
                  <a:pos x="32" y="5"/>
                </a:cxn>
                <a:cxn ang="0">
                  <a:pos x="24" y="0"/>
                </a:cxn>
                <a:cxn ang="0">
                  <a:pos x="19" y="1"/>
                </a:cxn>
                <a:cxn ang="0">
                  <a:pos x="15" y="4"/>
                </a:cxn>
                <a:cxn ang="0">
                  <a:pos x="12" y="7"/>
                </a:cxn>
                <a:cxn ang="0">
                  <a:pos x="10" y="9"/>
                </a:cxn>
                <a:cxn ang="0">
                  <a:pos x="7" y="16"/>
                </a:cxn>
                <a:cxn ang="0">
                  <a:pos x="0" y="24"/>
                </a:cxn>
                <a:cxn ang="0">
                  <a:pos x="0" y="60"/>
                </a:cxn>
                <a:cxn ang="0">
                  <a:pos x="11" y="61"/>
                </a:cxn>
                <a:cxn ang="0">
                  <a:pos x="22" y="63"/>
                </a:cxn>
                <a:cxn ang="0">
                  <a:pos x="31" y="63"/>
                </a:cxn>
                <a:cxn ang="0">
                  <a:pos x="42" y="63"/>
                </a:cxn>
                <a:cxn ang="0">
                  <a:pos x="68" y="61"/>
                </a:cxn>
                <a:cxn ang="0">
                  <a:pos x="103" y="60"/>
                </a:cxn>
                <a:cxn ang="0">
                  <a:pos x="115" y="59"/>
                </a:cxn>
                <a:cxn ang="0">
                  <a:pos x="123" y="57"/>
                </a:cxn>
                <a:cxn ang="0">
                  <a:pos x="130" y="53"/>
                </a:cxn>
                <a:cxn ang="0">
                  <a:pos x="135" y="48"/>
                </a:cxn>
                <a:cxn ang="0">
                  <a:pos x="140" y="35"/>
                </a:cxn>
                <a:cxn ang="0">
                  <a:pos x="144" y="17"/>
                </a:cxn>
                <a:cxn ang="0">
                  <a:pos x="127" y="17"/>
                </a:cxn>
                <a:cxn ang="0">
                  <a:pos x="108" y="17"/>
                </a:cxn>
              </a:cxnLst>
              <a:rect l="0" t="0" r="r" b="b"/>
              <a:pathLst>
                <a:path w="144" h="63">
                  <a:moveTo>
                    <a:pt x="108" y="17"/>
                  </a:moveTo>
                  <a:lnTo>
                    <a:pt x="86" y="17"/>
                  </a:lnTo>
                  <a:lnTo>
                    <a:pt x="62" y="16"/>
                  </a:lnTo>
                  <a:lnTo>
                    <a:pt x="51" y="13"/>
                  </a:lnTo>
                  <a:lnTo>
                    <a:pt x="40" y="11"/>
                  </a:lnTo>
                  <a:lnTo>
                    <a:pt x="32" y="5"/>
                  </a:lnTo>
                  <a:lnTo>
                    <a:pt x="24" y="0"/>
                  </a:lnTo>
                  <a:lnTo>
                    <a:pt x="19" y="1"/>
                  </a:lnTo>
                  <a:lnTo>
                    <a:pt x="15" y="4"/>
                  </a:lnTo>
                  <a:lnTo>
                    <a:pt x="12" y="7"/>
                  </a:lnTo>
                  <a:lnTo>
                    <a:pt x="10" y="9"/>
                  </a:lnTo>
                  <a:lnTo>
                    <a:pt x="7" y="16"/>
                  </a:lnTo>
                  <a:lnTo>
                    <a:pt x="0" y="24"/>
                  </a:lnTo>
                  <a:lnTo>
                    <a:pt x="0" y="60"/>
                  </a:lnTo>
                  <a:lnTo>
                    <a:pt x="11" y="61"/>
                  </a:lnTo>
                  <a:lnTo>
                    <a:pt x="22" y="63"/>
                  </a:lnTo>
                  <a:lnTo>
                    <a:pt x="31" y="63"/>
                  </a:lnTo>
                  <a:lnTo>
                    <a:pt x="42" y="63"/>
                  </a:lnTo>
                  <a:lnTo>
                    <a:pt x="68" y="61"/>
                  </a:lnTo>
                  <a:lnTo>
                    <a:pt x="103" y="60"/>
                  </a:lnTo>
                  <a:lnTo>
                    <a:pt x="115" y="59"/>
                  </a:lnTo>
                  <a:lnTo>
                    <a:pt x="123" y="57"/>
                  </a:lnTo>
                  <a:lnTo>
                    <a:pt x="130" y="53"/>
                  </a:lnTo>
                  <a:lnTo>
                    <a:pt x="135" y="48"/>
                  </a:lnTo>
                  <a:lnTo>
                    <a:pt x="140" y="35"/>
                  </a:lnTo>
                  <a:lnTo>
                    <a:pt x="144" y="17"/>
                  </a:lnTo>
                  <a:lnTo>
                    <a:pt x="127" y="17"/>
                  </a:lnTo>
                  <a:lnTo>
                    <a:pt x="108" y="1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6" name="Freeform 29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8320088" y="2220913"/>
              <a:ext cx="46037" cy="22225"/>
            </a:xfrm>
            <a:custGeom>
              <a:avLst/>
              <a:gdLst/>
              <a:ahLst/>
              <a:cxnLst>
                <a:cxn ang="0">
                  <a:pos x="42" y="54"/>
                </a:cxn>
                <a:cxn ang="0">
                  <a:pos x="12" y="60"/>
                </a:cxn>
                <a:cxn ang="0">
                  <a:pos x="5" y="49"/>
                </a:cxn>
                <a:cxn ang="0">
                  <a:pos x="0" y="42"/>
                </a:cxn>
                <a:cxn ang="0">
                  <a:pos x="1" y="33"/>
                </a:cxn>
                <a:cxn ang="0">
                  <a:pos x="5" y="25"/>
                </a:cxn>
                <a:cxn ang="0">
                  <a:pos x="12" y="18"/>
                </a:cxn>
                <a:cxn ang="0">
                  <a:pos x="20" y="12"/>
                </a:cxn>
                <a:cxn ang="0">
                  <a:pos x="29" y="8"/>
                </a:cxn>
                <a:cxn ang="0">
                  <a:pos x="40" y="4"/>
                </a:cxn>
                <a:cxn ang="0">
                  <a:pos x="53" y="1"/>
                </a:cxn>
                <a:cxn ang="0">
                  <a:pos x="66" y="0"/>
                </a:cxn>
                <a:cxn ang="0">
                  <a:pos x="80" y="1"/>
                </a:cxn>
                <a:cxn ang="0">
                  <a:pos x="92" y="2"/>
                </a:cxn>
                <a:cxn ang="0">
                  <a:pos x="97" y="5"/>
                </a:cxn>
                <a:cxn ang="0">
                  <a:pos x="101" y="8"/>
                </a:cxn>
                <a:cxn ang="0">
                  <a:pos x="105" y="12"/>
                </a:cxn>
                <a:cxn ang="0">
                  <a:pos x="108" y="18"/>
                </a:cxn>
                <a:cxn ang="0">
                  <a:pos x="96" y="25"/>
                </a:cxn>
                <a:cxn ang="0">
                  <a:pos x="86" y="28"/>
                </a:cxn>
                <a:cxn ang="0">
                  <a:pos x="82" y="30"/>
                </a:cxn>
                <a:cxn ang="0">
                  <a:pos x="80" y="33"/>
                </a:cxn>
                <a:cxn ang="0">
                  <a:pos x="78" y="37"/>
                </a:cxn>
                <a:cxn ang="0">
                  <a:pos x="78" y="42"/>
                </a:cxn>
                <a:cxn ang="0">
                  <a:pos x="42" y="54"/>
                </a:cxn>
              </a:cxnLst>
              <a:rect l="0" t="0" r="r" b="b"/>
              <a:pathLst>
                <a:path w="108" h="60">
                  <a:moveTo>
                    <a:pt x="42" y="54"/>
                  </a:moveTo>
                  <a:lnTo>
                    <a:pt x="12" y="60"/>
                  </a:lnTo>
                  <a:lnTo>
                    <a:pt x="5" y="49"/>
                  </a:lnTo>
                  <a:lnTo>
                    <a:pt x="0" y="42"/>
                  </a:lnTo>
                  <a:lnTo>
                    <a:pt x="1" y="33"/>
                  </a:lnTo>
                  <a:lnTo>
                    <a:pt x="5" y="25"/>
                  </a:lnTo>
                  <a:lnTo>
                    <a:pt x="12" y="18"/>
                  </a:lnTo>
                  <a:lnTo>
                    <a:pt x="20" y="12"/>
                  </a:lnTo>
                  <a:lnTo>
                    <a:pt x="29" y="8"/>
                  </a:lnTo>
                  <a:lnTo>
                    <a:pt x="40" y="4"/>
                  </a:lnTo>
                  <a:lnTo>
                    <a:pt x="53" y="1"/>
                  </a:lnTo>
                  <a:lnTo>
                    <a:pt x="66" y="0"/>
                  </a:lnTo>
                  <a:lnTo>
                    <a:pt x="80" y="1"/>
                  </a:lnTo>
                  <a:lnTo>
                    <a:pt x="92" y="2"/>
                  </a:lnTo>
                  <a:lnTo>
                    <a:pt x="97" y="5"/>
                  </a:lnTo>
                  <a:lnTo>
                    <a:pt x="101" y="8"/>
                  </a:lnTo>
                  <a:lnTo>
                    <a:pt x="105" y="12"/>
                  </a:lnTo>
                  <a:lnTo>
                    <a:pt x="108" y="18"/>
                  </a:lnTo>
                  <a:lnTo>
                    <a:pt x="96" y="25"/>
                  </a:lnTo>
                  <a:lnTo>
                    <a:pt x="86" y="28"/>
                  </a:lnTo>
                  <a:lnTo>
                    <a:pt x="82" y="30"/>
                  </a:lnTo>
                  <a:lnTo>
                    <a:pt x="80" y="33"/>
                  </a:lnTo>
                  <a:lnTo>
                    <a:pt x="78" y="37"/>
                  </a:lnTo>
                  <a:lnTo>
                    <a:pt x="78" y="42"/>
                  </a:lnTo>
                  <a:lnTo>
                    <a:pt x="42" y="5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7" name="Freeform 30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7462838" y="3321050"/>
              <a:ext cx="52387" cy="34925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37" y="5"/>
                </a:cxn>
                <a:cxn ang="0">
                  <a:pos x="25" y="10"/>
                </a:cxn>
                <a:cxn ang="0">
                  <a:pos x="16" y="16"/>
                </a:cxn>
                <a:cxn ang="0">
                  <a:pos x="9" y="22"/>
                </a:cxn>
                <a:cxn ang="0">
                  <a:pos x="6" y="25"/>
                </a:cxn>
                <a:cxn ang="0">
                  <a:pos x="4" y="29"/>
                </a:cxn>
                <a:cxn ang="0">
                  <a:pos x="2" y="34"/>
                </a:cxn>
                <a:cxn ang="0">
                  <a:pos x="1" y="40"/>
                </a:cxn>
                <a:cxn ang="0">
                  <a:pos x="0" y="53"/>
                </a:cxn>
                <a:cxn ang="0">
                  <a:pos x="0" y="72"/>
                </a:cxn>
                <a:cxn ang="0">
                  <a:pos x="44" y="81"/>
                </a:cxn>
                <a:cxn ang="0">
                  <a:pos x="74" y="86"/>
                </a:cxn>
                <a:cxn ang="0">
                  <a:pos x="81" y="86"/>
                </a:cxn>
                <a:cxn ang="0">
                  <a:pos x="86" y="85"/>
                </a:cxn>
                <a:cxn ang="0">
                  <a:pos x="93" y="84"/>
                </a:cxn>
                <a:cxn ang="0">
                  <a:pos x="98" y="81"/>
                </a:cxn>
                <a:cxn ang="0">
                  <a:pos x="105" y="77"/>
                </a:cxn>
                <a:cxn ang="0">
                  <a:pos x="112" y="73"/>
                </a:cxn>
                <a:cxn ang="0">
                  <a:pos x="118" y="66"/>
                </a:cxn>
                <a:cxn ang="0">
                  <a:pos x="126" y="60"/>
                </a:cxn>
                <a:cxn ang="0">
                  <a:pos x="108" y="44"/>
                </a:cxn>
                <a:cxn ang="0">
                  <a:pos x="88" y="32"/>
                </a:cxn>
                <a:cxn ang="0">
                  <a:pos x="78" y="25"/>
                </a:cxn>
                <a:cxn ang="0">
                  <a:pos x="69" y="18"/>
                </a:cxn>
                <a:cxn ang="0">
                  <a:pos x="61" y="9"/>
                </a:cxn>
                <a:cxn ang="0">
                  <a:pos x="54" y="0"/>
                </a:cxn>
              </a:cxnLst>
              <a:rect l="0" t="0" r="r" b="b"/>
              <a:pathLst>
                <a:path w="126" h="86">
                  <a:moveTo>
                    <a:pt x="54" y="0"/>
                  </a:moveTo>
                  <a:lnTo>
                    <a:pt x="37" y="5"/>
                  </a:lnTo>
                  <a:lnTo>
                    <a:pt x="25" y="10"/>
                  </a:lnTo>
                  <a:lnTo>
                    <a:pt x="16" y="16"/>
                  </a:lnTo>
                  <a:lnTo>
                    <a:pt x="9" y="22"/>
                  </a:lnTo>
                  <a:lnTo>
                    <a:pt x="6" y="25"/>
                  </a:lnTo>
                  <a:lnTo>
                    <a:pt x="4" y="29"/>
                  </a:lnTo>
                  <a:lnTo>
                    <a:pt x="2" y="34"/>
                  </a:lnTo>
                  <a:lnTo>
                    <a:pt x="1" y="40"/>
                  </a:lnTo>
                  <a:lnTo>
                    <a:pt x="0" y="53"/>
                  </a:lnTo>
                  <a:lnTo>
                    <a:pt x="0" y="72"/>
                  </a:lnTo>
                  <a:lnTo>
                    <a:pt x="44" y="81"/>
                  </a:lnTo>
                  <a:lnTo>
                    <a:pt x="74" y="86"/>
                  </a:lnTo>
                  <a:lnTo>
                    <a:pt x="81" y="86"/>
                  </a:lnTo>
                  <a:lnTo>
                    <a:pt x="86" y="85"/>
                  </a:lnTo>
                  <a:lnTo>
                    <a:pt x="93" y="84"/>
                  </a:lnTo>
                  <a:lnTo>
                    <a:pt x="98" y="81"/>
                  </a:lnTo>
                  <a:lnTo>
                    <a:pt x="105" y="77"/>
                  </a:lnTo>
                  <a:lnTo>
                    <a:pt x="112" y="73"/>
                  </a:lnTo>
                  <a:lnTo>
                    <a:pt x="118" y="66"/>
                  </a:lnTo>
                  <a:lnTo>
                    <a:pt x="126" y="60"/>
                  </a:lnTo>
                  <a:lnTo>
                    <a:pt x="108" y="44"/>
                  </a:lnTo>
                  <a:lnTo>
                    <a:pt x="88" y="32"/>
                  </a:lnTo>
                  <a:lnTo>
                    <a:pt x="78" y="25"/>
                  </a:lnTo>
                  <a:lnTo>
                    <a:pt x="69" y="18"/>
                  </a:lnTo>
                  <a:lnTo>
                    <a:pt x="61" y="9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 31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7839075" y="2176463"/>
              <a:ext cx="36513" cy="79375"/>
            </a:xfrm>
            <a:custGeom>
              <a:avLst/>
              <a:gdLst/>
              <a:ahLst/>
              <a:cxnLst>
                <a:cxn ang="0">
                  <a:pos x="18" y="120"/>
                </a:cxn>
                <a:cxn ang="0">
                  <a:pos x="6" y="48"/>
                </a:cxn>
                <a:cxn ang="0">
                  <a:pos x="4" y="48"/>
                </a:cxn>
                <a:cxn ang="0">
                  <a:pos x="2" y="46"/>
                </a:cxn>
                <a:cxn ang="0">
                  <a:pos x="2" y="44"/>
                </a:cxn>
                <a:cxn ang="0">
                  <a:pos x="0" y="40"/>
                </a:cxn>
                <a:cxn ang="0">
                  <a:pos x="0" y="33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2" y="14"/>
                </a:cxn>
                <a:cxn ang="0">
                  <a:pos x="4" y="10"/>
                </a:cxn>
                <a:cxn ang="0">
                  <a:pos x="7" y="8"/>
                </a:cxn>
                <a:cxn ang="0">
                  <a:pos x="12" y="2"/>
                </a:cxn>
                <a:cxn ang="0">
                  <a:pos x="18" y="0"/>
                </a:cxn>
                <a:cxn ang="0">
                  <a:pos x="66" y="24"/>
                </a:cxn>
                <a:cxn ang="0">
                  <a:pos x="66" y="44"/>
                </a:cxn>
                <a:cxn ang="0">
                  <a:pos x="66" y="58"/>
                </a:cxn>
                <a:cxn ang="0">
                  <a:pos x="66" y="72"/>
                </a:cxn>
                <a:cxn ang="0">
                  <a:pos x="66" y="84"/>
                </a:cxn>
                <a:cxn ang="0">
                  <a:pos x="67" y="98"/>
                </a:cxn>
                <a:cxn ang="0">
                  <a:pos x="70" y="116"/>
                </a:cxn>
                <a:cxn ang="0">
                  <a:pos x="74" y="133"/>
                </a:cxn>
                <a:cxn ang="0">
                  <a:pos x="78" y="152"/>
                </a:cxn>
                <a:cxn ang="0">
                  <a:pos x="82" y="169"/>
                </a:cxn>
                <a:cxn ang="0">
                  <a:pos x="84" y="185"/>
                </a:cxn>
                <a:cxn ang="0">
                  <a:pos x="86" y="200"/>
                </a:cxn>
                <a:cxn ang="0">
                  <a:pos x="84" y="210"/>
                </a:cxn>
                <a:cxn ang="0">
                  <a:pos x="79" y="209"/>
                </a:cxn>
                <a:cxn ang="0">
                  <a:pos x="75" y="202"/>
                </a:cxn>
                <a:cxn ang="0">
                  <a:pos x="71" y="196"/>
                </a:cxn>
                <a:cxn ang="0">
                  <a:pos x="66" y="186"/>
                </a:cxn>
                <a:cxn ang="0">
                  <a:pos x="64" y="181"/>
                </a:cxn>
                <a:cxn ang="0">
                  <a:pos x="62" y="176"/>
                </a:cxn>
                <a:cxn ang="0">
                  <a:pos x="59" y="172"/>
                </a:cxn>
                <a:cxn ang="0">
                  <a:pos x="56" y="166"/>
                </a:cxn>
                <a:cxn ang="0">
                  <a:pos x="48" y="158"/>
                </a:cxn>
                <a:cxn ang="0">
                  <a:pos x="40" y="150"/>
                </a:cxn>
                <a:cxn ang="0">
                  <a:pos x="31" y="144"/>
                </a:cxn>
                <a:cxn ang="0">
                  <a:pos x="24" y="137"/>
                </a:cxn>
                <a:cxn ang="0">
                  <a:pos x="22" y="133"/>
                </a:cxn>
                <a:cxn ang="0">
                  <a:pos x="20" y="129"/>
                </a:cxn>
                <a:cxn ang="0">
                  <a:pos x="19" y="125"/>
                </a:cxn>
                <a:cxn ang="0">
                  <a:pos x="18" y="120"/>
                </a:cxn>
              </a:cxnLst>
              <a:rect l="0" t="0" r="r" b="b"/>
              <a:pathLst>
                <a:path w="86" h="210">
                  <a:moveTo>
                    <a:pt x="18" y="120"/>
                  </a:moveTo>
                  <a:lnTo>
                    <a:pt x="6" y="48"/>
                  </a:lnTo>
                  <a:lnTo>
                    <a:pt x="4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0" y="40"/>
                  </a:lnTo>
                  <a:lnTo>
                    <a:pt x="0" y="33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2" y="14"/>
                  </a:lnTo>
                  <a:lnTo>
                    <a:pt x="4" y="10"/>
                  </a:lnTo>
                  <a:lnTo>
                    <a:pt x="7" y="8"/>
                  </a:lnTo>
                  <a:lnTo>
                    <a:pt x="12" y="2"/>
                  </a:lnTo>
                  <a:lnTo>
                    <a:pt x="18" y="0"/>
                  </a:lnTo>
                  <a:lnTo>
                    <a:pt x="66" y="24"/>
                  </a:lnTo>
                  <a:lnTo>
                    <a:pt x="66" y="44"/>
                  </a:lnTo>
                  <a:lnTo>
                    <a:pt x="66" y="58"/>
                  </a:lnTo>
                  <a:lnTo>
                    <a:pt x="66" y="72"/>
                  </a:lnTo>
                  <a:lnTo>
                    <a:pt x="66" y="84"/>
                  </a:lnTo>
                  <a:lnTo>
                    <a:pt x="67" y="98"/>
                  </a:lnTo>
                  <a:lnTo>
                    <a:pt x="70" y="116"/>
                  </a:lnTo>
                  <a:lnTo>
                    <a:pt x="74" y="133"/>
                  </a:lnTo>
                  <a:lnTo>
                    <a:pt x="78" y="152"/>
                  </a:lnTo>
                  <a:lnTo>
                    <a:pt x="82" y="169"/>
                  </a:lnTo>
                  <a:lnTo>
                    <a:pt x="84" y="185"/>
                  </a:lnTo>
                  <a:lnTo>
                    <a:pt x="86" y="200"/>
                  </a:lnTo>
                  <a:lnTo>
                    <a:pt x="84" y="210"/>
                  </a:lnTo>
                  <a:lnTo>
                    <a:pt x="79" y="209"/>
                  </a:lnTo>
                  <a:lnTo>
                    <a:pt x="75" y="202"/>
                  </a:lnTo>
                  <a:lnTo>
                    <a:pt x="71" y="196"/>
                  </a:lnTo>
                  <a:lnTo>
                    <a:pt x="66" y="186"/>
                  </a:lnTo>
                  <a:lnTo>
                    <a:pt x="64" y="181"/>
                  </a:lnTo>
                  <a:lnTo>
                    <a:pt x="62" y="176"/>
                  </a:lnTo>
                  <a:lnTo>
                    <a:pt x="59" y="172"/>
                  </a:lnTo>
                  <a:lnTo>
                    <a:pt x="56" y="166"/>
                  </a:lnTo>
                  <a:lnTo>
                    <a:pt x="48" y="158"/>
                  </a:lnTo>
                  <a:lnTo>
                    <a:pt x="40" y="150"/>
                  </a:lnTo>
                  <a:lnTo>
                    <a:pt x="31" y="144"/>
                  </a:lnTo>
                  <a:lnTo>
                    <a:pt x="24" y="137"/>
                  </a:lnTo>
                  <a:lnTo>
                    <a:pt x="22" y="133"/>
                  </a:lnTo>
                  <a:lnTo>
                    <a:pt x="20" y="129"/>
                  </a:lnTo>
                  <a:lnTo>
                    <a:pt x="19" y="125"/>
                  </a:lnTo>
                  <a:lnTo>
                    <a:pt x="18" y="12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9" name="Freeform 32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2779713" y="3336925"/>
              <a:ext cx="533400" cy="566738"/>
            </a:xfrm>
            <a:custGeom>
              <a:avLst/>
              <a:gdLst/>
              <a:ahLst/>
              <a:cxnLst>
                <a:cxn ang="0">
                  <a:pos x="745" y="200"/>
                </a:cxn>
                <a:cxn ang="0">
                  <a:pos x="635" y="406"/>
                </a:cxn>
                <a:cxn ang="0">
                  <a:pos x="566" y="462"/>
                </a:cxn>
                <a:cxn ang="0">
                  <a:pos x="487" y="490"/>
                </a:cxn>
                <a:cxn ang="0">
                  <a:pos x="464" y="541"/>
                </a:cxn>
                <a:cxn ang="0">
                  <a:pos x="490" y="602"/>
                </a:cxn>
                <a:cxn ang="0">
                  <a:pos x="500" y="644"/>
                </a:cxn>
                <a:cxn ang="0">
                  <a:pos x="476" y="682"/>
                </a:cxn>
                <a:cxn ang="0">
                  <a:pos x="466" y="717"/>
                </a:cxn>
                <a:cxn ang="0">
                  <a:pos x="487" y="757"/>
                </a:cxn>
                <a:cxn ang="0">
                  <a:pos x="472" y="809"/>
                </a:cxn>
                <a:cxn ang="0">
                  <a:pos x="422" y="841"/>
                </a:cxn>
                <a:cxn ang="0">
                  <a:pos x="344" y="858"/>
                </a:cxn>
                <a:cxn ang="0">
                  <a:pos x="326" y="915"/>
                </a:cxn>
                <a:cxn ang="0">
                  <a:pos x="286" y="943"/>
                </a:cxn>
                <a:cxn ang="0">
                  <a:pos x="215" y="939"/>
                </a:cxn>
                <a:cxn ang="0">
                  <a:pos x="168" y="1002"/>
                </a:cxn>
                <a:cxn ang="0">
                  <a:pos x="112" y="1037"/>
                </a:cxn>
                <a:cxn ang="0">
                  <a:pos x="62" y="1050"/>
                </a:cxn>
                <a:cxn ang="0">
                  <a:pos x="16" y="1117"/>
                </a:cxn>
                <a:cxn ang="0">
                  <a:pos x="2" y="1190"/>
                </a:cxn>
                <a:cxn ang="0">
                  <a:pos x="54" y="1251"/>
                </a:cxn>
                <a:cxn ang="0">
                  <a:pos x="139" y="1299"/>
                </a:cxn>
                <a:cxn ang="0">
                  <a:pos x="200" y="1294"/>
                </a:cxn>
                <a:cxn ang="0">
                  <a:pos x="256" y="1295"/>
                </a:cxn>
                <a:cxn ang="0">
                  <a:pos x="326" y="1338"/>
                </a:cxn>
                <a:cxn ang="0">
                  <a:pos x="390" y="1391"/>
                </a:cxn>
                <a:cxn ang="0">
                  <a:pos x="476" y="1398"/>
                </a:cxn>
                <a:cxn ang="0">
                  <a:pos x="519" y="1423"/>
                </a:cxn>
                <a:cxn ang="0">
                  <a:pos x="560" y="1456"/>
                </a:cxn>
                <a:cxn ang="0">
                  <a:pos x="606" y="1444"/>
                </a:cxn>
                <a:cxn ang="0">
                  <a:pos x="644" y="1415"/>
                </a:cxn>
                <a:cxn ang="0">
                  <a:pos x="733" y="1446"/>
                </a:cxn>
                <a:cxn ang="0">
                  <a:pos x="847" y="1511"/>
                </a:cxn>
                <a:cxn ang="0">
                  <a:pos x="884" y="1498"/>
                </a:cxn>
                <a:cxn ang="0">
                  <a:pos x="923" y="1470"/>
                </a:cxn>
                <a:cxn ang="0">
                  <a:pos x="969" y="1482"/>
                </a:cxn>
                <a:cxn ang="0">
                  <a:pos x="1008" y="1466"/>
                </a:cxn>
                <a:cxn ang="0">
                  <a:pos x="1000" y="1387"/>
                </a:cxn>
                <a:cxn ang="0">
                  <a:pos x="1055" y="1281"/>
                </a:cxn>
                <a:cxn ang="0">
                  <a:pos x="1225" y="1231"/>
                </a:cxn>
                <a:cxn ang="0">
                  <a:pos x="1231" y="1027"/>
                </a:cxn>
                <a:cxn ang="0">
                  <a:pos x="1195" y="902"/>
                </a:cxn>
                <a:cxn ang="0">
                  <a:pos x="1104" y="851"/>
                </a:cxn>
                <a:cxn ang="0">
                  <a:pos x="1077" y="801"/>
                </a:cxn>
                <a:cxn ang="0">
                  <a:pos x="1091" y="712"/>
                </a:cxn>
                <a:cxn ang="0">
                  <a:pos x="1081" y="557"/>
                </a:cxn>
                <a:cxn ang="0">
                  <a:pos x="1076" y="438"/>
                </a:cxn>
                <a:cxn ang="0">
                  <a:pos x="1091" y="368"/>
                </a:cxn>
                <a:cxn ang="0">
                  <a:pos x="1071" y="314"/>
                </a:cxn>
                <a:cxn ang="0">
                  <a:pos x="1000" y="205"/>
                </a:cxn>
                <a:cxn ang="0">
                  <a:pos x="904" y="109"/>
                </a:cxn>
                <a:cxn ang="0">
                  <a:pos x="853" y="21"/>
                </a:cxn>
              </a:cxnLst>
              <a:rect l="0" t="0" r="r" b="b"/>
              <a:pathLst>
                <a:path w="1241" h="1511">
                  <a:moveTo>
                    <a:pt x="832" y="12"/>
                  </a:moveTo>
                  <a:lnTo>
                    <a:pt x="816" y="49"/>
                  </a:lnTo>
                  <a:lnTo>
                    <a:pt x="799" y="87"/>
                  </a:lnTo>
                  <a:lnTo>
                    <a:pt x="781" y="124"/>
                  </a:lnTo>
                  <a:lnTo>
                    <a:pt x="764" y="163"/>
                  </a:lnTo>
                  <a:lnTo>
                    <a:pt x="745" y="200"/>
                  </a:lnTo>
                  <a:lnTo>
                    <a:pt x="727" y="237"/>
                  </a:lnTo>
                  <a:lnTo>
                    <a:pt x="707" y="273"/>
                  </a:lnTo>
                  <a:lnTo>
                    <a:pt x="687" y="308"/>
                  </a:lnTo>
                  <a:lnTo>
                    <a:pt x="667" y="350"/>
                  </a:lnTo>
                  <a:lnTo>
                    <a:pt x="646" y="389"/>
                  </a:lnTo>
                  <a:lnTo>
                    <a:pt x="635" y="406"/>
                  </a:lnTo>
                  <a:lnTo>
                    <a:pt x="622" y="422"/>
                  </a:lnTo>
                  <a:lnTo>
                    <a:pt x="608" y="438"/>
                  </a:lnTo>
                  <a:lnTo>
                    <a:pt x="591" y="452"/>
                  </a:lnTo>
                  <a:lnTo>
                    <a:pt x="583" y="456"/>
                  </a:lnTo>
                  <a:lnTo>
                    <a:pt x="575" y="460"/>
                  </a:lnTo>
                  <a:lnTo>
                    <a:pt x="566" y="462"/>
                  </a:lnTo>
                  <a:lnTo>
                    <a:pt x="556" y="466"/>
                  </a:lnTo>
                  <a:lnTo>
                    <a:pt x="535" y="472"/>
                  </a:lnTo>
                  <a:lnTo>
                    <a:pt x="514" y="477"/>
                  </a:lnTo>
                  <a:lnTo>
                    <a:pt x="504" y="481"/>
                  </a:lnTo>
                  <a:lnTo>
                    <a:pt x="495" y="485"/>
                  </a:lnTo>
                  <a:lnTo>
                    <a:pt x="487" y="490"/>
                  </a:lnTo>
                  <a:lnTo>
                    <a:pt x="479" y="496"/>
                  </a:lnTo>
                  <a:lnTo>
                    <a:pt x="474" y="502"/>
                  </a:lnTo>
                  <a:lnTo>
                    <a:pt x="468" y="510"/>
                  </a:lnTo>
                  <a:lnTo>
                    <a:pt x="466" y="520"/>
                  </a:lnTo>
                  <a:lnTo>
                    <a:pt x="464" y="530"/>
                  </a:lnTo>
                  <a:lnTo>
                    <a:pt x="464" y="541"/>
                  </a:lnTo>
                  <a:lnTo>
                    <a:pt x="466" y="550"/>
                  </a:lnTo>
                  <a:lnTo>
                    <a:pt x="468" y="558"/>
                  </a:lnTo>
                  <a:lnTo>
                    <a:pt x="470" y="566"/>
                  </a:lnTo>
                  <a:lnTo>
                    <a:pt x="476" y="580"/>
                  </a:lnTo>
                  <a:lnTo>
                    <a:pt x="483" y="592"/>
                  </a:lnTo>
                  <a:lnTo>
                    <a:pt x="490" y="602"/>
                  </a:lnTo>
                  <a:lnTo>
                    <a:pt x="495" y="613"/>
                  </a:lnTo>
                  <a:lnTo>
                    <a:pt x="498" y="618"/>
                  </a:lnTo>
                  <a:lnTo>
                    <a:pt x="499" y="625"/>
                  </a:lnTo>
                  <a:lnTo>
                    <a:pt x="500" y="632"/>
                  </a:lnTo>
                  <a:lnTo>
                    <a:pt x="500" y="638"/>
                  </a:lnTo>
                  <a:lnTo>
                    <a:pt x="500" y="644"/>
                  </a:lnTo>
                  <a:lnTo>
                    <a:pt x="499" y="649"/>
                  </a:lnTo>
                  <a:lnTo>
                    <a:pt x="498" y="654"/>
                  </a:lnTo>
                  <a:lnTo>
                    <a:pt x="495" y="658"/>
                  </a:lnTo>
                  <a:lnTo>
                    <a:pt x="490" y="666"/>
                  </a:lnTo>
                  <a:lnTo>
                    <a:pt x="483" y="674"/>
                  </a:lnTo>
                  <a:lnTo>
                    <a:pt x="476" y="682"/>
                  </a:lnTo>
                  <a:lnTo>
                    <a:pt x="470" y="692"/>
                  </a:lnTo>
                  <a:lnTo>
                    <a:pt x="468" y="696"/>
                  </a:lnTo>
                  <a:lnTo>
                    <a:pt x="466" y="701"/>
                  </a:lnTo>
                  <a:lnTo>
                    <a:pt x="464" y="705"/>
                  </a:lnTo>
                  <a:lnTo>
                    <a:pt x="464" y="710"/>
                  </a:lnTo>
                  <a:lnTo>
                    <a:pt x="466" y="717"/>
                  </a:lnTo>
                  <a:lnTo>
                    <a:pt x="468" y="724"/>
                  </a:lnTo>
                  <a:lnTo>
                    <a:pt x="472" y="730"/>
                  </a:lnTo>
                  <a:lnTo>
                    <a:pt x="476" y="736"/>
                  </a:lnTo>
                  <a:lnTo>
                    <a:pt x="480" y="742"/>
                  </a:lnTo>
                  <a:lnTo>
                    <a:pt x="484" y="749"/>
                  </a:lnTo>
                  <a:lnTo>
                    <a:pt x="487" y="757"/>
                  </a:lnTo>
                  <a:lnTo>
                    <a:pt x="488" y="765"/>
                  </a:lnTo>
                  <a:lnTo>
                    <a:pt x="488" y="776"/>
                  </a:lnTo>
                  <a:lnTo>
                    <a:pt x="486" y="785"/>
                  </a:lnTo>
                  <a:lnTo>
                    <a:pt x="482" y="793"/>
                  </a:lnTo>
                  <a:lnTo>
                    <a:pt x="478" y="801"/>
                  </a:lnTo>
                  <a:lnTo>
                    <a:pt x="472" y="809"/>
                  </a:lnTo>
                  <a:lnTo>
                    <a:pt x="466" y="815"/>
                  </a:lnTo>
                  <a:lnTo>
                    <a:pt x="458" y="822"/>
                  </a:lnTo>
                  <a:lnTo>
                    <a:pt x="450" y="827"/>
                  </a:lnTo>
                  <a:lnTo>
                    <a:pt x="440" y="833"/>
                  </a:lnTo>
                  <a:lnTo>
                    <a:pt x="431" y="837"/>
                  </a:lnTo>
                  <a:lnTo>
                    <a:pt x="422" y="841"/>
                  </a:lnTo>
                  <a:lnTo>
                    <a:pt x="412" y="843"/>
                  </a:lnTo>
                  <a:lnTo>
                    <a:pt x="392" y="847"/>
                  </a:lnTo>
                  <a:lnTo>
                    <a:pt x="374" y="849"/>
                  </a:lnTo>
                  <a:lnTo>
                    <a:pt x="362" y="850"/>
                  </a:lnTo>
                  <a:lnTo>
                    <a:pt x="352" y="853"/>
                  </a:lnTo>
                  <a:lnTo>
                    <a:pt x="344" y="858"/>
                  </a:lnTo>
                  <a:lnTo>
                    <a:pt x="339" y="865"/>
                  </a:lnTo>
                  <a:lnTo>
                    <a:pt x="335" y="871"/>
                  </a:lnTo>
                  <a:lnTo>
                    <a:pt x="332" y="879"/>
                  </a:lnTo>
                  <a:lnTo>
                    <a:pt x="330" y="889"/>
                  </a:lnTo>
                  <a:lnTo>
                    <a:pt x="328" y="898"/>
                  </a:lnTo>
                  <a:lnTo>
                    <a:pt x="326" y="915"/>
                  </a:lnTo>
                  <a:lnTo>
                    <a:pt x="320" y="930"/>
                  </a:lnTo>
                  <a:lnTo>
                    <a:pt x="318" y="937"/>
                  </a:lnTo>
                  <a:lnTo>
                    <a:pt x="312" y="942"/>
                  </a:lnTo>
                  <a:lnTo>
                    <a:pt x="304" y="945"/>
                  </a:lnTo>
                  <a:lnTo>
                    <a:pt x="296" y="946"/>
                  </a:lnTo>
                  <a:lnTo>
                    <a:pt x="286" y="943"/>
                  </a:lnTo>
                  <a:lnTo>
                    <a:pt x="274" y="939"/>
                  </a:lnTo>
                  <a:lnTo>
                    <a:pt x="259" y="935"/>
                  </a:lnTo>
                  <a:lnTo>
                    <a:pt x="242" y="934"/>
                  </a:lnTo>
                  <a:lnTo>
                    <a:pt x="232" y="934"/>
                  </a:lnTo>
                  <a:lnTo>
                    <a:pt x="223" y="937"/>
                  </a:lnTo>
                  <a:lnTo>
                    <a:pt x="215" y="939"/>
                  </a:lnTo>
                  <a:lnTo>
                    <a:pt x="208" y="945"/>
                  </a:lnTo>
                  <a:lnTo>
                    <a:pt x="202" y="950"/>
                  </a:lnTo>
                  <a:lnTo>
                    <a:pt x="195" y="957"/>
                  </a:lnTo>
                  <a:lnTo>
                    <a:pt x="190" y="963"/>
                  </a:lnTo>
                  <a:lnTo>
                    <a:pt x="186" y="970"/>
                  </a:lnTo>
                  <a:lnTo>
                    <a:pt x="168" y="1002"/>
                  </a:lnTo>
                  <a:lnTo>
                    <a:pt x="151" y="1030"/>
                  </a:lnTo>
                  <a:lnTo>
                    <a:pt x="144" y="1035"/>
                  </a:lnTo>
                  <a:lnTo>
                    <a:pt x="136" y="1038"/>
                  </a:lnTo>
                  <a:lnTo>
                    <a:pt x="128" y="1038"/>
                  </a:lnTo>
                  <a:lnTo>
                    <a:pt x="120" y="1038"/>
                  </a:lnTo>
                  <a:lnTo>
                    <a:pt x="112" y="1037"/>
                  </a:lnTo>
                  <a:lnTo>
                    <a:pt x="103" y="1035"/>
                  </a:lnTo>
                  <a:lnTo>
                    <a:pt x="94" y="1034"/>
                  </a:lnTo>
                  <a:lnTo>
                    <a:pt x="86" y="1035"/>
                  </a:lnTo>
                  <a:lnTo>
                    <a:pt x="78" y="1039"/>
                  </a:lnTo>
                  <a:lnTo>
                    <a:pt x="70" y="1043"/>
                  </a:lnTo>
                  <a:lnTo>
                    <a:pt x="62" y="1050"/>
                  </a:lnTo>
                  <a:lnTo>
                    <a:pt x="54" y="1057"/>
                  </a:lnTo>
                  <a:lnTo>
                    <a:pt x="47" y="1065"/>
                  </a:lnTo>
                  <a:lnTo>
                    <a:pt x="40" y="1074"/>
                  </a:lnTo>
                  <a:lnTo>
                    <a:pt x="34" y="1085"/>
                  </a:lnTo>
                  <a:lnTo>
                    <a:pt x="27" y="1094"/>
                  </a:lnTo>
                  <a:lnTo>
                    <a:pt x="16" y="1117"/>
                  </a:lnTo>
                  <a:lnTo>
                    <a:pt x="8" y="1139"/>
                  </a:lnTo>
                  <a:lnTo>
                    <a:pt x="4" y="1150"/>
                  </a:lnTo>
                  <a:lnTo>
                    <a:pt x="3" y="1161"/>
                  </a:lnTo>
                  <a:lnTo>
                    <a:pt x="2" y="1171"/>
                  </a:lnTo>
                  <a:lnTo>
                    <a:pt x="0" y="1181"/>
                  </a:lnTo>
                  <a:lnTo>
                    <a:pt x="2" y="1190"/>
                  </a:lnTo>
                  <a:lnTo>
                    <a:pt x="6" y="1199"/>
                  </a:lnTo>
                  <a:lnTo>
                    <a:pt x="12" y="1210"/>
                  </a:lnTo>
                  <a:lnTo>
                    <a:pt x="20" y="1221"/>
                  </a:lnTo>
                  <a:lnTo>
                    <a:pt x="30" y="1231"/>
                  </a:lnTo>
                  <a:lnTo>
                    <a:pt x="42" y="1242"/>
                  </a:lnTo>
                  <a:lnTo>
                    <a:pt x="54" y="1251"/>
                  </a:lnTo>
                  <a:lnTo>
                    <a:pt x="68" y="1262"/>
                  </a:lnTo>
                  <a:lnTo>
                    <a:pt x="82" y="1271"/>
                  </a:lnTo>
                  <a:lnTo>
                    <a:pt x="96" y="1279"/>
                  </a:lnTo>
                  <a:lnTo>
                    <a:pt x="111" y="1287"/>
                  </a:lnTo>
                  <a:lnTo>
                    <a:pt x="126" y="1294"/>
                  </a:lnTo>
                  <a:lnTo>
                    <a:pt x="139" y="1299"/>
                  </a:lnTo>
                  <a:lnTo>
                    <a:pt x="152" y="1303"/>
                  </a:lnTo>
                  <a:lnTo>
                    <a:pt x="164" y="1306"/>
                  </a:lnTo>
                  <a:lnTo>
                    <a:pt x="175" y="1307"/>
                  </a:lnTo>
                  <a:lnTo>
                    <a:pt x="184" y="1305"/>
                  </a:lnTo>
                  <a:lnTo>
                    <a:pt x="195" y="1298"/>
                  </a:lnTo>
                  <a:lnTo>
                    <a:pt x="200" y="1294"/>
                  </a:lnTo>
                  <a:lnTo>
                    <a:pt x="207" y="1291"/>
                  </a:lnTo>
                  <a:lnTo>
                    <a:pt x="215" y="1290"/>
                  </a:lnTo>
                  <a:lnTo>
                    <a:pt x="223" y="1289"/>
                  </a:lnTo>
                  <a:lnTo>
                    <a:pt x="235" y="1290"/>
                  </a:lnTo>
                  <a:lnTo>
                    <a:pt x="246" y="1291"/>
                  </a:lnTo>
                  <a:lnTo>
                    <a:pt x="256" y="1295"/>
                  </a:lnTo>
                  <a:lnTo>
                    <a:pt x="267" y="1299"/>
                  </a:lnTo>
                  <a:lnTo>
                    <a:pt x="278" y="1303"/>
                  </a:lnTo>
                  <a:lnTo>
                    <a:pt x="288" y="1310"/>
                  </a:lnTo>
                  <a:lnTo>
                    <a:pt x="298" y="1315"/>
                  </a:lnTo>
                  <a:lnTo>
                    <a:pt x="307" y="1323"/>
                  </a:lnTo>
                  <a:lnTo>
                    <a:pt x="326" y="1338"/>
                  </a:lnTo>
                  <a:lnTo>
                    <a:pt x="342" y="1353"/>
                  </a:lnTo>
                  <a:lnTo>
                    <a:pt x="356" y="1367"/>
                  </a:lnTo>
                  <a:lnTo>
                    <a:pt x="368" y="1379"/>
                  </a:lnTo>
                  <a:lnTo>
                    <a:pt x="375" y="1384"/>
                  </a:lnTo>
                  <a:lnTo>
                    <a:pt x="382" y="1388"/>
                  </a:lnTo>
                  <a:lnTo>
                    <a:pt x="390" y="1391"/>
                  </a:lnTo>
                  <a:lnTo>
                    <a:pt x="396" y="1392"/>
                  </a:lnTo>
                  <a:lnTo>
                    <a:pt x="411" y="1395"/>
                  </a:lnTo>
                  <a:lnTo>
                    <a:pt x="427" y="1395"/>
                  </a:lnTo>
                  <a:lnTo>
                    <a:pt x="443" y="1395"/>
                  </a:lnTo>
                  <a:lnTo>
                    <a:pt x="459" y="1396"/>
                  </a:lnTo>
                  <a:lnTo>
                    <a:pt x="476" y="1398"/>
                  </a:lnTo>
                  <a:lnTo>
                    <a:pt x="495" y="1403"/>
                  </a:lnTo>
                  <a:lnTo>
                    <a:pt x="499" y="1404"/>
                  </a:lnTo>
                  <a:lnTo>
                    <a:pt x="503" y="1407"/>
                  </a:lnTo>
                  <a:lnTo>
                    <a:pt x="507" y="1410"/>
                  </a:lnTo>
                  <a:lnTo>
                    <a:pt x="511" y="1414"/>
                  </a:lnTo>
                  <a:lnTo>
                    <a:pt x="519" y="1423"/>
                  </a:lnTo>
                  <a:lnTo>
                    <a:pt x="526" y="1432"/>
                  </a:lnTo>
                  <a:lnTo>
                    <a:pt x="535" y="1442"/>
                  </a:lnTo>
                  <a:lnTo>
                    <a:pt x="544" y="1450"/>
                  </a:lnTo>
                  <a:lnTo>
                    <a:pt x="548" y="1452"/>
                  </a:lnTo>
                  <a:lnTo>
                    <a:pt x="555" y="1455"/>
                  </a:lnTo>
                  <a:lnTo>
                    <a:pt x="560" y="1456"/>
                  </a:lnTo>
                  <a:lnTo>
                    <a:pt x="567" y="1458"/>
                  </a:lnTo>
                  <a:lnTo>
                    <a:pt x="575" y="1456"/>
                  </a:lnTo>
                  <a:lnTo>
                    <a:pt x="583" y="1455"/>
                  </a:lnTo>
                  <a:lnTo>
                    <a:pt x="590" y="1454"/>
                  </a:lnTo>
                  <a:lnTo>
                    <a:pt x="595" y="1451"/>
                  </a:lnTo>
                  <a:lnTo>
                    <a:pt x="606" y="1444"/>
                  </a:lnTo>
                  <a:lnTo>
                    <a:pt x="614" y="1436"/>
                  </a:lnTo>
                  <a:lnTo>
                    <a:pt x="622" y="1428"/>
                  </a:lnTo>
                  <a:lnTo>
                    <a:pt x="630" y="1422"/>
                  </a:lnTo>
                  <a:lnTo>
                    <a:pt x="634" y="1419"/>
                  </a:lnTo>
                  <a:lnTo>
                    <a:pt x="639" y="1416"/>
                  </a:lnTo>
                  <a:lnTo>
                    <a:pt x="644" y="1415"/>
                  </a:lnTo>
                  <a:lnTo>
                    <a:pt x="651" y="1415"/>
                  </a:lnTo>
                  <a:lnTo>
                    <a:pt x="664" y="1416"/>
                  </a:lnTo>
                  <a:lnTo>
                    <a:pt x="678" y="1419"/>
                  </a:lnTo>
                  <a:lnTo>
                    <a:pt x="691" y="1424"/>
                  </a:lnTo>
                  <a:lnTo>
                    <a:pt x="705" y="1430"/>
                  </a:lnTo>
                  <a:lnTo>
                    <a:pt x="733" y="1446"/>
                  </a:lnTo>
                  <a:lnTo>
                    <a:pt x="763" y="1463"/>
                  </a:lnTo>
                  <a:lnTo>
                    <a:pt x="789" y="1480"/>
                  </a:lnTo>
                  <a:lnTo>
                    <a:pt x="815" y="1496"/>
                  </a:lnTo>
                  <a:lnTo>
                    <a:pt x="827" y="1503"/>
                  </a:lnTo>
                  <a:lnTo>
                    <a:pt x="837" y="1507"/>
                  </a:lnTo>
                  <a:lnTo>
                    <a:pt x="847" y="1511"/>
                  </a:lnTo>
                  <a:lnTo>
                    <a:pt x="856" y="1511"/>
                  </a:lnTo>
                  <a:lnTo>
                    <a:pt x="861" y="1511"/>
                  </a:lnTo>
                  <a:lnTo>
                    <a:pt x="867" y="1510"/>
                  </a:lnTo>
                  <a:lnTo>
                    <a:pt x="871" y="1507"/>
                  </a:lnTo>
                  <a:lnTo>
                    <a:pt x="876" y="1504"/>
                  </a:lnTo>
                  <a:lnTo>
                    <a:pt x="884" y="1498"/>
                  </a:lnTo>
                  <a:lnTo>
                    <a:pt x="892" y="1491"/>
                  </a:lnTo>
                  <a:lnTo>
                    <a:pt x="900" y="1483"/>
                  </a:lnTo>
                  <a:lnTo>
                    <a:pt x="908" y="1476"/>
                  </a:lnTo>
                  <a:lnTo>
                    <a:pt x="913" y="1474"/>
                  </a:lnTo>
                  <a:lnTo>
                    <a:pt x="917" y="1471"/>
                  </a:lnTo>
                  <a:lnTo>
                    <a:pt x="923" y="1470"/>
                  </a:lnTo>
                  <a:lnTo>
                    <a:pt x="928" y="1470"/>
                  </a:lnTo>
                  <a:lnTo>
                    <a:pt x="937" y="1470"/>
                  </a:lnTo>
                  <a:lnTo>
                    <a:pt x="945" y="1472"/>
                  </a:lnTo>
                  <a:lnTo>
                    <a:pt x="953" y="1475"/>
                  </a:lnTo>
                  <a:lnTo>
                    <a:pt x="961" y="1479"/>
                  </a:lnTo>
                  <a:lnTo>
                    <a:pt x="969" y="1482"/>
                  </a:lnTo>
                  <a:lnTo>
                    <a:pt x="977" y="1484"/>
                  </a:lnTo>
                  <a:lnTo>
                    <a:pt x="985" y="1487"/>
                  </a:lnTo>
                  <a:lnTo>
                    <a:pt x="995" y="1487"/>
                  </a:lnTo>
                  <a:lnTo>
                    <a:pt x="1000" y="1482"/>
                  </a:lnTo>
                  <a:lnTo>
                    <a:pt x="1005" y="1474"/>
                  </a:lnTo>
                  <a:lnTo>
                    <a:pt x="1008" y="1466"/>
                  </a:lnTo>
                  <a:lnTo>
                    <a:pt x="1009" y="1456"/>
                  </a:lnTo>
                  <a:lnTo>
                    <a:pt x="1011" y="1447"/>
                  </a:lnTo>
                  <a:lnTo>
                    <a:pt x="1011" y="1438"/>
                  </a:lnTo>
                  <a:lnTo>
                    <a:pt x="1009" y="1428"/>
                  </a:lnTo>
                  <a:lnTo>
                    <a:pt x="1008" y="1419"/>
                  </a:lnTo>
                  <a:lnTo>
                    <a:pt x="1000" y="1387"/>
                  </a:lnTo>
                  <a:lnTo>
                    <a:pt x="995" y="1372"/>
                  </a:lnTo>
                  <a:lnTo>
                    <a:pt x="1013" y="1341"/>
                  </a:lnTo>
                  <a:lnTo>
                    <a:pt x="1028" y="1313"/>
                  </a:lnTo>
                  <a:lnTo>
                    <a:pt x="1036" y="1301"/>
                  </a:lnTo>
                  <a:lnTo>
                    <a:pt x="1044" y="1290"/>
                  </a:lnTo>
                  <a:lnTo>
                    <a:pt x="1055" y="1281"/>
                  </a:lnTo>
                  <a:lnTo>
                    <a:pt x="1067" y="1271"/>
                  </a:lnTo>
                  <a:lnTo>
                    <a:pt x="1205" y="1271"/>
                  </a:lnTo>
                  <a:lnTo>
                    <a:pt x="1212" y="1261"/>
                  </a:lnTo>
                  <a:lnTo>
                    <a:pt x="1217" y="1251"/>
                  </a:lnTo>
                  <a:lnTo>
                    <a:pt x="1221" y="1241"/>
                  </a:lnTo>
                  <a:lnTo>
                    <a:pt x="1225" y="1231"/>
                  </a:lnTo>
                  <a:lnTo>
                    <a:pt x="1231" y="1211"/>
                  </a:lnTo>
                  <a:lnTo>
                    <a:pt x="1235" y="1190"/>
                  </a:lnTo>
                  <a:lnTo>
                    <a:pt x="1239" y="1146"/>
                  </a:lnTo>
                  <a:lnTo>
                    <a:pt x="1241" y="1097"/>
                  </a:lnTo>
                  <a:lnTo>
                    <a:pt x="1239" y="1075"/>
                  </a:lnTo>
                  <a:lnTo>
                    <a:pt x="1231" y="1027"/>
                  </a:lnTo>
                  <a:lnTo>
                    <a:pt x="1224" y="998"/>
                  </a:lnTo>
                  <a:lnTo>
                    <a:pt x="1219" y="969"/>
                  </a:lnTo>
                  <a:lnTo>
                    <a:pt x="1212" y="943"/>
                  </a:lnTo>
                  <a:lnTo>
                    <a:pt x="1205" y="922"/>
                  </a:lnTo>
                  <a:lnTo>
                    <a:pt x="1201" y="911"/>
                  </a:lnTo>
                  <a:lnTo>
                    <a:pt x="1195" y="902"/>
                  </a:lnTo>
                  <a:lnTo>
                    <a:pt x="1188" y="895"/>
                  </a:lnTo>
                  <a:lnTo>
                    <a:pt x="1180" y="889"/>
                  </a:lnTo>
                  <a:lnTo>
                    <a:pt x="1161" y="878"/>
                  </a:lnTo>
                  <a:lnTo>
                    <a:pt x="1141" y="870"/>
                  </a:lnTo>
                  <a:lnTo>
                    <a:pt x="1121" y="862"/>
                  </a:lnTo>
                  <a:lnTo>
                    <a:pt x="1104" y="851"/>
                  </a:lnTo>
                  <a:lnTo>
                    <a:pt x="1096" y="846"/>
                  </a:lnTo>
                  <a:lnTo>
                    <a:pt x="1088" y="838"/>
                  </a:lnTo>
                  <a:lnTo>
                    <a:pt x="1083" y="830"/>
                  </a:lnTo>
                  <a:lnTo>
                    <a:pt x="1079" y="819"/>
                  </a:lnTo>
                  <a:lnTo>
                    <a:pt x="1077" y="810"/>
                  </a:lnTo>
                  <a:lnTo>
                    <a:pt x="1077" y="801"/>
                  </a:lnTo>
                  <a:lnTo>
                    <a:pt x="1080" y="793"/>
                  </a:lnTo>
                  <a:lnTo>
                    <a:pt x="1083" y="785"/>
                  </a:lnTo>
                  <a:lnTo>
                    <a:pt x="1088" y="770"/>
                  </a:lnTo>
                  <a:lnTo>
                    <a:pt x="1091" y="760"/>
                  </a:lnTo>
                  <a:lnTo>
                    <a:pt x="1091" y="740"/>
                  </a:lnTo>
                  <a:lnTo>
                    <a:pt x="1091" y="712"/>
                  </a:lnTo>
                  <a:lnTo>
                    <a:pt x="1091" y="681"/>
                  </a:lnTo>
                  <a:lnTo>
                    <a:pt x="1091" y="650"/>
                  </a:lnTo>
                  <a:lnTo>
                    <a:pt x="1089" y="626"/>
                  </a:lnTo>
                  <a:lnTo>
                    <a:pt x="1088" y="602"/>
                  </a:lnTo>
                  <a:lnTo>
                    <a:pt x="1085" y="580"/>
                  </a:lnTo>
                  <a:lnTo>
                    <a:pt x="1081" y="557"/>
                  </a:lnTo>
                  <a:lnTo>
                    <a:pt x="1079" y="534"/>
                  </a:lnTo>
                  <a:lnTo>
                    <a:pt x="1076" y="512"/>
                  </a:lnTo>
                  <a:lnTo>
                    <a:pt x="1073" y="488"/>
                  </a:lnTo>
                  <a:lnTo>
                    <a:pt x="1072" y="464"/>
                  </a:lnTo>
                  <a:lnTo>
                    <a:pt x="1073" y="450"/>
                  </a:lnTo>
                  <a:lnTo>
                    <a:pt x="1076" y="438"/>
                  </a:lnTo>
                  <a:lnTo>
                    <a:pt x="1079" y="428"/>
                  </a:lnTo>
                  <a:lnTo>
                    <a:pt x="1081" y="416"/>
                  </a:lnTo>
                  <a:lnTo>
                    <a:pt x="1085" y="405"/>
                  </a:lnTo>
                  <a:lnTo>
                    <a:pt x="1088" y="393"/>
                  </a:lnTo>
                  <a:lnTo>
                    <a:pt x="1089" y="381"/>
                  </a:lnTo>
                  <a:lnTo>
                    <a:pt x="1091" y="368"/>
                  </a:lnTo>
                  <a:lnTo>
                    <a:pt x="1091" y="360"/>
                  </a:lnTo>
                  <a:lnTo>
                    <a:pt x="1089" y="353"/>
                  </a:lnTo>
                  <a:lnTo>
                    <a:pt x="1087" y="345"/>
                  </a:lnTo>
                  <a:lnTo>
                    <a:pt x="1085" y="338"/>
                  </a:lnTo>
                  <a:lnTo>
                    <a:pt x="1079" y="326"/>
                  </a:lnTo>
                  <a:lnTo>
                    <a:pt x="1071" y="314"/>
                  </a:lnTo>
                  <a:lnTo>
                    <a:pt x="1052" y="293"/>
                  </a:lnTo>
                  <a:lnTo>
                    <a:pt x="1036" y="272"/>
                  </a:lnTo>
                  <a:lnTo>
                    <a:pt x="1029" y="252"/>
                  </a:lnTo>
                  <a:lnTo>
                    <a:pt x="1020" y="234"/>
                  </a:lnTo>
                  <a:lnTo>
                    <a:pt x="1011" y="220"/>
                  </a:lnTo>
                  <a:lnTo>
                    <a:pt x="1000" y="205"/>
                  </a:lnTo>
                  <a:lnTo>
                    <a:pt x="977" y="181"/>
                  </a:lnTo>
                  <a:lnTo>
                    <a:pt x="952" y="159"/>
                  </a:lnTo>
                  <a:lnTo>
                    <a:pt x="940" y="147"/>
                  </a:lnTo>
                  <a:lnTo>
                    <a:pt x="928" y="135"/>
                  </a:lnTo>
                  <a:lnTo>
                    <a:pt x="916" y="123"/>
                  </a:lnTo>
                  <a:lnTo>
                    <a:pt x="904" y="109"/>
                  </a:lnTo>
                  <a:lnTo>
                    <a:pt x="893" y="93"/>
                  </a:lnTo>
                  <a:lnTo>
                    <a:pt x="884" y="77"/>
                  </a:lnTo>
                  <a:lnTo>
                    <a:pt x="875" y="57"/>
                  </a:lnTo>
                  <a:lnTo>
                    <a:pt x="868" y="36"/>
                  </a:lnTo>
                  <a:lnTo>
                    <a:pt x="863" y="31"/>
                  </a:lnTo>
                  <a:lnTo>
                    <a:pt x="853" y="21"/>
                  </a:lnTo>
                  <a:lnTo>
                    <a:pt x="847" y="16"/>
                  </a:lnTo>
                  <a:lnTo>
                    <a:pt x="843" y="11"/>
                  </a:lnTo>
                  <a:lnTo>
                    <a:pt x="839" y="5"/>
                  </a:lnTo>
                  <a:lnTo>
                    <a:pt x="837" y="0"/>
                  </a:lnTo>
                  <a:lnTo>
                    <a:pt x="832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0" name="Freeform 33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2328863" y="2079625"/>
              <a:ext cx="430212" cy="488950"/>
            </a:xfrm>
            <a:custGeom>
              <a:avLst/>
              <a:gdLst/>
              <a:ahLst/>
              <a:cxnLst>
                <a:cxn ang="0">
                  <a:pos x="156" y="704"/>
                </a:cxn>
                <a:cxn ang="0">
                  <a:pos x="170" y="730"/>
                </a:cxn>
                <a:cxn ang="0">
                  <a:pos x="225" y="745"/>
                </a:cxn>
                <a:cxn ang="0">
                  <a:pos x="263" y="708"/>
                </a:cxn>
                <a:cxn ang="0">
                  <a:pos x="283" y="604"/>
                </a:cxn>
                <a:cxn ang="0">
                  <a:pos x="295" y="601"/>
                </a:cxn>
                <a:cxn ang="0">
                  <a:pos x="331" y="770"/>
                </a:cxn>
                <a:cxn ang="0">
                  <a:pos x="366" y="874"/>
                </a:cxn>
                <a:cxn ang="0">
                  <a:pos x="423" y="1050"/>
                </a:cxn>
                <a:cxn ang="0">
                  <a:pos x="491" y="1172"/>
                </a:cxn>
                <a:cxn ang="0">
                  <a:pos x="553" y="1239"/>
                </a:cxn>
                <a:cxn ang="0">
                  <a:pos x="626" y="1286"/>
                </a:cxn>
                <a:cxn ang="0">
                  <a:pos x="710" y="1310"/>
                </a:cxn>
                <a:cxn ang="0">
                  <a:pos x="798" y="1309"/>
                </a:cxn>
                <a:cxn ang="0">
                  <a:pos x="874" y="1285"/>
                </a:cxn>
                <a:cxn ang="0">
                  <a:pos x="931" y="1242"/>
                </a:cxn>
                <a:cxn ang="0">
                  <a:pos x="973" y="1184"/>
                </a:cxn>
                <a:cxn ang="0">
                  <a:pos x="996" y="1112"/>
                </a:cxn>
                <a:cxn ang="0">
                  <a:pos x="1004" y="1029"/>
                </a:cxn>
                <a:cxn ang="0">
                  <a:pos x="986" y="898"/>
                </a:cxn>
                <a:cxn ang="0">
                  <a:pos x="934" y="746"/>
                </a:cxn>
                <a:cxn ang="0">
                  <a:pos x="918" y="571"/>
                </a:cxn>
                <a:cxn ang="0">
                  <a:pos x="881" y="472"/>
                </a:cxn>
                <a:cxn ang="0">
                  <a:pos x="846" y="380"/>
                </a:cxn>
                <a:cxn ang="0">
                  <a:pos x="725" y="325"/>
                </a:cxn>
                <a:cxn ang="0">
                  <a:pos x="682" y="312"/>
                </a:cxn>
                <a:cxn ang="0">
                  <a:pos x="739" y="293"/>
                </a:cxn>
                <a:cxn ang="0">
                  <a:pos x="774" y="269"/>
                </a:cxn>
                <a:cxn ang="0">
                  <a:pos x="746" y="240"/>
                </a:cxn>
                <a:cxn ang="0">
                  <a:pos x="746" y="143"/>
                </a:cxn>
                <a:cxn ang="0">
                  <a:pos x="758" y="137"/>
                </a:cxn>
                <a:cxn ang="0">
                  <a:pos x="815" y="223"/>
                </a:cxn>
                <a:cxn ang="0">
                  <a:pos x="837" y="223"/>
                </a:cxn>
                <a:cxn ang="0">
                  <a:pos x="810" y="147"/>
                </a:cxn>
                <a:cxn ang="0">
                  <a:pos x="778" y="88"/>
                </a:cxn>
                <a:cxn ang="0">
                  <a:pos x="723" y="80"/>
                </a:cxn>
                <a:cxn ang="0">
                  <a:pos x="685" y="81"/>
                </a:cxn>
                <a:cxn ang="0">
                  <a:pos x="609" y="42"/>
                </a:cxn>
                <a:cxn ang="0">
                  <a:pos x="541" y="6"/>
                </a:cxn>
                <a:cxn ang="0">
                  <a:pos x="398" y="6"/>
                </a:cxn>
                <a:cxn ang="0">
                  <a:pos x="343" y="27"/>
                </a:cxn>
                <a:cxn ang="0">
                  <a:pos x="305" y="64"/>
                </a:cxn>
                <a:cxn ang="0">
                  <a:pos x="281" y="116"/>
                </a:cxn>
                <a:cxn ang="0">
                  <a:pos x="270" y="243"/>
                </a:cxn>
                <a:cxn ang="0">
                  <a:pos x="262" y="299"/>
                </a:cxn>
                <a:cxn ang="0">
                  <a:pos x="235" y="329"/>
                </a:cxn>
                <a:cxn ang="0">
                  <a:pos x="125" y="353"/>
                </a:cxn>
                <a:cxn ang="0">
                  <a:pos x="45" y="383"/>
                </a:cxn>
                <a:cxn ang="0">
                  <a:pos x="0" y="469"/>
                </a:cxn>
                <a:cxn ang="0">
                  <a:pos x="92" y="540"/>
                </a:cxn>
                <a:cxn ang="0">
                  <a:pos x="149" y="615"/>
                </a:cxn>
              </a:cxnLst>
              <a:rect l="0" t="0" r="r" b="b"/>
              <a:pathLst>
                <a:path w="1004" h="1313">
                  <a:moveTo>
                    <a:pt x="156" y="644"/>
                  </a:moveTo>
                  <a:lnTo>
                    <a:pt x="156" y="664"/>
                  </a:lnTo>
                  <a:lnTo>
                    <a:pt x="156" y="678"/>
                  </a:lnTo>
                  <a:lnTo>
                    <a:pt x="156" y="692"/>
                  </a:lnTo>
                  <a:lnTo>
                    <a:pt x="156" y="704"/>
                  </a:lnTo>
                  <a:lnTo>
                    <a:pt x="157" y="710"/>
                  </a:lnTo>
                  <a:lnTo>
                    <a:pt x="158" y="716"/>
                  </a:lnTo>
                  <a:lnTo>
                    <a:pt x="161" y="721"/>
                  </a:lnTo>
                  <a:lnTo>
                    <a:pt x="165" y="726"/>
                  </a:lnTo>
                  <a:lnTo>
                    <a:pt x="170" y="730"/>
                  </a:lnTo>
                  <a:lnTo>
                    <a:pt x="176" y="733"/>
                  </a:lnTo>
                  <a:lnTo>
                    <a:pt x="182" y="736"/>
                  </a:lnTo>
                  <a:lnTo>
                    <a:pt x="189" y="738"/>
                  </a:lnTo>
                  <a:lnTo>
                    <a:pt x="206" y="742"/>
                  </a:lnTo>
                  <a:lnTo>
                    <a:pt x="225" y="745"/>
                  </a:lnTo>
                  <a:lnTo>
                    <a:pt x="243" y="746"/>
                  </a:lnTo>
                  <a:lnTo>
                    <a:pt x="263" y="746"/>
                  </a:lnTo>
                  <a:lnTo>
                    <a:pt x="263" y="733"/>
                  </a:lnTo>
                  <a:lnTo>
                    <a:pt x="263" y="720"/>
                  </a:lnTo>
                  <a:lnTo>
                    <a:pt x="263" y="708"/>
                  </a:lnTo>
                  <a:lnTo>
                    <a:pt x="263" y="698"/>
                  </a:lnTo>
                  <a:lnTo>
                    <a:pt x="271" y="653"/>
                  </a:lnTo>
                  <a:lnTo>
                    <a:pt x="278" y="623"/>
                  </a:lnTo>
                  <a:lnTo>
                    <a:pt x="281" y="612"/>
                  </a:lnTo>
                  <a:lnTo>
                    <a:pt x="283" y="604"/>
                  </a:lnTo>
                  <a:lnTo>
                    <a:pt x="286" y="599"/>
                  </a:lnTo>
                  <a:lnTo>
                    <a:pt x="289" y="596"/>
                  </a:lnTo>
                  <a:lnTo>
                    <a:pt x="291" y="595"/>
                  </a:lnTo>
                  <a:lnTo>
                    <a:pt x="293" y="597"/>
                  </a:lnTo>
                  <a:lnTo>
                    <a:pt x="295" y="601"/>
                  </a:lnTo>
                  <a:lnTo>
                    <a:pt x="298" y="607"/>
                  </a:lnTo>
                  <a:lnTo>
                    <a:pt x="302" y="624"/>
                  </a:lnTo>
                  <a:lnTo>
                    <a:pt x="307" y="646"/>
                  </a:lnTo>
                  <a:lnTo>
                    <a:pt x="317" y="705"/>
                  </a:lnTo>
                  <a:lnTo>
                    <a:pt x="331" y="770"/>
                  </a:lnTo>
                  <a:lnTo>
                    <a:pt x="339" y="804"/>
                  </a:lnTo>
                  <a:lnTo>
                    <a:pt x="349" y="834"/>
                  </a:lnTo>
                  <a:lnTo>
                    <a:pt x="354" y="849"/>
                  </a:lnTo>
                  <a:lnTo>
                    <a:pt x="359" y="862"/>
                  </a:lnTo>
                  <a:lnTo>
                    <a:pt x="366" y="874"/>
                  </a:lnTo>
                  <a:lnTo>
                    <a:pt x="373" y="885"/>
                  </a:lnTo>
                  <a:lnTo>
                    <a:pt x="382" y="928"/>
                  </a:lnTo>
                  <a:lnTo>
                    <a:pt x="394" y="970"/>
                  </a:lnTo>
                  <a:lnTo>
                    <a:pt x="407" y="1012"/>
                  </a:lnTo>
                  <a:lnTo>
                    <a:pt x="423" y="1050"/>
                  </a:lnTo>
                  <a:lnTo>
                    <a:pt x="441" y="1088"/>
                  </a:lnTo>
                  <a:lnTo>
                    <a:pt x="459" y="1124"/>
                  </a:lnTo>
                  <a:lnTo>
                    <a:pt x="470" y="1140"/>
                  </a:lnTo>
                  <a:lnTo>
                    <a:pt x="481" y="1157"/>
                  </a:lnTo>
                  <a:lnTo>
                    <a:pt x="491" y="1172"/>
                  </a:lnTo>
                  <a:lnTo>
                    <a:pt x="502" y="1186"/>
                  </a:lnTo>
                  <a:lnTo>
                    <a:pt x="514" y="1201"/>
                  </a:lnTo>
                  <a:lnTo>
                    <a:pt x="527" y="1214"/>
                  </a:lnTo>
                  <a:lnTo>
                    <a:pt x="539" y="1228"/>
                  </a:lnTo>
                  <a:lnTo>
                    <a:pt x="553" y="1239"/>
                  </a:lnTo>
                  <a:lnTo>
                    <a:pt x="566" y="1250"/>
                  </a:lnTo>
                  <a:lnTo>
                    <a:pt x="581" y="1261"/>
                  </a:lnTo>
                  <a:lnTo>
                    <a:pt x="595" y="1270"/>
                  </a:lnTo>
                  <a:lnTo>
                    <a:pt x="610" y="1278"/>
                  </a:lnTo>
                  <a:lnTo>
                    <a:pt x="626" y="1286"/>
                  </a:lnTo>
                  <a:lnTo>
                    <a:pt x="642" y="1293"/>
                  </a:lnTo>
                  <a:lnTo>
                    <a:pt x="658" y="1298"/>
                  </a:lnTo>
                  <a:lnTo>
                    <a:pt x="674" y="1303"/>
                  </a:lnTo>
                  <a:lnTo>
                    <a:pt x="691" y="1307"/>
                  </a:lnTo>
                  <a:lnTo>
                    <a:pt x="710" y="1310"/>
                  </a:lnTo>
                  <a:lnTo>
                    <a:pt x="727" y="1311"/>
                  </a:lnTo>
                  <a:lnTo>
                    <a:pt x="746" y="1313"/>
                  </a:lnTo>
                  <a:lnTo>
                    <a:pt x="765" y="1311"/>
                  </a:lnTo>
                  <a:lnTo>
                    <a:pt x="782" y="1310"/>
                  </a:lnTo>
                  <a:lnTo>
                    <a:pt x="798" y="1309"/>
                  </a:lnTo>
                  <a:lnTo>
                    <a:pt x="815" y="1305"/>
                  </a:lnTo>
                  <a:lnTo>
                    <a:pt x="830" y="1301"/>
                  </a:lnTo>
                  <a:lnTo>
                    <a:pt x="846" y="1297"/>
                  </a:lnTo>
                  <a:lnTo>
                    <a:pt x="859" y="1291"/>
                  </a:lnTo>
                  <a:lnTo>
                    <a:pt x="874" y="1285"/>
                  </a:lnTo>
                  <a:lnTo>
                    <a:pt x="886" y="1278"/>
                  </a:lnTo>
                  <a:lnTo>
                    <a:pt x="898" y="1270"/>
                  </a:lnTo>
                  <a:lnTo>
                    <a:pt x="910" y="1261"/>
                  </a:lnTo>
                  <a:lnTo>
                    <a:pt x="921" y="1253"/>
                  </a:lnTo>
                  <a:lnTo>
                    <a:pt x="931" y="1242"/>
                  </a:lnTo>
                  <a:lnTo>
                    <a:pt x="941" y="1231"/>
                  </a:lnTo>
                  <a:lnTo>
                    <a:pt x="950" y="1221"/>
                  </a:lnTo>
                  <a:lnTo>
                    <a:pt x="958" y="1209"/>
                  </a:lnTo>
                  <a:lnTo>
                    <a:pt x="966" y="1197"/>
                  </a:lnTo>
                  <a:lnTo>
                    <a:pt x="973" y="1184"/>
                  </a:lnTo>
                  <a:lnTo>
                    <a:pt x="979" y="1170"/>
                  </a:lnTo>
                  <a:lnTo>
                    <a:pt x="985" y="1157"/>
                  </a:lnTo>
                  <a:lnTo>
                    <a:pt x="988" y="1142"/>
                  </a:lnTo>
                  <a:lnTo>
                    <a:pt x="994" y="1128"/>
                  </a:lnTo>
                  <a:lnTo>
                    <a:pt x="996" y="1112"/>
                  </a:lnTo>
                  <a:lnTo>
                    <a:pt x="999" y="1097"/>
                  </a:lnTo>
                  <a:lnTo>
                    <a:pt x="1002" y="1080"/>
                  </a:lnTo>
                  <a:lnTo>
                    <a:pt x="1003" y="1064"/>
                  </a:lnTo>
                  <a:lnTo>
                    <a:pt x="1004" y="1046"/>
                  </a:lnTo>
                  <a:lnTo>
                    <a:pt x="1004" y="1029"/>
                  </a:lnTo>
                  <a:lnTo>
                    <a:pt x="1003" y="994"/>
                  </a:lnTo>
                  <a:lnTo>
                    <a:pt x="999" y="957"/>
                  </a:lnTo>
                  <a:lnTo>
                    <a:pt x="995" y="937"/>
                  </a:lnTo>
                  <a:lnTo>
                    <a:pt x="991" y="918"/>
                  </a:lnTo>
                  <a:lnTo>
                    <a:pt x="986" y="898"/>
                  </a:lnTo>
                  <a:lnTo>
                    <a:pt x="979" y="880"/>
                  </a:lnTo>
                  <a:lnTo>
                    <a:pt x="963" y="841"/>
                  </a:lnTo>
                  <a:lnTo>
                    <a:pt x="949" y="797"/>
                  </a:lnTo>
                  <a:lnTo>
                    <a:pt x="941" y="772"/>
                  </a:lnTo>
                  <a:lnTo>
                    <a:pt x="934" y="746"/>
                  </a:lnTo>
                  <a:lnTo>
                    <a:pt x="929" y="717"/>
                  </a:lnTo>
                  <a:lnTo>
                    <a:pt x="923" y="685"/>
                  </a:lnTo>
                  <a:lnTo>
                    <a:pt x="919" y="650"/>
                  </a:lnTo>
                  <a:lnTo>
                    <a:pt x="918" y="612"/>
                  </a:lnTo>
                  <a:lnTo>
                    <a:pt x="918" y="571"/>
                  </a:lnTo>
                  <a:lnTo>
                    <a:pt x="921" y="524"/>
                  </a:lnTo>
                  <a:lnTo>
                    <a:pt x="907" y="509"/>
                  </a:lnTo>
                  <a:lnTo>
                    <a:pt x="897" y="495"/>
                  </a:lnTo>
                  <a:lnTo>
                    <a:pt x="887" y="483"/>
                  </a:lnTo>
                  <a:lnTo>
                    <a:pt x="881" y="472"/>
                  </a:lnTo>
                  <a:lnTo>
                    <a:pt x="871" y="452"/>
                  </a:lnTo>
                  <a:lnTo>
                    <a:pt x="865" y="432"/>
                  </a:lnTo>
                  <a:lnTo>
                    <a:pt x="859" y="413"/>
                  </a:lnTo>
                  <a:lnTo>
                    <a:pt x="851" y="392"/>
                  </a:lnTo>
                  <a:lnTo>
                    <a:pt x="846" y="380"/>
                  </a:lnTo>
                  <a:lnTo>
                    <a:pt x="838" y="368"/>
                  </a:lnTo>
                  <a:lnTo>
                    <a:pt x="829" y="353"/>
                  </a:lnTo>
                  <a:lnTo>
                    <a:pt x="818" y="337"/>
                  </a:lnTo>
                  <a:lnTo>
                    <a:pt x="765" y="331"/>
                  </a:lnTo>
                  <a:lnTo>
                    <a:pt x="725" y="325"/>
                  </a:lnTo>
                  <a:lnTo>
                    <a:pt x="699" y="321"/>
                  </a:lnTo>
                  <a:lnTo>
                    <a:pt x="686" y="317"/>
                  </a:lnTo>
                  <a:lnTo>
                    <a:pt x="682" y="315"/>
                  </a:lnTo>
                  <a:lnTo>
                    <a:pt x="681" y="313"/>
                  </a:lnTo>
                  <a:lnTo>
                    <a:pt x="682" y="312"/>
                  </a:lnTo>
                  <a:lnTo>
                    <a:pt x="685" y="309"/>
                  </a:lnTo>
                  <a:lnTo>
                    <a:pt x="694" y="307"/>
                  </a:lnTo>
                  <a:lnTo>
                    <a:pt x="707" y="303"/>
                  </a:lnTo>
                  <a:lnTo>
                    <a:pt x="723" y="299"/>
                  </a:lnTo>
                  <a:lnTo>
                    <a:pt x="739" y="293"/>
                  </a:lnTo>
                  <a:lnTo>
                    <a:pt x="754" y="288"/>
                  </a:lnTo>
                  <a:lnTo>
                    <a:pt x="766" y="281"/>
                  </a:lnTo>
                  <a:lnTo>
                    <a:pt x="770" y="277"/>
                  </a:lnTo>
                  <a:lnTo>
                    <a:pt x="773" y="273"/>
                  </a:lnTo>
                  <a:lnTo>
                    <a:pt x="774" y="269"/>
                  </a:lnTo>
                  <a:lnTo>
                    <a:pt x="774" y="264"/>
                  </a:lnTo>
                  <a:lnTo>
                    <a:pt x="770" y="259"/>
                  </a:lnTo>
                  <a:lnTo>
                    <a:pt x="765" y="253"/>
                  </a:lnTo>
                  <a:lnTo>
                    <a:pt x="757" y="247"/>
                  </a:lnTo>
                  <a:lnTo>
                    <a:pt x="746" y="240"/>
                  </a:lnTo>
                  <a:lnTo>
                    <a:pt x="743" y="199"/>
                  </a:lnTo>
                  <a:lnTo>
                    <a:pt x="743" y="169"/>
                  </a:lnTo>
                  <a:lnTo>
                    <a:pt x="743" y="159"/>
                  </a:lnTo>
                  <a:lnTo>
                    <a:pt x="745" y="149"/>
                  </a:lnTo>
                  <a:lnTo>
                    <a:pt x="746" y="143"/>
                  </a:lnTo>
                  <a:lnTo>
                    <a:pt x="749" y="139"/>
                  </a:lnTo>
                  <a:lnTo>
                    <a:pt x="750" y="136"/>
                  </a:lnTo>
                  <a:lnTo>
                    <a:pt x="753" y="135"/>
                  </a:lnTo>
                  <a:lnTo>
                    <a:pt x="755" y="136"/>
                  </a:lnTo>
                  <a:lnTo>
                    <a:pt x="758" y="137"/>
                  </a:lnTo>
                  <a:lnTo>
                    <a:pt x="765" y="145"/>
                  </a:lnTo>
                  <a:lnTo>
                    <a:pt x="773" y="157"/>
                  </a:lnTo>
                  <a:lnTo>
                    <a:pt x="790" y="185"/>
                  </a:lnTo>
                  <a:lnTo>
                    <a:pt x="807" y="212"/>
                  </a:lnTo>
                  <a:lnTo>
                    <a:pt x="815" y="223"/>
                  </a:lnTo>
                  <a:lnTo>
                    <a:pt x="823" y="228"/>
                  </a:lnTo>
                  <a:lnTo>
                    <a:pt x="826" y="229"/>
                  </a:lnTo>
                  <a:lnTo>
                    <a:pt x="830" y="229"/>
                  </a:lnTo>
                  <a:lnTo>
                    <a:pt x="833" y="227"/>
                  </a:lnTo>
                  <a:lnTo>
                    <a:pt x="837" y="223"/>
                  </a:lnTo>
                  <a:lnTo>
                    <a:pt x="830" y="209"/>
                  </a:lnTo>
                  <a:lnTo>
                    <a:pt x="825" y="197"/>
                  </a:lnTo>
                  <a:lnTo>
                    <a:pt x="821" y="184"/>
                  </a:lnTo>
                  <a:lnTo>
                    <a:pt x="817" y="171"/>
                  </a:lnTo>
                  <a:lnTo>
                    <a:pt x="810" y="147"/>
                  </a:lnTo>
                  <a:lnTo>
                    <a:pt x="802" y="123"/>
                  </a:lnTo>
                  <a:lnTo>
                    <a:pt x="798" y="113"/>
                  </a:lnTo>
                  <a:lnTo>
                    <a:pt x="793" y="104"/>
                  </a:lnTo>
                  <a:lnTo>
                    <a:pt x="786" y="96"/>
                  </a:lnTo>
                  <a:lnTo>
                    <a:pt x="778" y="88"/>
                  </a:lnTo>
                  <a:lnTo>
                    <a:pt x="769" y="83"/>
                  </a:lnTo>
                  <a:lnTo>
                    <a:pt x="757" y="80"/>
                  </a:lnTo>
                  <a:lnTo>
                    <a:pt x="743" y="77"/>
                  </a:lnTo>
                  <a:lnTo>
                    <a:pt x="727" y="77"/>
                  </a:lnTo>
                  <a:lnTo>
                    <a:pt x="723" y="80"/>
                  </a:lnTo>
                  <a:lnTo>
                    <a:pt x="718" y="83"/>
                  </a:lnTo>
                  <a:lnTo>
                    <a:pt x="713" y="84"/>
                  </a:lnTo>
                  <a:lnTo>
                    <a:pt x="707" y="84"/>
                  </a:lnTo>
                  <a:lnTo>
                    <a:pt x="697" y="84"/>
                  </a:lnTo>
                  <a:lnTo>
                    <a:pt x="685" y="81"/>
                  </a:lnTo>
                  <a:lnTo>
                    <a:pt x="673" y="77"/>
                  </a:lnTo>
                  <a:lnTo>
                    <a:pt x="661" y="72"/>
                  </a:lnTo>
                  <a:lnTo>
                    <a:pt x="647" y="65"/>
                  </a:lnTo>
                  <a:lnTo>
                    <a:pt x="634" y="58"/>
                  </a:lnTo>
                  <a:lnTo>
                    <a:pt x="609" y="42"/>
                  </a:lnTo>
                  <a:lnTo>
                    <a:pt x="583" y="27"/>
                  </a:lnTo>
                  <a:lnTo>
                    <a:pt x="571" y="20"/>
                  </a:lnTo>
                  <a:lnTo>
                    <a:pt x="561" y="14"/>
                  </a:lnTo>
                  <a:lnTo>
                    <a:pt x="550" y="10"/>
                  </a:lnTo>
                  <a:lnTo>
                    <a:pt x="541" y="6"/>
                  </a:lnTo>
                  <a:lnTo>
                    <a:pt x="505" y="2"/>
                  </a:lnTo>
                  <a:lnTo>
                    <a:pt x="470" y="0"/>
                  </a:lnTo>
                  <a:lnTo>
                    <a:pt x="439" y="0"/>
                  </a:lnTo>
                  <a:lnTo>
                    <a:pt x="411" y="3"/>
                  </a:lnTo>
                  <a:lnTo>
                    <a:pt x="398" y="6"/>
                  </a:lnTo>
                  <a:lnTo>
                    <a:pt x="386" y="10"/>
                  </a:lnTo>
                  <a:lnTo>
                    <a:pt x="374" y="12"/>
                  </a:lnTo>
                  <a:lnTo>
                    <a:pt x="363" y="18"/>
                  </a:lnTo>
                  <a:lnTo>
                    <a:pt x="353" y="22"/>
                  </a:lnTo>
                  <a:lnTo>
                    <a:pt x="343" y="27"/>
                  </a:lnTo>
                  <a:lnTo>
                    <a:pt x="335" y="34"/>
                  </a:lnTo>
                  <a:lnTo>
                    <a:pt x="326" y="40"/>
                  </a:lnTo>
                  <a:lnTo>
                    <a:pt x="318" y="48"/>
                  </a:lnTo>
                  <a:lnTo>
                    <a:pt x="311" y="56"/>
                  </a:lnTo>
                  <a:lnTo>
                    <a:pt x="305" y="64"/>
                  </a:lnTo>
                  <a:lnTo>
                    <a:pt x="299" y="73"/>
                  </a:lnTo>
                  <a:lnTo>
                    <a:pt x="294" y="83"/>
                  </a:lnTo>
                  <a:lnTo>
                    <a:pt x="289" y="93"/>
                  </a:lnTo>
                  <a:lnTo>
                    <a:pt x="285" y="104"/>
                  </a:lnTo>
                  <a:lnTo>
                    <a:pt x="281" y="116"/>
                  </a:lnTo>
                  <a:lnTo>
                    <a:pt x="275" y="140"/>
                  </a:lnTo>
                  <a:lnTo>
                    <a:pt x="271" y="168"/>
                  </a:lnTo>
                  <a:lnTo>
                    <a:pt x="270" y="197"/>
                  </a:lnTo>
                  <a:lnTo>
                    <a:pt x="270" y="228"/>
                  </a:lnTo>
                  <a:lnTo>
                    <a:pt x="270" y="243"/>
                  </a:lnTo>
                  <a:lnTo>
                    <a:pt x="270" y="256"/>
                  </a:lnTo>
                  <a:lnTo>
                    <a:pt x="269" y="268"/>
                  </a:lnTo>
                  <a:lnTo>
                    <a:pt x="267" y="280"/>
                  </a:lnTo>
                  <a:lnTo>
                    <a:pt x="265" y="289"/>
                  </a:lnTo>
                  <a:lnTo>
                    <a:pt x="262" y="299"/>
                  </a:lnTo>
                  <a:lnTo>
                    <a:pt x="258" y="305"/>
                  </a:lnTo>
                  <a:lnTo>
                    <a:pt x="253" y="313"/>
                  </a:lnTo>
                  <a:lnTo>
                    <a:pt x="247" y="319"/>
                  </a:lnTo>
                  <a:lnTo>
                    <a:pt x="242" y="324"/>
                  </a:lnTo>
                  <a:lnTo>
                    <a:pt x="235" y="329"/>
                  </a:lnTo>
                  <a:lnTo>
                    <a:pt x="229" y="333"/>
                  </a:lnTo>
                  <a:lnTo>
                    <a:pt x="214" y="339"/>
                  </a:lnTo>
                  <a:lnTo>
                    <a:pt x="198" y="344"/>
                  </a:lnTo>
                  <a:lnTo>
                    <a:pt x="162" y="349"/>
                  </a:lnTo>
                  <a:lnTo>
                    <a:pt x="125" y="353"/>
                  </a:lnTo>
                  <a:lnTo>
                    <a:pt x="106" y="356"/>
                  </a:lnTo>
                  <a:lnTo>
                    <a:pt x="88" y="360"/>
                  </a:lnTo>
                  <a:lnTo>
                    <a:pt x="70" y="365"/>
                  </a:lnTo>
                  <a:lnTo>
                    <a:pt x="53" y="373"/>
                  </a:lnTo>
                  <a:lnTo>
                    <a:pt x="45" y="383"/>
                  </a:lnTo>
                  <a:lnTo>
                    <a:pt x="37" y="393"/>
                  </a:lnTo>
                  <a:lnTo>
                    <a:pt x="29" y="404"/>
                  </a:lnTo>
                  <a:lnTo>
                    <a:pt x="22" y="417"/>
                  </a:lnTo>
                  <a:lnTo>
                    <a:pt x="9" y="443"/>
                  </a:lnTo>
                  <a:lnTo>
                    <a:pt x="0" y="469"/>
                  </a:lnTo>
                  <a:lnTo>
                    <a:pt x="6" y="473"/>
                  </a:lnTo>
                  <a:lnTo>
                    <a:pt x="24" y="485"/>
                  </a:lnTo>
                  <a:lnTo>
                    <a:pt x="49" y="504"/>
                  </a:lnTo>
                  <a:lnTo>
                    <a:pt x="77" y="528"/>
                  </a:lnTo>
                  <a:lnTo>
                    <a:pt x="92" y="540"/>
                  </a:lnTo>
                  <a:lnTo>
                    <a:pt x="106" y="555"/>
                  </a:lnTo>
                  <a:lnTo>
                    <a:pt x="120" y="569"/>
                  </a:lnTo>
                  <a:lnTo>
                    <a:pt x="132" y="584"/>
                  </a:lnTo>
                  <a:lnTo>
                    <a:pt x="141" y="599"/>
                  </a:lnTo>
                  <a:lnTo>
                    <a:pt x="149" y="615"/>
                  </a:lnTo>
                  <a:lnTo>
                    <a:pt x="152" y="621"/>
                  </a:lnTo>
                  <a:lnTo>
                    <a:pt x="154" y="629"/>
                  </a:lnTo>
                  <a:lnTo>
                    <a:pt x="156" y="637"/>
                  </a:lnTo>
                  <a:lnTo>
                    <a:pt x="156" y="64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1" name="Freeform 34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3321050" y="2274888"/>
              <a:ext cx="220663" cy="279400"/>
            </a:xfrm>
            <a:custGeom>
              <a:avLst/>
              <a:gdLst/>
              <a:ahLst/>
              <a:cxnLst>
                <a:cxn ang="0">
                  <a:pos x="345" y="7"/>
                </a:cxn>
                <a:cxn ang="0">
                  <a:pos x="316" y="23"/>
                </a:cxn>
                <a:cxn ang="0">
                  <a:pos x="294" y="84"/>
                </a:cxn>
                <a:cxn ang="0">
                  <a:pos x="257" y="65"/>
                </a:cxn>
                <a:cxn ang="0">
                  <a:pos x="234" y="60"/>
                </a:cxn>
                <a:cxn ang="0">
                  <a:pos x="201" y="107"/>
                </a:cxn>
                <a:cxn ang="0">
                  <a:pos x="234" y="144"/>
                </a:cxn>
                <a:cxn ang="0">
                  <a:pos x="184" y="153"/>
                </a:cxn>
                <a:cxn ang="0">
                  <a:pos x="167" y="162"/>
                </a:cxn>
                <a:cxn ang="0">
                  <a:pos x="156" y="177"/>
                </a:cxn>
                <a:cxn ang="0">
                  <a:pos x="148" y="208"/>
                </a:cxn>
                <a:cxn ang="0">
                  <a:pos x="136" y="225"/>
                </a:cxn>
                <a:cxn ang="0">
                  <a:pos x="120" y="228"/>
                </a:cxn>
                <a:cxn ang="0">
                  <a:pos x="108" y="225"/>
                </a:cxn>
                <a:cxn ang="0">
                  <a:pos x="93" y="210"/>
                </a:cxn>
                <a:cxn ang="0">
                  <a:pos x="77" y="194"/>
                </a:cxn>
                <a:cxn ang="0">
                  <a:pos x="55" y="194"/>
                </a:cxn>
                <a:cxn ang="0">
                  <a:pos x="33" y="208"/>
                </a:cxn>
                <a:cxn ang="0">
                  <a:pos x="17" y="228"/>
                </a:cxn>
                <a:cxn ang="0">
                  <a:pos x="0" y="282"/>
                </a:cxn>
                <a:cxn ang="0">
                  <a:pos x="3" y="324"/>
                </a:cxn>
                <a:cxn ang="0">
                  <a:pos x="20" y="354"/>
                </a:cxn>
                <a:cxn ang="0">
                  <a:pos x="45" y="377"/>
                </a:cxn>
                <a:cxn ang="0">
                  <a:pos x="100" y="405"/>
                </a:cxn>
                <a:cxn ang="0">
                  <a:pos x="109" y="437"/>
                </a:cxn>
                <a:cxn ang="0">
                  <a:pos x="111" y="452"/>
                </a:cxn>
                <a:cxn ang="0">
                  <a:pos x="113" y="481"/>
                </a:cxn>
                <a:cxn ang="0">
                  <a:pos x="109" y="498"/>
                </a:cxn>
                <a:cxn ang="0">
                  <a:pos x="89" y="517"/>
                </a:cxn>
                <a:cxn ang="0">
                  <a:pos x="71" y="537"/>
                </a:cxn>
                <a:cxn ang="0">
                  <a:pos x="65" y="553"/>
                </a:cxn>
                <a:cxn ang="0">
                  <a:pos x="69" y="581"/>
                </a:cxn>
                <a:cxn ang="0">
                  <a:pos x="89" y="621"/>
                </a:cxn>
                <a:cxn ang="0">
                  <a:pos x="129" y="661"/>
                </a:cxn>
                <a:cxn ang="0">
                  <a:pos x="216" y="713"/>
                </a:cxn>
                <a:cxn ang="0">
                  <a:pos x="312" y="746"/>
                </a:cxn>
                <a:cxn ang="0">
                  <a:pos x="297" y="669"/>
                </a:cxn>
                <a:cxn ang="0">
                  <a:pos x="285" y="593"/>
                </a:cxn>
                <a:cxn ang="0">
                  <a:pos x="284" y="492"/>
                </a:cxn>
                <a:cxn ang="0">
                  <a:pos x="298" y="398"/>
                </a:cxn>
                <a:cxn ang="0">
                  <a:pos x="326" y="333"/>
                </a:cxn>
                <a:cxn ang="0">
                  <a:pos x="368" y="284"/>
                </a:cxn>
                <a:cxn ang="0">
                  <a:pos x="433" y="225"/>
                </a:cxn>
                <a:cxn ang="0">
                  <a:pos x="456" y="184"/>
                </a:cxn>
                <a:cxn ang="0">
                  <a:pos x="470" y="169"/>
                </a:cxn>
                <a:cxn ang="0">
                  <a:pos x="517" y="150"/>
                </a:cxn>
                <a:cxn ang="0">
                  <a:pos x="465" y="89"/>
                </a:cxn>
                <a:cxn ang="0">
                  <a:pos x="445" y="41"/>
                </a:cxn>
                <a:cxn ang="0">
                  <a:pos x="406" y="36"/>
                </a:cxn>
                <a:cxn ang="0">
                  <a:pos x="374" y="24"/>
                </a:cxn>
              </a:cxnLst>
              <a:rect l="0" t="0" r="r" b="b"/>
              <a:pathLst>
                <a:path w="517" h="746">
                  <a:moveTo>
                    <a:pt x="366" y="17"/>
                  </a:moveTo>
                  <a:lnTo>
                    <a:pt x="354" y="11"/>
                  </a:lnTo>
                  <a:lnTo>
                    <a:pt x="345" y="7"/>
                  </a:lnTo>
                  <a:lnTo>
                    <a:pt x="336" y="4"/>
                  </a:lnTo>
                  <a:lnTo>
                    <a:pt x="325" y="0"/>
                  </a:lnTo>
                  <a:lnTo>
                    <a:pt x="316" y="23"/>
                  </a:lnTo>
                  <a:lnTo>
                    <a:pt x="309" y="44"/>
                  </a:lnTo>
                  <a:lnTo>
                    <a:pt x="302" y="65"/>
                  </a:lnTo>
                  <a:lnTo>
                    <a:pt x="294" y="84"/>
                  </a:lnTo>
                  <a:lnTo>
                    <a:pt x="278" y="77"/>
                  </a:lnTo>
                  <a:lnTo>
                    <a:pt x="264" y="69"/>
                  </a:lnTo>
                  <a:lnTo>
                    <a:pt x="257" y="65"/>
                  </a:lnTo>
                  <a:lnTo>
                    <a:pt x="250" y="63"/>
                  </a:lnTo>
                  <a:lnTo>
                    <a:pt x="242" y="61"/>
                  </a:lnTo>
                  <a:lnTo>
                    <a:pt x="234" y="60"/>
                  </a:lnTo>
                  <a:lnTo>
                    <a:pt x="192" y="60"/>
                  </a:lnTo>
                  <a:lnTo>
                    <a:pt x="192" y="91"/>
                  </a:lnTo>
                  <a:lnTo>
                    <a:pt x="201" y="107"/>
                  </a:lnTo>
                  <a:lnTo>
                    <a:pt x="210" y="120"/>
                  </a:lnTo>
                  <a:lnTo>
                    <a:pt x="221" y="132"/>
                  </a:lnTo>
                  <a:lnTo>
                    <a:pt x="234" y="144"/>
                  </a:lnTo>
                  <a:lnTo>
                    <a:pt x="218" y="145"/>
                  </a:lnTo>
                  <a:lnTo>
                    <a:pt x="196" y="149"/>
                  </a:lnTo>
                  <a:lnTo>
                    <a:pt x="184" y="153"/>
                  </a:lnTo>
                  <a:lnTo>
                    <a:pt x="175" y="157"/>
                  </a:lnTo>
                  <a:lnTo>
                    <a:pt x="169" y="160"/>
                  </a:lnTo>
                  <a:lnTo>
                    <a:pt x="167" y="162"/>
                  </a:lnTo>
                  <a:lnTo>
                    <a:pt x="164" y="165"/>
                  </a:lnTo>
                  <a:lnTo>
                    <a:pt x="163" y="168"/>
                  </a:lnTo>
                  <a:lnTo>
                    <a:pt x="156" y="177"/>
                  </a:lnTo>
                  <a:lnTo>
                    <a:pt x="153" y="188"/>
                  </a:lnTo>
                  <a:lnTo>
                    <a:pt x="151" y="198"/>
                  </a:lnTo>
                  <a:lnTo>
                    <a:pt x="148" y="208"/>
                  </a:lnTo>
                  <a:lnTo>
                    <a:pt x="144" y="216"/>
                  </a:lnTo>
                  <a:lnTo>
                    <a:pt x="139" y="222"/>
                  </a:lnTo>
                  <a:lnTo>
                    <a:pt x="136" y="225"/>
                  </a:lnTo>
                  <a:lnTo>
                    <a:pt x="131" y="226"/>
                  </a:lnTo>
                  <a:lnTo>
                    <a:pt x="127" y="228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2" y="226"/>
                  </a:lnTo>
                  <a:lnTo>
                    <a:pt x="108" y="225"/>
                  </a:lnTo>
                  <a:lnTo>
                    <a:pt x="105" y="222"/>
                  </a:lnTo>
                  <a:lnTo>
                    <a:pt x="99" y="217"/>
                  </a:lnTo>
                  <a:lnTo>
                    <a:pt x="93" y="210"/>
                  </a:lnTo>
                  <a:lnTo>
                    <a:pt x="88" y="204"/>
                  </a:lnTo>
                  <a:lnTo>
                    <a:pt x="84" y="198"/>
                  </a:lnTo>
                  <a:lnTo>
                    <a:pt x="77" y="194"/>
                  </a:lnTo>
                  <a:lnTo>
                    <a:pt x="72" y="192"/>
                  </a:lnTo>
                  <a:lnTo>
                    <a:pt x="63" y="193"/>
                  </a:lnTo>
                  <a:lnTo>
                    <a:pt x="55" y="194"/>
                  </a:lnTo>
                  <a:lnTo>
                    <a:pt x="47" y="198"/>
                  </a:lnTo>
                  <a:lnTo>
                    <a:pt x="40" y="202"/>
                  </a:lnTo>
                  <a:lnTo>
                    <a:pt x="33" y="208"/>
                  </a:lnTo>
                  <a:lnTo>
                    <a:pt x="28" y="214"/>
                  </a:lnTo>
                  <a:lnTo>
                    <a:pt x="23" y="221"/>
                  </a:lnTo>
                  <a:lnTo>
                    <a:pt x="17" y="228"/>
                  </a:lnTo>
                  <a:lnTo>
                    <a:pt x="9" y="245"/>
                  </a:lnTo>
                  <a:lnTo>
                    <a:pt x="4" y="264"/>
                  </a:lnTo>
                  <a:lnTo>
                    <a:pt x="0" y="282"/>
                  </a:lnTo>
                  <a:lnTo>
                    <a:pt x="0" y="301"/>
                  </a:lnTo>
                  <a:lnTo>
                    <a:pt x="0" y="313"/>
                  </a:lnTo>
                  <a:lnTo>
                    <a:pt x="3" y="324"/>
                  </a:lnTo>
                  <a:lnTo>
                    <a:pt x="8" y="334"/>
                  </a:lnTo>
                  <a:lnTo>
                    <a:pt x="13" y="345"/>
                  </a:lnTo>
                  <a:lnTo>
                    <a:pt x="20" y="354"/>
                  </a:lnTo>
                  <a:lnTo>
                    <a:pt x="28" y="362"/>
                  </a:lnTo>
                  <a:lnTo>
                    <a:pt x="36" y="370"/>
                  </a:lnTo>
                  <a:lnTo>
                    <a:pt x="45" y="377"/>
                  </a:lnTo>
                  <a:lnTo>
                    <a:pt x="64" y="389"/>
                  </a:lnTo>
                  <a:lnTo>
                    <a:pt x="83" y="398"/>
                  </a:lnTo>
                  <a:lnTo>
                    <a:pt x="100" y="405"/>
                  </a:lnTo>
                  <a:lnTo>
                    <a:pt x="113" y="409"/>
                  </a:lnTo>
                  <a:lnTo>
                    <a:pt x="111" y="426"/>
                  </a:lnTo>
                  <a:lnTo>
                    <a:pt x="109" y="437"/>
                  </a:lnTo>
                  <a:lnTo>
                    <a:pt x="108" y="442"/>
                  </a:lnTo>
                  <a:lnTo>
                    <a:pt x="109" y="448"/>
                  </a:lnTo>
                  <a:lnTo>
                    <a:pt x="111" y="452"/>
                  </a:lnTo>
                  <a:lnTo>
                    <a:pt x="112" y="457"/>
                  </a:lnTo>
                  <a:lnTo>
                    <a:pt x="113" y="466"/>
                  </a:lnTo>
                  <a:lnTo>
                    <a:pt x="113" y="481"/>
                  </a:lnTo>
                  <a:lnTo>
                    <a:pt x="113" y="488"/>
                  </a:lnTo>
                  <a:lnTo>
                    <a:pt x="112" y="493"/>
                  </a:lnTo>
                  <a:lnTo>
                    <a:pt x="109" y="498"/>
                  </a:lnTo>
                  <a:lnTo>
                    <a:pt x="107" y="502"/>
                  </a:lnTo>
                  <a:lnTo>
                    <a:pt x="99" y="510"/>
                  </a:lnTo>
                  <a:lnTo>
                    <a:pt x="89" y="517"/>
                  </a:lnTo>
                  <a:lnTo>
                    <a:pt x="81" y="525"/>
                  </a:lnTo>
                  <a:lnTo>
                    <a:pt x="73" y="532"/>
                  </a:lnTo>
                  <a:lnTo>
                    <a:pt x="71" y="537"/>
                  </a:lnTo>
                  <a:lnTo>
                    <a:pt x="68" y="541"/>
                  </a:lnTo>
                  <a:lnTo>
                    <a:pt x="67" y="548"/>
                  </a:lnTo>
                  <a:lnTo>
                    <a:pt x="65" y="553"/>
                  </a:lnTo>
                  <a:lnTo>
                    <a:pt x="67" y="564"/>
                  </a:lnTo>
                  <a:lnTo>
                    <a:pt x="67" y="572"/>
                  </a:lnTo>
                  <a:lnTo>
                    <a:pt x="69" y="581"/>
                  </a:lnTo>
                  <a:lnTo>
                    <a:pt x="72" y="589"/>
                  </a:lnTo>
                  <a:lnTo>
                    <a:pt x="80" y="606"/>
                  </a:lnTo>
                  <a:lnTo>
                    <a:pt x="89" y="621"/>
                  </a:lnTo>
                  <a:lnTo>
                    <a:pt x="101" y="636"/>
                  </a:lnTo>
                  <a:lnTo>
                    <a:pt x="115" y="649"/>
                  </a:lnTo>
                  <a:lnTo>
                    <a:pt x="129" y="661"/>
                  </a:lnTo>
                  <a:lnTo>
                    <a:pt x="147" y="673"/>
                  </a:lnTo>
                  <a:lnTo>
                    <a:pt x="180" y="694"/>
                  </a:lnTo>
                  <a:lnTo>
                    <a:pt x="216" y="713"/>
                  </a:lnTo>
                  <a:lnTo>
                    <a:pt x="248" y="730"/>
                  </a:lnTo>
                  <a:lnTo>
                    <a:pt x="276" y="746"/>
                  </a:lnTo>
                  <a:lnTo>
                    <a:pt x="312" y="746"/>
                  </a:lnTo>
                  <a:lnTo>
                    <a:pt x="308" y="718"/>
                  </a:lnTo>
                  <a:lnTo>
                    <a:pt x="302" y="693"/>
                  </a:lnTo>
                  <a:lnTo>
                    <a:pt x="297" y="669"/>
                  </a:lnTo>
                  <a:lnTo>
                    <a:pt x="293" y="645"/>
                  </a:lnTo>
                  <a:lnTo>
                    <a:pt x="289" y="620"/>
                  </a:lnTo>
                  <a:lnTo>
                    <a:pt x="285" y="593"/>
                  </a:lnTo>
                  <a:lnTo>
                    <a:pt x="282" y="564"/>
                  </a:lnTo>
                  <a:lnTo>
                    <a:pt x="282" y="529"/>
                  </a:lnTo>
                  <a:lnTo>
                    <a:pt x="284" y="492"/>
                  </a:lnTo>
                  <a:lnTo>
                    <a:pt x="286" y="457"/>
                  </a:lnTo>
                  <a:lnTo>
                    <a:pt x="292" y="426"/>
                  </a:lnTo>
                  <a:lnTo>
                    <a:pt x="298" y="398"/>
                  </a:lnTo>
                  <a:lnTo>
                    <a:pt x="306" y="374"/>
                  </a:lnTo>
                  <a:lnTo>
                    <a:pt x="316" y="353"/>
                  </a:lnTo>
                  <a:lnTo>
                    <a:pt x="326" y="333"/>
                  </a:lnTo>
                  <a:lnTo>
                    <a:pt x="340" y="316"/>
                  </a:lnTo>
                  <a:lnTo>
                    <a:pt x="353" y="300"/>
                  </a:lnTo>
                  <a:lnTo>
                    <a:pt x="368" y="284"/>
                  </a:lnTo>
                  <a:lnTo>
                    <a:pt x="382" y="269"/>
                  </a:lnTo>
                  <a:lnTo>
                    <a:pt x="400" y="254"/>
                  </a:lnTo>
                  <a:lnTo>
                    <a:pt x="433" y="225"/>
                  </a:lnTo>
                  <a:lnTo>
                    <a:pt x="469" y="192"/>
                  </a:lnTo>
                  <a:lnTo>
                    <a:pt x="461" y="188"/>
                  </a:lnTo>
                  <a:lnTo>
                    <a:pt x="456" y="184"/>
                  </a:lnTo>
                  <a:lnTo>
                    <a:pt x="452" y="178"/>
                  </a:lnTo>
                  <a:lnTo>
                    <a:pt x="450" y="174"/>
                  </a:lnTo>
                  <a:lnTo>
                    <a:pt x="470" y="169"/>
                  </a:lnTo>
                  <a:lnTo>
                    <a:pt x="490" y="162"/>
                  </a:lnTo>
                  <a:lnTo>
                    <a:pt x="508" y="156"/>
                  </a:lnTo>
                  <a:lnTo>
                    <a:pt x="517" y="150"/>
                  </a:lnTo>
                  <a:lnTo>
                    <a:pt x="494" y="122"/>
                  </a:lnTo>
                  <a:lnTo>
                    <a:pt x="474" y="100"/>
                  </a:lnTo>
                  <a:lnTo>
                    <a:pt x="465" y="89"/>
                  </a:lnTo>
                  <a:lnTo>
                    <a:pt x="457" y="76"/>
                  </a:lnTo>
                  <a:lnTo>
                    <a:pt x="450" y="60"/>
                  </a:lnTo>
                  <a:lnTo>
                    <a:pt x="445" y="41"/>
                  </a:lnTo>
                  <a:lnTo>
                    <a:pt x="433" y="41"/>
                  </a:lnTo>
                  <a:lnTo>
                    <a:pt x="420" y="39"/>
                  </a:lnTo>
                  <a:lnTo>
                    <a:pt x="406" y="36"/>
                  </a:lnTo>
                  <a:lnTo>
                    <a:pt x="394" y="32"/>
                  </a:lnTo>
                  <a:lnTo>
                    <a:pt x="384" y="28"/>
                  </a:lnTo>
                  <a:lnTo>
                    <a:pt x="374" y="24"/>
                  </a:lnTo>
                  <a:lnTo>
                    <a:pt x="369" y="20"/>
                  </a:lnTo>
                  <a:lnTo>
                    <a:pt x="366" y="1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2" name="Freeform 35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3500438" y="2079625"/>
              <a:ext cx="534987" cy="242888"/>
            </a:xfrm>
            <a:custGeom>
              <a:avLst/>
              <a:gdLst/>
              <a:ahLst/>
              <a:cxnLst>
                <a:cxn ang="0">
                  <a:pos x="1100" y="22"/>
                </a:cxn>
                <a:cxn ang="0">
                  <a:pos x="1065" y="74"/>
                </a:cxn>
                <a:cxn ang="0">
                  <a:pos x="1038" y="83"/>
                </a:cxn>
                <a:cxn ang="0">
                  <a:pos x="976" y="77"/>
                </a:cxn>
                <a:cxn ang="0">
                  <a:pos x="902" y="101"/>
                </a:cxn>
                <a:cxn ang="0">
                  <a:pos x="838" y="101"/>
                </a:cxn>
                <a:cxn ang="0">
                  <a:pos x="754" y="56"/>
                </a:cxn>
                <a:cxn ang="0">
                  <a:pos x="710" y="75"/>
                </a:cxn>
                <a:cxn ang="0">
                  <a:pos x="495" y="119"/>
                </a:cxn>
                <a:cxn ang="0">
                  <a:pos x="460" y="146"/>
                </a:cxn>
                <a:cxn ang="0">
                  <a:pos x="445" y="171"/>
                </a:cxn>
                <a:cxn ang="0">
                  <a:pos x="388" y="163"/>
                </a:cxn>
                <a:cxn ang="0">
                  <a:pos x="349" y="185"/>
                </a:cxn>
                <a:cxn ang="0">
                  <a:pos x="323" y="166"/>
                </a:cxn>
                <a:cxn ang="0">
                  <a:pos x="327" y="225"/>
                </a:cxn>
                <a:cxn ang="0">
                  <a:pos x="277" y="233"/>
                </a:cxn>
                <a:cxn ang="0">
                  <a:pos x="299" y="279"/>
                </a:cxn>
                <a:cxn ang="0">
                  <a:pos x="279" y="291"/>
                </a:cxn>
                <a:cxn ang="0">
                  <a:pos x="235" y="275"/>
                </a:cxn>
                <a:cxn ang="0">
                  <a:pos x="236" y="322"/>
                </a:cxn>
                <a:cxn ang="0">
                  <a:pos x="215" y="331"/>
                </a:cxn>
                <a:cxn ang="0">
                  <a:pos x="189" y="334"/>
                </a:cxn>
                <a:cxn ang="0">
                  <a:pos x="176" y="382"/>
                </a:cxn>
                <a:cxn ang="0">
                  <a:pos x="135" y="378"/>
                </a:cxn>
                <a:cxn ang="0">
                  <a:pos x="79" y="377"/>
                </a:cxn>
                <a:cxn ang="0">
                  <a:pos x="7" y="414"/>
                </a:cxn>
                <a:cxn ang="0">
                  <a:pos x="3" y="437"/>
                </a:cxn>
                <a:cxn ang="0">
                  <a:pos x="65" y="483"/>
                </a:cxn>
                <a:cxn ang="0">
                  <a:pos x="41" y="498"/>
                </a:cxn>
                <a:cxn ang="0">
                  <a:pos x="3" y="509"/>
                </a:cxn>
                <a:cxn ang="0">
                  <a:pos x="1" y="531"/>
                </a:cxn>
                <a:cxn ang="0">
                  <a:pos x="25" y="545"/>
                </a:cxn>
                <a:cxn ang="0">
                  <a:pos x="61" y="563"/>
                </a:cxn>
                <a:cxn ang="0">
                  <a:pos x="73" y="617"/>
                </a:cxn>
                <a:cxn ang="0">
                  <a:pos x="111" y="639"/>
                </a:cxn>
                <a:cxn ang="0">
                  <a:pos x="175" y="647"/>
                </a:cxn>
                <a:cxn ang="0">
                  <a:pos x="189" y="630"/>
                </a:cxn>
                <a:cxn ang="0">
                  <a:pos x="203" y="569"/>
                </a:cxn>
                <a:cxn ang="0">
                  <a:pos x="241" y="582"/>
                </a:cxn>
                <a:cxn ang="0">
                  <a:pos x="232" y="533"/>
                </a:cxn>
                <a:cxn ang="0">
                  <a:pos x="248" y="538"/>
                </a:cxn>
                <a:cxn ang="0">
                  <a:pos x="279" y="551"/>
                </a:cxn>
                <a:cxn ang="0">
                  <a:pos x="295" y="515"/>
                </a:cxn>
                <a:cxn ang="0">
                  <a:pos x="287" y="483"/>
                </a:cxn>
                <a:cxn ang="0">
                  <a:pos x="309" y="487"/>
                </a:cxn>
                <a:cxn ang="0">
                  <a:pos x="341" y="490"/>
                </a:cxn>
                <a:cxn ang="0">
                  <a:pos x="388" y="422"/>
                </a:cxn>
                <a:cxn ang="0">
                  <a:pos x="423" y="421"/>
                </a:cxn>
                <a:cxn ang="0">
                  <a:pos x="449" y="421"/>
                </a:cxn>
                <a:cxn ang="0">
                  <a:pos x="464" y="397"/>
                </a:cxn>
                <a:cxn ang="0">
                  <a:pos x="537" y="390"/>
                </a:cxn>
                <a:cxn ang="0">
                  <a:pos x="570" y="365"/>
                </a:cxn>
                <a:cxn ang="0">
                  <a:pos x="582" y="338"/>
                </a:cxn>
                <a:cxn ang="0">
                  <a:pos x="680" y="302"/>
                </a:cxn>
                <a:cxn ang="0">
                  <a:pos x="849" y="269"/>
                </a:cxn>
                <a:cxn ang="0">
                  <a:pos x="1148" y="227"/>
                </a:cxn>
                <a:cxn ang="0">
                  <a:pos x="1217" y="174"/>
                </a:cxn>
                <a:cxn ang="0">
                  <a:pos x="1245" y="105"/>
                </a:cxn>
                <a:cxn ang="0">
                  <a:pos x="1244" y="61"/>
                </a:cxn>
                <a:cxn ang="0">
                  <a:pos x="1208" y="17"/>
                </a:cxn>
                <a:cxn ang="0">
                  <a:pos x="1154" y="0"/>
                </a:cxn>
                <a:cxn ang="0">
                  <a:pos x="1126" y="4"/>
                </a:cxn>
              </a:cxnLst>
              <a:rect l="0" t="0" r="r" b="b"/>
              <a:pathLst>
                <a:path w="1246" h="648">
                  <a:moveTo>
                    <a:pt x="1126" y="4"/>
                  </a:moveTo>
                  <a:lnTo>
                    <a:pt x="1118" y="8"/>
                  </a:lnTo>
                  <a:lnTo>
                    <a:pt x="1112" y="12"/>
                  </a:lnTo>
                  <a:lnTo>
                    <a:pt x="1105" y="17"/>
                  </a:lnTo>
                  <a:lnTo>
                    <a:pt x="1100" y="22"/>
                  </a:lnTo>
                  <a:lnTo>
                    <a:pt x="1090" y="36"/>
                  </a:lnTo>
                  <a:lnTo>
                    <a:pt x="1082" y="48"/>
                  </a:lnTo>
                  <a:lnTo>
                    <a:pt x="1076" y="60"/>
                  </a:lnTo>
                  <a:lnTo>
                    <a:pt x="1069" y="70"/>
                  </a:lnTo>
                  <a:lnTo>
                    <a:pt x="1065" y="74"/>
                  </a:lnTo>
                  <a:lnTo>
                    <a:pt x="1062" y="78"/>
                  </a:lnTo>
                  <a:lnTo>
                    <a:pt x="1058" y="81"/>
                  </a:lnTo>
                  <a:lnTo>
                    <a:pt x="1053" y="82"/>
                  </a:lnTo>
                  <a:lnTo>
                    <a:pt x="1046" y="83"/>
                  </a:lnTo>
                  <a:lnTo>
                    <a:pt x="1038" y="83"/>
                  </a:lnTo>
                  <a:lnTo>
                    <a:pt x="1030" y="82"/>
                  </a:lnTo>
                  <a:lnTo>
                    <a:pt x="1021" y="81"/>
                  </a:lnTo>
                  <a:lnTo>
                    <a:pt x="1005" y="78"/>
                  </a:lnTo>
                  <a:lnTo>
                    <a:pt x="993" y="75"/>
                  </a:lnTo>
                  <a:lnTo>
                    <a:pt x="976" y="77"/>
                  </a:lnTo>
                  <a:lnTo>
                    <a:pt x="960" y="81"/>
                  </a:lnTo>
                  <a:lnTo>
                    <a:pt x="945" y="86"/>
                  </a:lnTo>
                  <a:lnTo>
                    <a:pt x="930" y="91"/>
                  </a:lnTo>
                  <a:lnTo>
                    <a:pt x="917" y="97"/>
                  </a:lnTo>
                  <a:lnTo>
                    <a:pt x="902" y="101"/>
                  </a:lnTo>
                  <a:lnTo>
                    <a:pt x="888" y="105"/>
                  </a:lnTo>
                  <a:lnTo>
                    <a:pt x="873" y="106"/>
                  </a:lnTo>
                  <a:lnTo>
                    <a:pt x="861" y="105"/>
                  </a:lnTo>
                  <a:lnTo>
                    <a:pt x="849" y="103"/>
                  </a:lnTo>
                  <a:lnTo>
                    <a:pt x="838" y="101"/>
                  </a:lnTo>
                  <a:lnTo>
                    <a:pt x="829" y="97"/>
                  </a:lnTo>
                  <a:lnTo>
                    <a:pt x="810" y="87"/>
                  </a:lnTo>
                  <a:lnTo>
                    <a:pt x="792" y="75"/>
                  </a:lnTo>
                  <a:lnTo>
                    <a:pt x="773" y="65"/>
                  </a:lnTo>
                  <a:lnTo>
                    <a:pt x="754" y="56"/>
                  </a:lnTo>
                  <a:lnTo>
                    <a:pt x="744" y="52"/>
                  </a:lnTo>
                  <a:lnTo>
                    <a:pt x="733" y="49"/>
                  </a:lnTo>
                  <a:lnTo>
                    <a:pt x="722" y="46"/>
                  </a:lnTo>
                  <a:lnTo>
                    <a:pt x="710" y="46"/>
                  </a:lnTo>
                  <a:lnTo>
                    <a:pt x="710" y="75"/>
                  </a:lnTo>
                  <a:lnTo>
                    <a:pt x="572" y="75"/>
                  </a:lnTo>
                  <a:lnTo>
                    <a:pt x="542" y="90"/>
                  </a:lnTo>
                  <a:lnTo>
                    <a:pt x="519" y="105"/>
                  </a:lnTo>
                  <a:lnTo>
                    <a:pt x="507" y="113"/>
                  </a:lnTo>
                  <a:lnTo>
                    <a:pt x="495" y="119"/>
                  </a:lnTo>
                  <a:lnTo>
                    <a:pt x="483" y="125"/>
                  </a:lnTo>
                  <a:lnTo>
                    <a:pt x="469" y="130"/>
                  </a:lnTo>
                  <a:lnTo>
                    <a:pt x="465" y="134"/>
                  </a:lnTo>
                  <a:lnTo>
                    <a:pt x="463" y="139"/>
                  </a:lnTo>
                  <a:lnTo>
                    <a:pt x="460" y="146"/>
                  </a:lnTo>
                  <a:lnTo>
                    <a:pt x="457" y="154"/>
                  </a:lnTo>
                  <a:lnTo>
                    <a:pt x="453" y="161"/>
                  </a:lnTo>
                  <a:lnTo>
                    <a:pt x="451" y="166"/>
                  </a:lnTo>
                  <a:lnTo>
                    <a:pt x="448" y="169"/>
                  </a:lnTo>
                  <a:lnTo>
                    <a:pt x="445" y="171"/>
                  </a:lnTo>
                  <a:lnTo>
                    <a:pt x="443" y="171"/>
                  </a:lnTo>
                  <a:lnTo>
                    <a:pt x="440" y="173"/>
                  </a:lnTo>
                  <a:lnTo>
                    <a:pt x="419" y="161"/>
                  </a:lnTo>
                  <a:lnTo>
                    <a:pt x="404" y="149"/>
                  </a:lnTo>
                  <a:lnTo>
                    <a:pt x="388" y="163"/>
                  </a:lnTo>
                  <a:lnTo>
                    <a:pt x="376" y="173"/>
                  </a:lnTo>
                  <a:lnTo>
                    <a:pt x="371" y="177"/>
                  </a:lnTo>
                  <a:lnTo>
                    <a:pt x="364" y="179"/>
                  </a:lnTo>
                  <a:lnTo>
                    <a:pt x="357" y="182"/>
                  </a:lnTo>
                  <a:lnTo>
                    <a:pt x="349" y="185"/>
                  </a:lnTo>
                  <a:lnTo>
                    <a:pt x="347" y="177"/>
                  </a:lnTo>
                  <a:lnTo>
                    <a:pt x="344" y="171"/>
                  </a:lnTo>
                  <a:lnTo>
                    <a:pt x="340" y="169"/>
                  </a:lnTo>
                  <a:lnTo>
                    <a:pt x="335" y="166"/>
                  </a:lnTo>
                  <a:lnTo>
                    <a:pt x="323" y="166"/>
                  </a:lnTo>
                  <a:lnTo>
                    <a:pt x="307" y="166"/>
                  </a:lnTo>
                  <a:lnTo>
                    <a:pt x="307" y="209"/>
                  </a:lnTo>
                  <a:lnTo>
                    <a:pt x="315" y="213"/>
                  </a:lnTo>
                  <a:lnTo>
                    <a:pt x="321" y="218"/>
                  </a:lnTo>
                  <a:lnTo>
                    <a:pt x="327" y="225"/>
                  </a:lnTo>
                  <a:lnTo>
                    <a:pt x="331" y="233"/>
                  </a:lnTo>
                  <a:lnTo>
                    <a:pt x="317" y="233"/>
                  </a:lnTo>
                  <a:lnTo>
                    <a:pt x="304" y="233"/>
                  </a:lnTo>
                  <a:lnTo>
                    <a:pt x="291" y="233"/>
                  </a:lnTo>
                  <a:lnTo>
                    <a:pt x="277" y="233"/>
                  </a:lnTo>
                  <a:lnTo>
                    <a:pt x="280" y="243"/>
                  </a:lnTo>
                  <a:lnTo>
                    <a:pt x="283" y="251"/>
                  </a:lnTo>
                  <a:lnTo>
                    <a:pt x="285" y="259"/>
                  </a:lnTo>
                  <a:lnTo>
                    <a:pt x="289" y="266"/>
                  </a:lnTo>
                  <a:lnTo>
                    <a:pt x="299" y="279"/>
                  </a:lnTo>
                  <a:lnTo>
                    <a:pt x="307" y="299"/>
                  </a:lnTo>
                  <a:lnTo>
                    <a:pt x="299" y="298"/>
                  </a:lnTo>
                  <a:lnTo>
                    <a:pt x="291" y="297"/>
                  </a:lnTo>
                  <a:lnTo>
                    <a:pt x="284" y="294"/>
                  </a:lnTo>
                  <a:lnTo>
                    <a:pt x="279" y="291"/>
                  </a:lnTo>
                  <a:lnTo>
                    <a:pt x="275" y="287"/>
                  </a:lnTo>
                  <a:lnTo>
                    <a:pt x="271" y="283"/>
                  </a:lnTo>
                  <a:lnTo>
                    <a:pt x="267" y="279"/>
                  </a:lnTo>
                  <a:lnTo>
                    <a:pt x="265" y="275"/>
                  </a:lnTo>
                  <a:lnTo>
                    <a:pt x="235" y="275"/>
                  </a:lnTo>
                  <a:lnTo>
                    <a:pt x="236" y="293"/>
                  </a:lnTo>
                  <a:lnTo>
                    <a:pt x="237" y="306"/>
                  </a:lnTo>
                  <a:lnTo>
                    <a:pt x="237" y="311"/>
                  </a:lnTo>
                  <a:lnTo>
                    <a:pt x="237" y="317"/>
                  </a:lnTo>
                  <a:lnTo>
                    <a:pt x="236" y="322"/>
                  </a:lnTo>
                  <a:lnTo>
                    <a:pt x="235" y="329"/>
                  </a:lnTo>
                  <a:lnTo>
                    <a:pt x="229" y="330"/>
                  </a:lnTo>
                  <a:lnTo>
                    <a:pt x="225" y="331"/>
                  </a:lnTo>
                  <a:lnTo>
                    <a:pt x="220" y="331"/>
                  </a:lnTo>
                  <a:lnTo>
                    <a:pt x="215" y="331"/>
                  </a:lnTo>
                  <a:lnTo>
                    <a:pt x="208" y="330"/>
                  </a:lnTo>
                  <a:lnTo>
                    <a:pt x="204" y="329"/>
                  </a:lnTo>
                  <a:lnTo>
                    <a:pt x="199" y="330"/>
                  </a:lnTo>
                  <a:lnTo>
                    <a:pt x="193" y="331"/>
                  </a:lnTo>
                  <a:lnTo>
                    <a:pt x="189" y="334"/>
                  </a:lnTo>
                  <a:lnTo>
                    <a:pt x="187" y="337"/>
                  </a:lnTo>
                  <a:lnTo>
                    <a:pt x="181" y="346"/>
                  </a:lnTo>
                  <a:lnTo>
                    <a:pt x="180" y="357"/>
                  </a:lnTo>
                  <a:lnTo>
                    <a:pt x="179" y="369"/>
                  </a:lnTo>
                  <a:lnTo>
                    <a:pt x="176" y="382"/>
                  </a:lnTo>
                  <a:lnTo>
                    <a:pt x="173" y="395"/>
                  </a:lnTo>
                  <a:lnTo>
                    <a:pt x="168" y="407"/>
                  </a:lnTo>
                  <a:lnTo>
                    <a:pt x="155" y="394"/>
                  </a:lnTo>
                  <a:lnTo>
                    <a:pt x="141" y="382"/>
                  </a:lnTo>
                  <a:lnTo>
                    <a:pt x="135" y="378"/>
                  </a:lnTo>
                  <a:lnTo>
                    <a:pt x="128" y="374"/>
                  </a:lnTo>
                  <a:lnTo>
                    <a:pt x="121" y="371"/>
                  </a:lnTo>
                  <a:lnTo>
                    <a:pt x="115" y="371"/>
                  </a:lnTo>
                  <a:lnTo>
                    <a:pt x="97" y="373"/>
                  </a:lnTo>
                  <a:lnTo>
                    <a:pt x="79" y="377"/>
                  </a:lnTo>
                  <a:lnTo>
                    <a:pt x="60" y="382"/>
                  </a:lnTo>
                  <a:lnTo>
                    <a:pt x="41" y="390"/>
                  </a:lnTo>
                  <a:lnTo>
                    <a:pt x="25" y="399"/>
                  </a:lnTo>
                  <a:lnTo>
                    <a:pt x="12" y="409"/>
                  </a:lnTo>
                  <a:lnTo>
                    <a:pt x="7" y="414"/>
                  </a:lnTo>
                  <a:lnTo>
                    <a:pt x="3" y="421"/>
                  </a:lnTo>
                  <a:lnTo>
                    <a:pt x="0" y="426"/>
                  </a:lnTo>
                  <a:lnTo>
                    <a:pt x="0" y="431"/>
                  </a:lnTo>
                  <a:lnTo>
                    <a:pt x="0" y="434"/>
                  </a:lnTo>
                  <a:lnTo>
                    <a:pt x="3" y="437"/>
                  </a:lnTo>
                  <a:lnTo>
                    <a:pt x="7" y="441"/>
                  </a:lnTo>
                  <a:lnTo>
                    <a:pt x="11" y="445"/>
                  </a:lnTo>
                  <a:lnTo>
                    <a:pt x="23" y="454"/>
                  </a:lnTo>
                  <a:lnTo>
                    <a:pt x="37" y="465"/>
                  </a:lnTo>
                  <a:lnTo>
                    <a:pt x="65" y="483"/>
                  </a:lnTo>
                  <a:lnTo>
                    <a:pt x="84" y="498"/>
                  </a:lnTo>
                  <a:lnTo>
                    <a:pt x="69" y="498"/>
                  </a:lnTo>
                  <a:lnTo>
                    <a:pt x="56" y="498"/>
                  </a:lnTo>
                  <a:lnTo>
                    <a:pt x="45" y="498"/>
                  </a:lnTo>
                  <a:lnTo>
                    <a:pt x="41" y="498"/>
                  </a:lnTo>
                  <a:lnTo>
                    <a:pt x="31" y="497"/>
                  </a:lnTo>
                  <a:lnTo>
                    <a:pt x="16" y="498"/>
                  </a:lnTo>
                  <a:lnTo>
                    <a:pt x="9" y="501"/>
                  </a:lnTo>
                  <a:lnTo>
                    <a:pt x="4" y="505"/>
                  </a:lnTo>
                  <a:lnTo>
                    <a:pt x="3" y="509"/>
                  </a:lnTo>
                  <a:lnTo>
                    <a:pt x="1" y="511"/>
                  </a:lnTo>
                  <a:lnTo>
                    <a:pt x="0" y="517"/>
                  </a:lnTo>
                  <a:lnTo>
                    <a:pt x="0" y="522"/>
                  </a:lnTo>
                  <a:lnTo>
                    <a:pt x="0" y="527"/>
                  </a:lnTo>
                  <a:lnTo>
                    <a:pt x="1" y="531"/>
                  </a:lnTo>
                  <a:lnTo>
                    <a:pt x="3" y="534"/>
                  </a:lnTo>
                  <a:lnTo>
                    <a:pt x="5" y="538"/>
                  </a:lnTo>
                  <a:lnTo>
                    <a:pt x="11" y="541"/>
                  </a:lnTo>
                  <a:lnTo>
                    <a:pt x="17" y="543"/>
                  </a:lnTo>
                  <a:lnTo>
                    <a:pt x="25" y="545"/>
                  </a:lnTo>
                  <a:lnTo>
                    <a:pt x="33" y="546"/>
                  </a:lnTo>
                  <a:lnTo>
                    <a:pt x="40" y="549"/>
                  </a:lnTo>
                  <a:lnTo>
                    <a:pt x="48" y="551"/>
                  </a:lnTo>
                  <a:lnTo>
                    <a:pt x="56" y="557"/>
                  </a:lnTo>
                  <a:lnTo>
                    <a:pt x="61" y="563"/>
                  </a:lnTo>
                  <a:lnTo>
                    <a:pt x="64" y="570"/>
                  </a:lnTo>
                  <a:lnTo>
                    <a:pt x="67" y="578"/>
                  </a:lnTo>
                  <a:lnTo>
                    <a:pt x="69" y="594"/>
                  </a:lnTo>
                  <a:lnTo>
                    <a:pt x="72" y="613"/>
                  </a:lnTo>
                  <a:lnTo>
                    <a:pt x="73" y="617"/>
                  </a:lnTo>
                  <a:lnTo>
                    <a:pt x="76" y="621"/>
                  </a:lnTo>
                  <a:lnTo>
                    <a:pt x="80" y="625"/>
                  </a:lnTo>
                  <a:lnTo>
                    <a:pt x="85" y="627"/>
                  </a:lnTo>
                  <a:lnTo>
                    <a:pt x="97" y="634"/>
                  </a:lnTo>
                  <a:lnTo>
                    <a:pt x="111" y="639"/>
                  </a:lnTo>
                  <a:lnTo>
                    <a:pt x="127" y="643"/>
                  </a:lnTo>
                  <a:lnTo>
                    <a:pt x="141" y="646"/>
                  </a:lnTo>
                  <a:lnTo>
                    <a:pt x="156" y="647"/>
                  </a:lnTo>
                  <a:lnTo>
                    <a:pt x="168" y="648"/>
                  </a:lnTo>
                  <a:lnTo>
                    <a:pt x="175" y="647"/>
                  </a:lnTo>
                  <a:lnTo>
                    <a:pt x="180" y="646"/>
                  </a:lnTo>
                  <a:lnTo>
                    <a:pt x="184" y="643"/>
                  </a:lnTo>
                  <a:lnTo>
                    <a:pt x="187" y="639"/>
                  </a:lnTo>
                  <a:lnTo>
                    <a:pt x="188" y="635"/>
                  </a:lnTo>
                  <a:lnTo>
                    <a:pt x="189" y="630"/>
                  </a:lnTo>
                  <a:lnTo>
                    <a:pt x="191" y="623"/>
                  </a:lnTo>
                  <a:lnTo>
                    <a:pt x="191" y="617"/>
                  </a:lnTo>
                  <a:lnTo>
                    <a:pt x="189" y="590"/>
                  </a:lnTo>
                  <a:lnTo>
                    <a:pt x="187" y="563"/>
                  </a:lnTo>
                  <a:lnTo>
                    <a:pt x="203" y="569"/>
                  </a:lnTo>
                  <a:lnTo>
                    <a:pt x="216" y="575"/>
                  </a:lnTo>
                  <a:lnTo>
                    <a:pt x="221" y="578"/>
                  </a:lnTo>
                  <a:lnTo>
                    <a:pt x="228" y="579"/>
                  </a:lnTo>
                  <a:lnTo>
                    <a:pt x="235" y="582"/>
                  </a:lnTo>
                  <a:lnTo>
                    <a:pt x="241" y="582"/>
                  </a:lnTo>
                  <a:lnTo>
                    <a:pt x="241" y="571"/>
                  </a:lnTo>
                  <a:lnTo>
                    <a:pt x="240" y="561"/>
                  </a:lnTo>
                  <a:lnTo>
                    <a:pt x="237" y="550"/>
                  </a:lnTo>
                  <a:lnTo>
                    <a:pt x="235" y="541"/>
                  </a:lnTo>
                  <a:lnTo>
                    <a:pt x="232" y="533"/>
                  </a:lnTo>
                  <a:lnTo>
                    <a:pt x="229" y="525"/>
                  </a:lnTo>
                  <a:lnTo>
                    <a:pt x="228" y="517"/>
                  </a:lnTo>
                  <a:lnTo>
                    <a:pt x="228" y="510"/>
                  </a:lnTo>
                  <a:lnTo>
                    <a:pt x="237" y="523"/>
                  </a:lnTo>
                  <a:lnTo>
                    <a:pt x="248" y="538"/>
                  </a:lnTo>
                  <a:lnTo>
                    <a:pt x="253" y="543"/>
                  </a:lnTo>
                  <a:lnTo>
                    <a:pt x="259" y="547"/>
                  </a:lnTo>
                  <a:lnTo>
                    <a:pt x="264" y="551"/>
                  </a:lnTo>
                  <a:lnTo>
                    <a:pt x="271" y="551"/>
                  </a:lnTo>
                  <a:lnTo>
                    <a:pt x="279" y="551"/>
                  </a:lnTo>
                  <a:lnTo>
                    <a:pt x="285" y="547"/>
                  </a:lnTo>
                  <a:lnTo>
                    <a:pt x="289" y="543"/>
                  </a:lnTo>
                  <a:lnTo>
                    <a:pt x="292" y="538"/>
                  </a:lnTo>
                  <a:lnTo>
                    <a:pt x="295" y="526"/>
                  </a:lnTo>
                  <a:lnTo>
                    <a:pt x="295" y="515"/>
                  </a:lnTo>
                  <a:lnTo>
                    <a:pt x="295" y="506"/>
                  </a:lnTo>
                  <a:lnTo>
                    <a:pt x="292" y="498"/>
                  </a:lnTo>
                  <a:lnTo>
                    <a:pt x="291" y="491"/>
                  </a:lnTo>
                  <a:lnTo>
                    <a:pt x="288" y="487"/>
                  </a:lnTo>
                  <a:lnTo>
                    <a:pt x="287" y="483"/>
                  </a:lnTo>
                  <a:lnTo>
                    <a:pt x="287" y="478"/>
                  </a:lnTo>
                  <a:lnTo>
                    <a:pt x="289" y="474"/>
                  </a:lnTo>
                  <a:lnTo>
                    <a:pt x="295" y="467"/>
                  </a:lnTo>
                  <a:lnTo>
                    <a:pt x="301" y="477"/>
                  </a:lnTo>
                  <a:lnTo>
                    <a:pt x="309" y="487"/>
                  </a:lnTo>
                  <a:lnTo>
                    <a:pt x="319" y="494"/>
                  </a:lnTo>
                  <a:lnTo>
                    <a:pt x="325" y="498"/>
                  </a:lnTo>
                  <a:lnTo>
                    <a:pt x="331" y="497"/>
                  </a:lnTo>
                  <a:lnTo>
                    <a:pt x="336" y="494"/>
                  </a:lnTo>
                  <a:lnTo>
                    <a:pt x="341" y="490"/>
                  </a:lnTo>
                  <a:lnTo>
                    <a:pt x="348" y="485"/>
                  </a:lnTo>
                  <a:lnTo>
                    <a:pt x="359" y="470"/>
                  </a:lnTo>
                  <a:lnTo>
                    <a:pt x="369" y="454"/>
                  </a:lnTo>
                  <a:lnTo>
                    <a:pt x="379" y="437"/>
                  </a:lnTo>
                  <a:lnTo>
                    <a:pt x="388" y="422"/>
                  </a:lnTo>
                  <a:lnTo>
                    <a:pt x="396" y="409"/>
                  </a:lnTo>
                  <a:lnTo>
                    <a:pt x="404" y="401"/>
                  </a:lnTo>
                  <a:lnTo>
                    <a:pt x="412" y="410"/>
                  </a:lnTo>
                  <a:lnTo>
                    <a:pt x="419" y="418"/>
                  </a:lnTo>
                  <a:lnTo>
                    <a:pt x="423" y="421"/>
                  </a:lnTo>
                  <a:lnTo>
                    <a:pt x="428" y="423"/>
                  </a:lnTo>
                  <a:lnTo>
                    <a:pt x="433" y="425"/>
                  </a:lnTo>
                  <a:lnTo>
                    <a:pt x="440" y="425"/>
                  </a:lnTo>
                  <a:lnTo>
                    <a:pt x="445" y="423"/>
                  </a:lnTo>
                  <a:lnTo>
                    <a:pt x="449" y="421"/>
                  </a:lnTo>
                  <a:lnTo>
                    <a:pt x="452" y="415"/>
                  </a:lnTo>
                  <a:lnTo>
                    <a:pt x="455" y="410"/>
                  </a:lnTo>
                  <a:lnTo>
                    <a:pt x="457" y="405"/>
                  </a:lnTo>
                  <a:lnTo>
                    <a:pt x="460" y="399"/>
                  </a:lnTo>
                  <a:lnTo>
                    <a:pt x="464" y="397"/>
                  </a:lnTo>
                  <a:lnTo>
                    <a:pt x="469" y="395"/>
                  </a:lnTo>
                  <a:lnTo>
                    <a:pt x="485" y="395"/>
                  </a:lnTo>
                  <a:lnTo>
                    <a:pt x="511" y="394"/>
                  </a:lnTo>
                  <a:lnTo>
                    <a:pt x="524" y="393"/>
                  </a:lnTo>
                  <a:lnTo>
                    <a:pt x="537" y="390"/>
                  </a:lnTo>
                  <a:lnTo>
                    <a:pt x="549" y="387"/>
                  </a:lnTo>
                  <a:lnTo>
                    <a:pt x="560" y="383"/>
                  </a:lnTo>
                  <a:lnTo>
                    <a:pt x="565" y="378"/>
                  </a:lnTo>
                  <a:lnTo>
                    <a:pt x="569" y="371"/>
                  </a:lnTo>
                  <a:lnTo>
                    <a:pt x="570" y="365"/>
                  </a:lnTo>
                  <a:lnTo>
                    <a:pt x="573" y="357"/>
                  </a:lnTo>
                  <a:lnTo>
                    <a:pt x="574" y="350"/>
                  </a:lnTo>
                  <a:lnTo>
                    <a:pt x="577" y="343"/>
                  </a:lnTo>
                  <a:lnTo>
                    <a:pt x="580" y="341"/>
                  </a:lnTo>
                  <a:lnTo>
                    <a:pt x="582" y="338"/>
                  </a:lnTo>
                  <a:lnTo>
                    <a:pt x="585" y="337"/>
                  </a:lnTo>
                  <a:lnTo>
                    <a:pt x="590" y="335"/>
                  </a:lnTo>
                  <a:lnTo>
                    <a:pt x="622" y="321"/>
                  </a:lnTo>
                  <a:lnTo>
                    <a:pt x="652" y="310"/>
                  </a:lnTo>
                  <a:lnTo>
                    <a:pt x="680" y="302"/>
                  </a:lnTo>
                  <a:lnTo>
                    <a:pt x="708" y="295"/>
                  </a:lnTo>
                  <a:lnTo>
                    <a:pt x="738" y="289"/>
                  </a:lnTo>
                  <a:lnTo>
                    <a:pt x="770" y="283"/>
                  </a:lnTo>
                  <a:lnTo>
                    <a:pt x="806" y="277"/>
                  </a:lnTo>
                  <a:lnTo>
                    <a:pt x="849" y="269"/>
                  </a:lnTo>
                  <a:lnTo>
                    <a:pt x="1048" y="269"/>
                  </a:lnTo>
                  <a:lnTo>
                    <a:pt x="1080" y="255"/>
                  </a:lnTo>
                  <a:lnTo>
                    <a:pt x="1114" y="242"/>
                  </a:lnTo>
                  <a:lnTo>
                    <a:pt x="1132" y="235"/>
                  </a:lnTo>
                  <a:lnTo>
                    <a:pt x="1148" y="227"/>
                  </a:lnTo>
                  <a:lnTo>
                    <a:pt x="1164" y="218"/>
                  </a:lnTo>
                  <a:lnTo>
                    <a:pt x="1178" y="209"/>
                  </a:lnTo>
                  <a:lnTo>
                    <a:pt x="1193" y="199"/>
                  </a:lnTo>
                  <a:lnTo>
                    <a:pt x="1206" y="187"/>
                  </a:lnTo>
                  <a:lnTo>
                    <a:pt x="1217" y="174"/>
                  </a:lnTo>
                  <a:lnTo>
                    <a:pt x="1228" y="159"/>
                  </a:lnTo>
                  <a:lnTo>
                    <a:pt x="1236" y="143"/>
                  </a:lnTo>
                  <a:lnTo>
                    <a:pt x="1241" y="125"/>
                  </a:lnTo>
                  <a:lnTo>
                    <a:pt x="1244" y="115"/>
                  </a:lnTo>
                  <a:lnTo>
                    <a:pt x="1245" y="105"/>
                  </a:lnTo>
                  <a:lnTo>
                    <a:pt x="1246" y="94"/>
                  </a:lnTo>
                  <a:lnTo>
                    <a:pt x="1246" y="82"/>
                  </a:lnTo>
                  <a:lnTo>
                    <a:pt x="1246" y="74"/>
                  </a:lnTo>
                  <a:lnTo>
                    <a:pt x="1245" y="67"/>
                  </a:lnTo>
                  <a:lnTo>
                    <a:pt x="1244" y="61"/>
                  </a:lnTo>
                  <a:lnTo>
                    <a:pt x="1241" y="54"/>
                  </a:lnTo>
                  <a:lnTo>
                    <a:pt x="1236" y="42"/>
                  </a:lnTo>
                  <a:lnTo>
                    <a:pt x="1228" y="33"/>
                  </a:lnTo>
                  <a:lnTo>
                    <a:pt x="1218" y="24"/>
                  </a:lnTo>
                  <a:lnTo>
                    <a:pt x="1208" y="17"/>
                  </a:lnTo>
                  <a:lnTo>
                    <a:pt x="1197" y="12"/>
                  </a:lnTo>
                  <a:lnTo>
                    <a:pt x="1186" y="6"/>
                  </a:lnTo>
                  <a:lnTo>
                    <a:pt x="1174" y="4"/>
                  </a:lnTo>
                  <a:lnTo>
                    <a:pt x="1164" y="1"/>
                  </a:lnTo>
                  <a:lnTo>
                    <a:pt x="1154" y="0"/>
                  </a:lnTo>
                  <a:lnTo>
                    <a:pt x="1145" y="0"/>
                  </a:lnTo>
                  <a:lnTo>
                    <a:pt x="1137" y="0"/>
                  </a:lnTo>
                  <a:lnTo>
                    <a:pt x="1132" y="1"/>
                  </a:lnTo>
                  <a:lnTo>
                    <a:pt x="1128" y="2"/>
                  </a:lnTo>
                  <a:lnTo>
                    <a:pt x="1126" y="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3" name="Freeform 3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1682750" y="2565400"/>
              <a:ext cx="439738" cy="347663"/>
            </a:xfrm>
            <a:custGeom>
              <a:avLst/>
              <a:gdLst/>
              <a:ahLst/>
              <a:cxnLst>
                <a:cxn ang="0">
                  <a:pos x="423" y="18"/>
                </a:cxn>
                <a:cxn ang="0">
                  <a:pos x="322" y="40"/>
                </a:cxn>
                <a:cxn ang="0">
                  <a:pos x="294" y="156"/>
                </a:cxn>
                <a:cxn ang="0">
                  <a:pos x="314" y="226"/>
                </a:cxn>
                <a:cxn ang="0">
                  <a:pos x="353" y="289"/>
                </a:cxn>
                <a:cxn ang="0">
                  <a:pos x="347" y="340"/>
                </a:cxn>
                <a:cxn ang="0">
                  <a:pos x="323" y="370"/>
                </a:cxn>
                <a:cxn ang="0">
                  <a:pos x="306" y="346"/>
                </a:cxn>
                <a:cxn ang="0">
                  <a:pos x="285" y="253"/>
                </a:cxn>
                <a:cxn ang="0">
                  <a:pos x="225" y="216"/>
                </a:cxn>
                <a:cxn ang="0">
                  <a:pos x="174" y="198"/>
                </a:cxn>
                <a:cxn ang="0">
                  <a:pos x="126" y="173"/>
                </a:cxn>
                <a:cxn ang="0">
                  <a:pos x="92" y="194"/>
                </a:cxn>
                <a:cxn ang="0">
                  <a:pos x="78" y="252"/>
                </a:cxn>
                <a:cxn ang="0">
                  <a:pos x="12" y="260"/>
                </a:cxn>
                <a:cxn ang="0">
                  <a:pos x="0" y="306"/>
                </a:cxn>
                <a:cxn ang="0">
                  <a:pos x="13" y="358"/>
                </a:cxn>
                <a:cxn ang="0">
                  <a:pos x="40" y="408"/>
                </a:cxn>
                <a:cxn ang="0">
                  <a:pos x="36" y="462"/>
                </a:cxn>
                <a:cxn ang="0">
                  <a:pos x="24" y="517"/>
                </a:cxn>
                <a:cxn ang="0">
                  <a:pos x="37" y="579"/>
                </a:cxn>
                <a:cxn ang="0">
                  <a:pos x="57" y="582"/>
                </a:cxn>
                <a:cxn ang="0">
                  <a:pos x="84" y="558"/>
                </a:cxn>
                <a:cxn ang="0">
                  <a:pos x="118" y="551"/>
                </a:cxn>
                <a:cxn ang="0">
                  <a:pos x="134" y="574"/>
                </a:cxn>
                <a:cxn ang="0">
                  <a:pos x="193" y="581"/>
                </a:cxn>
                <a:cxn ang="0">
                  <a:pos x="259" y="590"/>
                </a:cxn>
                <a:cxn ang="0">
                  <a:pos x="307" y="613"/>
                </a:cxn>
                <a:cxn ang="0">
                  <a:pos x="335" y="601"/>
                </a:cxn>
                <a:cxn ang="0">
                  <a:pos x="363" y="597"/>
                </a:cxn>
                <a:cxn ang="0">
                  <a:pos x="395" y="622"/>
                </a:cxn>
                <a:cxn ang="0">
                  <a:pos x="407" y="674"/>
                </a:cxn>
                <a:cxn ang="0">
                  <a:pos x="430" y="707"/>
                </a:cxn>
                <a:cxn ang="0">
                  <a:pos x="458" y="707"/>
                </a:cxn>
                <a:cxn ang="0">
                  <a:pos x="470" y="706"/>
                </a:cxn>
                <a:cxn ang="0">
                  <a:pos x="497" y="721"/>
                </a:cxn>
                <a:cxn ang="0">
                  <a:pos x="517" y="786"/>
                </a:cxn>
                <a:cxn ang="0">
                  <a:pos x="543" y="878"/>
                </a:cxn>
                <a:cxn ang="0">
                  <a:pos x="586" y="914"/>
                </a:cxn>
                <a:cxn ang="0">
                  <a:pos x="674" y="926"/>
                </a:cxn>
                <a:cxn ang="0">
                  <a:pos x="741" y="895"/>
                </a:cxn>
                <a:cxn ang="0">
                  <a:pos x="773" y="857"/>
                </a:cxn>
                <a:cxn ang="0">
                  <a:pos x="765" y="809"/>
                </a:cxn>
                <a:cxn ang="0">
                  <a:pos x="777" y="775"/>
                </a:cxn>
                <a:cxn ang="0">
                  <a:pos x="859" y="713"/>
                </a:cxn>
                <a:cxn ang="0">
                  <a:pos x="1023" y="625"/>
                </a:cxn>
                <a:cxn ang="0">
                  <a:pos x="959" y="557"/>
                </a:cxn>
                <a:cxn ang="0">
                  <a:pos x="873" y="457"/>
                </a:cxn>
                <a:cxn ang="0">
                  <a:pos x="841" y="490"/>
                </a:cxn>
                <a:cxn ang="0">
                  <a:pos x="831" y="505"/>
                </a:cxn>
                <a:cxn ang="0">
                  <a:pos x="714" y="477"/>
                </a:cxn>
                <a:cxn ang="0">
                  <a:pos x="661" y="440"/>
                </a:cxn>
                <a:cxn ang="0">
                  <a:pos x="637" y="369"/>
                </a:cxn>
                <a:cxn ang="0">
                  <a:pos x="614" y="282"/>
                </a:cxn>
                <a:cxn ang="0">
                  <a:pos x="554" y="150"/>
                </a:cxn>
                <a:cxn ang="0">
                  <a:pos x="531" y="61"/>
                </a:cxn>
              </a:cxnLst>
              <a:rect l="0" t="0" r="r" b="b"/>
              <a:pathLst>
                <a:path w="1023" h="926">
                  <a:moveTo>
                    <a:pt x="523" y="24"/>
                  </a:moveTo>
                  <a:lnTo>
                    <a:pt x="497" y="22"/>
                  </a:lnTo>
                  <a:lnTo>
                    <a:pt x="471" y="22"/>
                  </a:lnTo>
                  <a:lnTo>
                    <a:pt x="447" y="21"/>
                  </a:lnTo>
                  <a:lnTo>
                    <a:pt x="423" y="18"/>
                  </a:lnTo>
                  <a:lnTo>
                    <a:pt x="401" y="14"/>
                  </a:lnTo>
                  <a:lnTo>
                    <a:pt x="379" y="10"/>
                  </a:lnTo>
                  <a:lnTo>
                    <a:pt x="358" y="5"/>
                  </a:lnTo>
                  <a:lnTo>
                    <a:pt x="337" y="0"/>
                  </a:lnTo>
                  <a:lnTo>
                    <a:pt x="322" y="40"/>
                  </a:lnTo>
                  <a:lnTo>
                    <a:pt x="309" y="80"/>
                  </a:lnTo>
                  <a:lnTo>
                    <a:pt x="303" y="100"/>
                  </a:lnTo>
                  <a:lnTo>
                    <a:pt x="299" y="118"/>
                  </a:lnTo>
                  <a:lnTo>
                    <a:pt x="295" y="137"/>
                  </a:lnTo>
                  <a:lnTo>
                    <a:pt x="294" y="156"/>
                  </a:lnTo>
                  <a:lnTo>
                    <a:pt x="293" y="170"/>
                  </a:lnTo>
                  <a:lnTo>
                    <a:pt x="294" y="182"/>
                  </a:lnTo>
                  <a:lnTo>
                    <a:pt x="297" y="194"/>
                  </a:lnTo>
                  <a:lnTo>
                    <a:pt x="301" y="205"/>
                  </a:lnTo>
                  <a:lnTo>
                    <a:pt x="314" y="226"/>
                  </a:lnTo>
                  <a:lnTo>
                    <a:pt x="330" y="245"/>
                  </a:lnTo>
                  <a:lnTo>
                    <a:pt x="338" y="256"/>
                  </a:lnTo>
                  <a:lnTo>
                    <a:pt x="343" y="266"/>
                  </a:lnTo>
                  <a:lnTo>
                    <a:pt x="350" y="277"/>
                  </a:lnTo>
                  <a:lnTo>
                    <a:pt x="353" y="289"/>
                  </a:lnTo>
                  <a:lnTo>
                    <a:pt x="355" y="302"/>
                  </a:lnTo>
                  <a:lnTo>
                    <a:pt x="354" y="316"/>
                  </a:lnTo>
                  <a:lnTo>
                    <a:pt x="353" y="324"/>
                  </a:lnTo>
                  <a:lnTo>
                    <a:pt x="350" y="332"/>
                  </a:lnTo>
                  <a:lnTo>
                    <a:pt x="347" y="340"/>
                  </a:lnTo>
                  <a:lnTo>
                    <a:pt x="343" y="349"/>
                  </a:lnTo>
                  <a:lnTo>
                    <a:pt x="335" y="361"/>
                  </a:lnTo>
                  <a:lnTo>
                    <a:pt x="329" y="368"/>
                  </a:lnTo>
                  <a:lnTo>
                    <a:pt x="326" y="369"/>
                  </a:lnTo>
                  <a:lnTo>
                    <a:pt x="323" y="370"/>
                  </a:lnTo>
                  <a:lnTo>
                    <a:pt x="321" y="370"/>
                  </a:lnTo>
                  <a:lnTo>
                    <a:pt x="318" y="369"/>
                  </a:lnTo>
                  <a:lnTo>
                    <a:pt x="314" y="364"/>
                  </a:lnTo>
                  <a:lnTo>
                    <a:pt x="310" y="356"/>
                  </a:lnTo>
                  <a:lnTo>
                    <a:pt x="306" y="346"/>
                  </a:lnTo>
                  <a:lnTo>
                    <a:pt x="303" y="334"/>
                  </a:lnTo>
                  <a:lnTo>
                    <a:pt x="297" y="306"/>
                  </a:lnTo>
                  <a:lnTo>
                    <a:pt x="291" y="278"/>
                  </a:lnTo>
                  <a:lnTo>
                    <a:pt x="287" y="265"/>
                  </a:lnTo>
                  <a:lnTo>
                    <a:pt x="285" y="253"/>
                  </a:lnTo>
                  <a:lnTo>
                    <a:pt x="281" y="242"/>
                  </a:lnTo>
                  <a:lnTo>
                    <a:pt x="277" y="234"/>
                  </a:lnTo>
                  <a:lnTo>
                    <a:pt x="257" y="226"/>
                  </a:lnTo>
                  <a:lnTo>
                    <a:pt x="241" y="220"/>
                  </a:lnTo>
                  <a:lnTo>
                    <a:pt x="225" y="216"/>
                  </a:lnTo>
                  <a:lnTo>
                    <a:pt x="211" y="212"/>
                  </a:lnTo>
                  <a:lnTo>
                    <a:pt x="201" y="208"/>
                  </a:lnTo>
                  <a:lnTo>
                    <a:pt x="190" y="205"/>
                  </a:lnTo>
                  <a:lnTo>
                    <a:pt x="182" y="202"/>
                  </a:lnTo>
                  <a:lnTo>
                    <a:pt x="174" y="198"/>
                  </a:lnTo>
                  <a:lnTo>
                    <a:pt x="162" y="188"/>
                  </a:lnTo>
                  <a:lnTo>
                    <a:pt x="152" y="181"/>
                  </a:lnTo>
                  <a:lnTo>
                    <a:pt x="142" y="177"/>
                  </a:lnTo>
                  <a:lnTo>
                    <a:pt x="134" y="174"/>
                  </a:lnTo>
                  <a:lnTo>
                    <a:pt x="126" y="173"/>
                  </a:lnTo>
                  <a:lnTo>
                    <a:pt x="120" y="174"/>
                  </a:lnTo>
                  <a:lnTo>
                    <a:pt x="113" y="177"/>
                  </a:lnTo>
                  <a:lnTo>
                    <a:pt x="108" y="180"/>
                  </a:lnTo>
                  <a:lnTo>
                    <a:pt x="100" y="188"/>
                  </a:lnTo>
                  <a:lnTo>
                    <a:pt x="92" y="194"/>
                  </a:lnTo>
                  <a:lnTo>
                    <a:pt x="88" y="197"/>
                  </a:lnTo>
                  <a:lnTo>
                    <a:pt x="85" y="198"/>
                  </a:lnTo>
                  <a:lnTo>
                    <a:pt x="81" y="200"/>
                  </a:lnTo>
                  <a:lnTo>
                    <a:pt x="78" y="198"/>
                  </a:lnTo>
                  <a:lnTo>
                    <a:pt x="78" y="252"/>
                  </a:lnTo>
                  <a:lnTo>
                    <a:pt x="57" y="252"/>
                  </a:lnTo>
                  <a:lnTo>
                    <a:pt x="41" y="252"/>
                  </a:lnTo>
                  <a:lnTo>
                    <a:pt x="26" y="253"/>
                  </a:lnTo>
                  <a:lnTo>
                    <a:pt x="17" y="257"/>
                  </a:lnTo>
                  <a:lnTo>
                    <a:pt x="12" y="260"/>
                  </a:lnTo>
                  <a:lnTo>
                    <a:pt x="9" y="262"/>
                  </a:lnTo>
                  <a:lnTo>
                    <a:pt x="6" y="268"/>
                  </a:lnTo>
                  <a:lnTo>
                    <a:pt x="4" y="273"/>
                  </a:lnTo>
                  <a:lnTo>
                    <a:pt x="1" y="286"/>
                  </a:lnTo>
                  <a:lnTo>
                    <a:pt x="0" y="306"/>
                  </a:lnTo>
                  <a:lnTo>
                    <a:pt x="0" y="318"/>
                  </a:lnTo>
                  <a:lnTo>
                    <a:pt x="1" y="328"/>
                  </a:lnTo>
                  <a:lnTo>
                    <a:pt x="4" y="337"/>
                  </a:lnTo>
                  <a:lnTo>
                    <a:pt x="6" y="345"/>
                  </a:lnTo>
                  <a:lnTo>
                    <a:pt x="13" y="358"/>
                  </a:lnTo>
                  <a:lnTo>
                    <a:pt x="21" y="369"/>
                  </a:lnTo>
                  <a:lnTo>
                    <a:pt x="29" y="380"/>
                  </a:lnTo>
                  <a:lnTo>
                    <a:pt x="36" y="392"/>
                  </a:lnTo>
                  <a:lnTo>
                    <a:pt x="38" y="400"/>
                  </a:lnTo>
                  <a:lnTo>
                    <a:pt x="40" y="408"/>
                  </a:lnTo>
                  <a:lnTo>
                    <a:pt x="41" y="416"/>
                  </a:lnTo>
                  <a:lnTo>
                    <a:pt x="42" y="426"/>
                  </a:lnTo>
                  <a:lnTo>
                    <a:pt x="41" y="440"/>
                  </a:lnTo>
                  <a:lnTo>
                    <a:pt x="40" y="452"/>
                  </a:lnTo>
                  <a:lnTo>
                    <a:pt x="36" y="462"/>
                  </a:lnTo>
                  <a:lnTo>
                    <a:pt x="33" y="472"/>
                  </a:lnTo>
                  <a:lnTo>
                    <a:pt x="29" y="482"/>
                  </a:lnTo>
                  <a:lnTo>
                    <a:pt x="26" y="493"/>
                  </a:lnTo>
                  <a:lnTo>
                    <a:pt x="25" y="505"/>
                  </a:lnTo>
                  <a:lnTo>
                    <a:pt x="24" y="517"/>
                  </a:lnTo>
                  <a:lnTo>
                    <a:pt x="24" y="539"/>
                  </a:lnTo>
                  <a:lnTo>
                    <a:pt x="26" y="561"/>
                  </a:lnTo>
                  <a:lnTo>
                    <a:pt x="30" y="570"/>
                  </a:lnTo>
                  <a:lnTo>
                    <a:pt x="34" y="577"/>
                  </a:lnTo>
                  <a:lnTo>
                    <a:pt x="37" y="579"/>
                  </a:lnTo>
                  <a:lnTo>
                    <a:pt x="40" y="582"/>
                  </a:lnTo>
                  <a:lnTo>
                    <a:pt x="44" y="583"/>
                  </a:lnTo>
                  <a:lnTo>
                    <a:pt x="48" y="583"/>
                  </a:lnTo>
                  <a:lnTo>
                    <a:pt x="53" y="583"/>
                  </a:lnTo>
                  <a:lnTo>
                    <a:pt x="57" y="582"/>
                  </a:lnTo>
                  <a:lnTo>
                    <a:pt x="61" y="579"/>
                  </a:lnTo>
                  <a:lnTo>
                    <a:pt x="64" y="578"/>
                  </a:lnTo>
                  <a:lnTo>
                    <a:pt x="70" y="571"/>
                  </a:lnTo>
                  <a:lnTo>
                    <a:pt x="77" y="565"/>
                  </a:lnTo>
                  <a:lnTo>
                    <a:pt x="84" y="558"/>
                  </a:lnTo>
                  <a:lnTo>
                    <a:pt x="89" y="553"/>
                  </a:lnTo>
                  <a:lnTo>
                    <a:pt x="96" y="549"/>
                  </a:lnTo>
                  <a:lnTo>
                    <a:pt x="102" y="547"/>
                  </a:lnTo>
                  <a:lnTo>
                    <a:pt x="112" y="549"/>
                  </a:lnTo>
                  <a:lnTo>
                    <a:pt x="118" y="551"/>
                  </a:lnTo>
                  <a:lnTo>
                    <a:pt x="124" y="555"/>
                  </a:lnTo>
                  <a:lnTo>
                    <a:pt x="128" y="559"/>
                  </a:lnTo>
                  <a:lnTo>
                    <a:pt x="129" y="565"/>
                  </a:lnTo>
                  <a:lnTo>
                    <a:pt x="132" y="570"/>
                  </a:lnTo>
                  <a:lnTo>
                    <a:pt x="134" y="574"/>
                  </a:lnTo>
                  <a:lnTo>
                    <a:pt x="138" y="577"/>
                  </a:lnTo>
                  <a:lnTo>
                    <a:pt x="152" y="581"/>
                  </a:lnTo>
                  <a:lnTo>
                    <a:pt x="165" y="582"/>
                  </a:lnTo>
                  <a:lnTo>
                    <a:pt x="178" y="581"/>
                  </a:lnTo>
                  <a:lnTo>
                    <a:pt x="193" y="581"/>
                  </a:lnTo>
                  <a:lnTo>
                    <a:pt x="206" y="579"/>
                  </a:lnTo>
                  <a:lnTo>
                    <a:pt x="219" y="579"/>
                  </a:lnTo>
                  <a:lnTo>
                    <a:pt x="233" y="579"/>
                  </a:lnTo>
                  <a:lnTo>
                    <a:pt x="246" y="583"/>
                  </a:lnTo>
                  <a:lnTo>
                    <a:pt x="259" y="590"/>
                  </a:lnTo>
                  <a:lnTo>
                    <a:pt x="273" y="601"/>
                  </a:lnTo>
                  <a:lnTo>
                    <a:pt x="279" y="605"/>
                  </a:lnTo>
                  <a:lnTo>
                    <a:pt x="287" y="610"/>
                  </a:lnTo>
                  <a:lnTo>
                    <a:pt x="297" y="613"/>
                  </a:lnTo>
                  <a:lnTo>
                    <a:pt x="307" y="613"/>
                  </a:lnTo>
                  <a:lnTo>
                    <a:pt x="313" y="613"/>
                  </a:lnTo>
                  <a:lnTo>
                    <a:pt x="319" y="610"/>
                  </a:lnTo>
                  <a:lnTo>
                    <a:pt x="325" y="607"/>
                  </a:lnTo>
                  <a:lnTo>
                    <a:pt x="330" y="605"/>
                  </a:lnTo>
                  <a:lnTo>
                    <a:pt x="335" y="601"/>
                  </a:lnTo>
                  <a:lnTo>
                    <a:pt x="339" y="598"/>
                  </a:lnTo>
                  <a:lnTo>
                    <a:pt x="345" y="595"/>
                  </a:lnTo>
                  <a:lnTo>
                    <a:pt x="349" y="595"/>
                  </a:lnTo>
                  <a:lnTo>
                    <a:pt x="357" y="595"/>
                  </a:lnTo>
                  <a:lnTo>
                    <a:pt x="363" y="597"/>
                  </a:lnTo>
                  <a:lnTo>
                    <a:pt x="369" y="598"/>
                  </a:lnTo>
                  <a:lnTo>
                    <a:pt x="374" y="601"/>
                  </a:lnTo>
                  <a:lnTo>
                    <a:pt x="383" y="606"/>
                  </a:lnTo>
                  <a:lnTo>
                    <a:pt x="390" y="613"/>
                  </a:lnTo>
                  <a:lnTo>
                    <a:pt x="395" y="622"/>
                  </a:lnTo>
                  <a:lnTo>
                    <a:pt x="399" y="631"/>
                  </a:lnTo>
                  <a:lnTo>
                    <a:pt x="402" y="642"/>
                  </a:lnTo>
                  <a:lnTo>
                    <a:pt x="403" y="653"/>
                  </a:lnTo>
                  <a:lnTo>
                    <a:pt x="406" y="663"/>
                  </a:lnTo>
                  <a:lnTo>
                    <a:pt x="407" y="674"/>
                  </a:lnTo>
                  <a:lnTo>
                    <a:pt x="410" y="683"/>
                  </a:lnTo>
                  <a:lnTo>
                    <a:pt x="414" y="691"/>
                  </a:lnTo>
                  <a:lnTo>
                    <a:pt x="419" y="699"/>
                  </a:lnTo>
                  <a:lnTo>
                    <a:pt x="426" y="705"/>
                  </a:lnTo>
                  <a:lnTo>
                    <a:pt x="430" y="707"/>
                  </a:lnTo>
                  <a:lnTo>
                    <a:pt x="434" y="709"/>
                  </a:lnTo>
                  <a:lnTo>
                    <a:pt x="439" y="709"/>
                  </a:lnTo>
                  <a:lnTo>
                    <a:pt x="445" y="710"/>
                  </a:lnTo>
                  <a:lnTo>
                    <a:pt x="453" y="709"/>
                  </a:lnTo>
                  <a:lnTo>
                    <a:pt x="458" y="707"/>
                  </a:lnTo>
                  <a:lnTo>
                    <a:pt x="461" y="706"/>
                  </a:lnTo>
                  <a:lnTo>
                    <a:pt x="462" y="705"/>
                  </a:lnTo>
                  <a:lnTo>
                    <a:pt x="465" y="705"/>
                  </a:lnTo>
                  <a:lnTo>
                    <a:pt x="466" y="705"/>
                  </a:lnTo>
                  <a:lnTo>
                    <a:pt x="470" y="706"/>
                  </a:lnTo>
                  <a:lnTo>
                    <a:pt x="475" y="710"/>
                  </a:lnTo>
                  <a:lnTo>
                    <a:pt x="482" y="710"/>
                  </a:lnTo>
                  <a:lnTo>
                    <a:pt x="487" y="713"/>
                  </a:lnTo>
                  <a:lnTo>
                    <a:pt x="493" y="717"/>
                  </a:lnTo>
                  <a:lnTo>
                    <a:pt x="497" y="721"/>
                  </a:lnTo>
                  <a:lnTo>
                    <a:pt x="501" y="726"/>
                  </a:lnTo>
                  <a:lnTo>
                    <a:pt x="503" y="733"/>
                  </a:lnTo>
                  <a:lnTo>
                    <a:pt x="506" y="741"/>
                  </a:lnTo>
                  <a:lnTo>
                    <a:pt x="509" y="749"/>
                  </a:lnTo>
                  <a:lnTo>
                    <a:pt x="517" y="786"/>
                  </a:lnTo>
                  <a:lnTo>
                    <a:pt x="523" y="825"/>
                  </a:lnTo>
                  <a:lnTo>
                    <a:pt x="527" y="841"/>
                  </a:lnTo>
                  <a:lnTo>
                    <a:pt x="531" y="854"/>
                  </a:lnTo>
                  <a:lnTo>
                    <a:pt x="538" y="867"/>
                  </a:lnTo>
                  <a:lnTo>
                    <a:pt x="543" y="878"/>
                  </a:lnTo>
                  <a:lnTo>
                    <a:pt x="551" y="887"/>
                  </a:lnTo>
                  <a:lnTo>
                    <a:pt x="558" y="897"/>
                  </a:lnTo>
                  <a:lnTo>
                    <a:pt x="567" y="903"/>
                  </a:lnTo>
                  <a:lnTo>
                    <a:pt x="577" y="909"/>
                  </a:lnTo>
                  <a:lnTo>
                    <a:pt x="586" y="914"/>
                  </a:lnTo>
                  <a:lnTo>
                    <a:pt x="597" y="918"/>
                  </a:lnTo>
                  <a:lnTo>
                    <a:pt x="609" y="921"/>
                  </a:lnTo>
                  <a:lnTo>
                    <a:pt x="621" y="923"/>
                  </a:lnTo>
                  <a:lnTo>
                    <a:pt x="646" y="926"/>
                  </a:lnTo>
                  <a:lnTo>
                    <a:pt x="674" y="926"/>
                  </a:lnTo>
                  <a:lnTo>
                    <a:pt x="682" y="925"/>
                  </a:lnTo>
                  <a:lnTo>
                    <a:pt x="694" y="919"/>
                  </a:lnTo>
                  <a:lnTo>
                    <a:pt x="709" y="913"/>
                  </a:lnTo>
                  <a:lnTo>
                    <a:pt x="725" y="903"/>
                  </a:lnTo>
                  <a:lnTo>
                    <a:pt x="741" y="895"/>
                  </a:lnTo>
                  <a:lnTo>
                    <a:pt x="754" y="886"/>
                  </a:lnTo>
                  <a:lnTo>
                    <a:pt x="765" y="878"/>
                  </a:lnTo>
                  <a:lnTo>
                    <a:pt x="770" y="873"/>
                  </a:lnTo>
                  <a:lnTo>
                    <a:pt x="773" y="865"/>
                  </a:lnTo>
                  <a:lnTo>
                    <a:pt x="773" y="857"/>
                  </a:lnTo>
                  <a:lnTo>
                    <a:pt x="773" y="850"/>
                  </a:lnTo>
                  <a:lnTo>
                    <a:pt x="773" y="843"/>
                  </a:lnTo>
                  <a:lnTo>
                    <a:pt x="770" y="831"/>
                  </a:lnTo>
                  <a:lnTo>
                    <a:pt x="767" y="819"/>
                  </a:lnTo>
                  <a:lnTo>
                    <a:pt x="765" y="809"/>
                  </a:lnTo>
                  <a:lnTo>
                    <a:pt x="765" y="798"/>
                  </a:lnTo>
                  <a:lnTo>
                    <a:pt x="766" y="793"/>
                  </a:lnTo>
                  <a:lnTo>
                    <a:pt x="769" y="787"/>
                  </a:lnTo>
                  <a:lnTo>
                    <a:pt x="771" y="782"/>
                  </a:lnTo>
                  <a:lnTo>
                    <a:pt x="777" y="775"/>
                  </a:lnTo>
                  <a:lnTo>
                    <a:pt x="787" y="766"/>
                  </a:lnTo>
                  <a:lnTo>
                    <a:pt x="799" y="755"/>
                  </a:lnTo>
                  <a:lnTo>
                    <a:pt x="813" y="745"/>
                  </a:lnTo>
                  <a:lnTo>
                    <a:pt x="827" y="734"/>
                  </a:lnTo>
                  <a:lnTo>
                    <a:pt x="859" y="713"/>
                  </a:lnTo>
                  <a:lnTo>
                    <a:pt x="893" y="691"/>
                  </a:lnTo>
                  <a:lnTo>
                    <a:pt x="927" y="671"/>
                  </a:lnTo>
                  <a:lnTo>
                    <a:pt x="962" y="654"/>
                  </a:lnTo>
                  <a:lnTo>
                    <a:pt x="994" y="638"/>
                  </a:lnTo>
                  <a:lnTo>
                    <a:pt x="1023" y="625"/>
                  </a:lnTo>
                  <a:lnTo>
                    <a:pt x="1012" y="615"/>
                  </a:lnTo>
                  <a:lnTo>
                    <a:pt x="1002" y="605"/>
                  </a:lnTo>
                  <a:lnTo>
                    <a:pt x="991" y="594"/>
                  </a:lnTo>
                  <a:lnTo>
                    <a:pt x="980" y="582"/>
                  </a:lnTo>
                  <a:lnTo>
                    <a:pt x="959" y="557"/>
                  </a:lnTo>
                  <a:lnTo>
                    <a:pt x="938" y="530"/>
                  </a:lnTo>
                  <a:lnTo>
                    <a:pt x="918" y="504"/>
                  </a:lnTo>
                  <a:lnTo>
                    <a:pt x="895" y="480"/>
                  </a:lnTo>
                  <a:lnTo>
                    <a:pt x="885" y="468"/>
                  </a:lnTo>
                  <a:lnTo>
                    <a:pt x="873" y="457"/>
                  </a:lnTo>
                  <a:lnTo>
                    <a:pt x="861" y="448"/>
                  </a:lnTo>
                  <a:lnTo>
                    <a:pt x="849" y="438"/>
                  </a:lnTo>
                  <a:lnTo>
                    <a:pt x="845" y="460"/>
                  </a:lnTo>
                  <a:lnTo>
                    <a:pt x="842" y="481"/>
                  </a:lnTo>
                  <a:lnTo>
                    <a:pt x="841" y="490"/>
                  </a:lnTo>
                  <a:lnTo>
                    <a:pt x="838" y="498"/>
                  </a:lnTo>
                  <a:lnTo>
                    <a:pt x="837" y="501"/>
                  </a:lnTo>
                  <a:lnTo>
                    <a:pt x="835" y="504"/>
                  </a:lnTo>
                  <a:lnTo>
                    <a:pt x="833" y="505"/>
                  </a:lnTo>
                  <a:lnTo>
                    <a:pt x="831" y="505"/>
                  </a:lnTo>
                  <a:lnTo>
                    <a:pt x="809" y="504"/>
                  </a:lnTo>
                  <a:lnTo>
                    <a:pt x="782" y="500"/>
                  </a:lnTo>
                  <a:lnTo>
                    <a:pt x="754" y="493"/>
                  </a:lnTo>
                  <a:lnTo>
                    <a:pt x="727" y="484"/>
                  </a:lnTo>
                  <a:lnTo>
                    <a:pt x="714" y="477"/>
                  </a:lnTo>
                  <a:lnTo>
                    <a:pt x="701" y="472"/>
                  </a:lnTo>
                  <a:lnTo>
                    <a:pt x="689" y="465"/>
                  </a:lnTo>
                  <a:lnTo>
                    <a:pt x="678" y="457"/>
                  </a:lnTo>
                  <a:lnTo>
                    <a:pt x="669" y="449"/>
                  </a:lnTo>
                  <a:lnTo>
                    <a:pt x="661" y="440"/>
                  </a:lnTo>
                  <a:lnTo>
                    <a:pt x="654" y="430"/>
                  </a:lnTo>
                  <a:lnTo>
                    <a:pt x="650" y="421"/>
                  </a:lnTo>
                  <a:lnTo>
                    <a:pt x="645" y="404"/>
                  </a:lnTo>
                  <a:lnTo>
                    <a:pt x="641" y="385"/>
                  </a:lnTo>
                  <a:lnTo>
                    <a:pt x="637" y="369"/>
                  </a:lnTo>
                  <a:lnTo>
                    <a:pt x="634" y="352"/>
                  </a:lnTo>
                  <a:lnTo>
                    <a:pt x="631" y="334"/>
                  </a:lnTo>
                  <a:lnTo>
                    <a:pt x="627" y="317"/>
                  </a:lnTo>
                  <a:lnTo>
                    <a:pt x="622" y="300"/>
                  </a:lnTo>
                  <a:lnTo>
                    <a:pt x="614" y="282"/>
                  </a:lnTo>
                  <a:lnTo>
                    <a:pt x="602" y="256"/>
                  </a:lnTo>
                  <a:lnTo>
                    <a:pt x="589" y="228"/>
                  </a:lnTo>
                  <a:lnTo>
                    <a:pt x="574" y="198"/>
                  </a:lnTo>
                  <a:lnTo>
                    <a:pt x="561" y="166"/>
                  </a:lnTo>
                  <a:lnTo>
                    <a:pt x="554" y="150"/>
                  </a:lnTo>
                  <a:lnTo>
                    <a:pt x="549" y="133"/>
                  </a:lnTo>
                  <a:lnTo>
                    <a:pt x="543" y="116"/>
                  </a:lnTo>
                  <a:lnTo>
                    <a:pt x="538" y="97"/>
                  </a:lnTo>
                  <a:lnTo>
                    <a:pt x="535" y="80"/>
                  </a:lnTo>
                  <a:lnTo>
                    <a:pt x="531" y="61"/>
                  </a:lnTo>
                  <a:lnTo>
                    <a:pt x="530" y="42"/>
                  </a:lnTo>
                  <a:lnTo>
                    <a:pt x="530" y="24"/>
                  </a:lnTo>
                  <a:lnTo>
                    <a:pt x="523" y="2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4" name="Freeform 37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1462088" y="2663825"/>
              <a:ext cx="239712" cy="334963"/>
            </a:xfrm>
            <a:custGeom>
              <a:avLst/>
              <a:gdLst/>
              <a:ahLst/>
              <a:cxnLst>
                <a:cxn ang="0">
                  <a:pos x="403" y="21"/>
                </a:cxn>
                <a:cxn ang="0">
                  <a:pos x="364" y="61"/>
                </a:cxn>
                <a:cxn ang="0">
                  <a:pos x="312" y="109"/>
                </a:cxn>
                <a:cxn ang="0">
                  <a:pos x="294" y="148"/>
                </a:cxn>
                <a:cxn ang="0">
                  <a:pos x="271" y="186"/>
                </a:cxn>
                <a:cxn ang="0">
                  <a:pos x="228" y="190"/>
                </a:cxn>
                <a:cxn ang="0">
                  <a:pos x="191" y="194"/>
                </a:cxn>
                <a:cxn ang="0">
                  <a:pos x="172" y="209"/>
                </a:cxn>
                <a:cxn ang="0">
                  <a:pos x="171" y="242"/>
                </a:cxn>
                <a:cxn ang="0">
                  <a:pos x="180" y="282"/>
                </a:cxn>
                <a:cxn ang="0">
                  <a:pos x="142" y="313"/>
                </a:cxn>
                <a:cxn ang="0">
                  <a:pos x="94" y="341"/>
                </a:cxn>
                <a:cxn ang="0">
                  <a:pos x="68" y="401"/>
                </a:cxn>
                <a:cxn ang="0">
                  <a:pos x="42" y="482"/>
                </a:cxn>
                <a:cxn ang="0">
                  <a:pos x="16" y="507"/>
                </a:cxn>
                <a:cxn ang="0">
                  <a:pos x="2" y="530"/>
                </a:cxn>
                <a:cxn ang="0">
                  <a:pos x="2" y="562"/>
                </a:cxn>
                <a:cxn ang="0">
                  <a:pos x="27" y="603"/>
                </a:cxn>
                <a:cxn ang="0">
                  <a:pos x="51" y="637"/>
                </a:cxn>
                <a:cxn ang="0">
                  <a:pos x="52" y="661"/>
                </a:cxn>
                <a:cxn ang="0">
                  <a:pos x="32" y="683"/>
                </a:cxn>
                <a:cxn ang="0">
                  <a:pos x="14" y="706"/>
                </a:cxn>
                <a:cxn ang="0">
                  <a:pos x="15" y="722"/>
                </a:cxn>
                <a:cxn ang="0">
                  <a:pos x="58" y="746"/>
                </a:cxn>
                <a:cxn ang="0">
                  <a:pos x="102" y="774"/>
                </a:cxn>
                <a:cxn ang="0">
                  <a:pos x="118" y="844"/>
                </a:cxn>
                <a:cxn ang="0">
                  <a:pos x="126" y="870"/>
                </a:cxn>
                <a:cxn ang="0">
                  <a:pos x="144" y="879"/>
                </a:cxn>
                <a:cxn ang="0">
                  <a:pos x="183" y="866"/>
                </a:cxn>
                <a:cxn ang="0">
                  <a:pos x="199" y="887"/>
                </a:cxn>
                <a:cxn ang="0">
                  <a:pos x="224" y="888"/>
                </a:cxn>
                <a:cxn ang="0">
                  <a:pos x="279" y="854"/>
                </a:cxn>
                <a:cxn ang="0">
                  <a:pos x="322" y="807"/>
                </a:cxn>
                <a:cxn ang="0">
                  <a:pos x="326" y="774"/>
                </a:cxn>
                <a:cxn ang="0">
                  <a:pos x="332" y="713"/>
                </a:cxn>
                <a:cxn ang="0">
                  <a:pos x="362" y="661"/>
                </a:cxn>
                <a:cxn ang="0">
                  <a:pos x="379" y="662"/>
                </a:cxn>
                <a:cxn ang="0">
                  <a:pos x="379" y="621"/>
                </a:cxn>
                <a:cxn ang="0">
                  <a:pos x="400" y="578"/>
                </a:cxn>
                <a:cxn ang="0">
                  <a:pos x="491" y="491"/>
                </a:cxn>
                <a:cxn ang="0">
                  <a:pos x="512" y="446"/>
                </a:cxn>
                <a:cxn ang="0">
                  <a:pos x="500" y="415"/>
                </a:cxn>
                <a:cxn ang="0">
                  <a:pos x="487" y="379"/>
                </a:cxn>
                <a:cxn ang="0">
                  <a:pos x="495" y="333"/>
                </a:cxn>
                <a:cxn ang="0">
                  <a:pos x="510" y="315"/>
                </a:cxn>
                <a:cxn ang="0">
                  <a:pos x="548" y="307"/>
                </a:cxn>
                <a:cxn ang="0">
                  <a:pos x="542" y="253"/>
                </a:cxn>
                <a:cxn ang="0">
                  <a:pos x="551" y="208"/>
                </a:cxn>
                <a:cxn ang="0">
                  <a:pos x="560" y="162"/>
                </a:cxn>
                <a:cxn ang="0">
                  <a:pos x="554" y="128"/>
                </a:cxn>
                <a:cxn ang="0">
                  <a:pos x="524" y="81"/>
                </a:cxn>
                <a:cxn ang="0">
                  <a:pos x="518" y="42"/>
                </a:cxn>
                <a:cxn ang="0">
                  <a:pos x="524" y="0"/>
                </a:cxn>
              </a:cxnLst>
              <a:rect l="0" t="0" r="r" b="b"/>
              <a:pathLst>
                <a:path w="560" h="891">
                  <a:moveTo>
                    <a:pt x="518" y="0"/>
                  </a:moveTo>
                  <a:lnTo>
                    <a:pt x="415" y="0"/>
                  </a:lnTo>
                  <a:lnTo>
                    <a:pt x="410" y="10"/>
                  </a:lnTo>
                  <a:lnTo>
                    <a:pt x="403" y="21"/>
                  </a:lnTo>
                  <a:lnTo>
                    <a:pt x="398" y="29"/>
                  </a:lnTo>
                  <a:lnTo>
                    <a:pt x="391" y="37"/>
                  </a:lnTo>
                  <a:lnTo>
                    <a:pt x="378" y="50"/>
                  </a:lnTo>
                  <a:lnTo>
                    <a:pt x="364" y="61"/>
                  </a:lnTo>
                  <a:lnTo>
                    <a:pt x="351" y="72"/>
                  </a:lnTo>
                  <a:lnTo>
                    <a:pt x="338" y="82"/>
                  </a:lnTo>
                  <a:lnTo>
                    <a:pt x="324" y="94"/>
                  </a:lnTo>
                  <a:lnTo>
                    <a:pt x="312" y="109"/>
                  </a:lnTo>
                  <a:lnTo>
                    <a:pt x="307" y="118"/>
                  </a:lnTo>
                  <a:lnTo>
                    <a:pt x="302" y="128"/>
                  </a:lnTo>
                  <a:lnTo>
                    <a:pt x="298" y="137"/>
                  </a:lnTo>
                  <a:lnTo>
                    <a:pt x="294" y="148"/>
                  </a:lnTo>
                  <a:lnTo>
                    <a:pt x="290" y="158"/>
                  </a:lnTo>
                  <a:lnTo>
                    <a:pt x="286" y="168"/>
                  </a:lnTo>
                  <a:lnTo>
                    <a:pt x="279" y="177"/>
                  </a:lnTo>
                  <a:lnTo>
                    <a:pt x="271" y="186"/>
                  </a:lnTo>
                  <a:lnTo>
                    <a:pt x="263" y="190"/>
                  </a:lnTo>
                  <a:lnTo>
                    <a:pt x="252" y="192"/>
                  </a:lnTo>
                  <a:lnTo>
                    <a:pt x="240" y="192"/>
                  </a:lnTo>
                  <a:lnTo>
                    <a:pt x="228" y="190"/>
                  </a:lnTo>
                  <a:lnTo>
                    <a:pt x="215" y="190"/>
                  </a:lnTo>
                  <a:lnTo>
                    <a:pt x="202" y="192"/>
                  </a:lnTo>
                  <a:lnTo>
                    <a:pt x="196" y="192"/>
                  </a:lnTo>
                  <a:lnTo>
                    <a:pt x="191" y="194"/>
                  </a:lnTo>
                  <a:lnTo>
                    <a:pt x="186" y="196"/>
                  </a:lnTo>
                  <a:lnTo>
                    <a:pt x="180" y="198"/>
                  </a:lnTo>
                  <a:lnTo>
                    <a:pt x="175" y="204"/>
                  </a:lnTo>
                  <a:lnTo>
                    <a:pt x="172" y="209"/>
                  </a:lnTo>
                  <a:lnTo>
                    <a:pt x="170" y="214"/>
                  </a:lnTo>
                  <a:lnTo>
                    <a:pt x="168" y="220"/>
                  </a:lnTo>
                  <a:lnTo>
                    <a:pt x="168" y="230"/>
                  </a:lnTo>
                  <a:lnTo>
                    <a:pt x="171" y="242"/>
                  </a:lnTo>
                  <a:lnTo>
                    <a:pt x="175" y="255"/>
                  </a:lnTo>
                  <a:lnTo>
                    <a:pt x="179" y="269"/>
                  </a:lnTo>
                  <a:lnTo>
                    <a:pt x="180" y="275"/>
                  </a:lnTo>
                  <a:lnTo>
                    <a:pt x="180" y="282"/>
                  </a:lnTo>
                  <a:lnTo>
                    <a:pt x="182" y="289"/>
                  </a:lnTo>
                  <a:lnTo>
                    <a:pt x="180" y="295"/>
                  </a:lnTo>
                  <a:lnTo>
                    <a:pt x="167" y="302"/>
                  </a:lnTo>
                  <a:lnTo>
                    <a:pt x="142" y="313"/>
                  </a:lnTo>
                  <a:lnTo>
                    <a:pt x="119" y="321"/>
                  </a:lnTo>
                  <a:lnTo>
                    <a:pt x="108" y="325"/>
                  </a:lnTo>
                  <a:lnTo>
                    <a:pt x="100" y="333"/>
                  </a:lnTo>
                  <a:lnTo>
                    <a:pt x="94" y="341"/>
                  </a:lnTo>
                  <a:lnTo>
                    <a:pt x="88" y="350"/>
                  </a:lnTo>
                  <a:lnTo>
                    <a:pt x="83" y="359"/>
                  </a:lnTo>
                  <a:lnTo>
                    <a:pt x="75" y="379"/>
                  </a:lnTo>
                  <a:lnTo>
                    <a:pt x="68" y="401"/>
                  </a:lnTo>
                  <a:lnTo>
                    <a:pt x="62" y="423"/>
                  </a:lnTo>
                  <a:lnTo>
                    <a:pt x="56" y="445"/>
                  </a:lnTo>
                  <a:lnTo>
                    <a:pt x="50" y="465"/>
                  </a:lnTo>
                  <a:lnTo>
                    <a:pt x="42" y="482"/>
                  </a:lnTo>
                  <a:lnTo>
                    <a:pt x="36" y="490"/>
                  </a:lnTo>
                  <a:lnTo>
                    <a:pt x="30" y="497"/>
                  </a:lnTo>
                  <a:lnTo>
                    <a:pt x="23" y="502"/>
                  </a:lnTo>
                  <a:lnTo>
                    <a:pt x="16" y="507"/>
                  </a:lnTo>
                  <a:lnTo>
                    <a:pt x="10" y="514"/>
                  </a:lnTo>
                  <a:lnTo>
                    <a:pt x="4" y="521"/>
                  </a:lnTo>
                  <a:lnTo>
                    <a:pt x="3" y="525"/>
                  </a:lnTo>
                  <a:lnTo>
                    <a:pt x="2" y="530"/>
                  </a:lnTo>
                  <a:lnTo>
                    <a:pt x="0" y="535"/>
                  </a:lnTo>
                  <a:lnTo>
                    <a:pt x="0" y="542"/>
                  </a:lnTo>
                  <a:lnTo>
                    <a:pt x="0" y="553"/>
                  </a:lnTo>
                  <a:lnTo>
                    <a:pt x="2" y="562"/>
                  </a:lnTo>
                  <a:lnTo>
                    <a:pt x="4" y="571"/>
                  </a:lnTo>
                  <a:lnTo>
                    <a:pt x="8" y="578"/>
                  </a:lnTo>
                  <a:lnTo>
                    <a:pt x="16" y="591"/>
                  </a:lnTo>
                  <a:lnTo>
                    <a:pt x="27" y="603"/>
                  </a:lnTo>
                  <a:lnTo>
                    <a:pt x="36" y="614"/>
                  </a:lnTo>
                  <a:lnTo>
                    <a:pt x="46" y="625"/>
                  </a:lnTo>
                  <a:lnTo>
                    <a:pt x="48" y="630"/>
                  </a:lnTo>
                  <a:lnTo>
                    <a:pt x="51" y="637"/>
                  </a:lnTo>
                  <a:lnTo>
                    <a:pt x="54" y="643"/>
                  </a:lnTo>
                  <a:lnTo>
                    <a:pt x="54" y="650"/>
                  </a:lnTo>
                  <a:lnTo>
                    <a:pt x="54" y="655"/>
                  </a:lnTo>
                  <a:lnTo>
                    <a:pt x="52" y="661"/>
                  </a:lnTo>
                  <a:lnTo>
                    <a:pt x="50" y="665"/>
                  </a:lnTo>
                  <a:lnTo>
                    <a:pt x="47" y="669"/>
                  </a:lnTo>
                  <a:lnTo>
                    <a:pt x="40" y="677"/>
                  </a:lnTo>
                  <a:lnTo>
                    <a:pt x="32" y="683"/>
                  </a:lnTo>
                  <a:lnTo>
                    <a:pt x="26" y="690"/>
                  </a:lnTo>
                  <a:lnTo>
                    <a:pt x="19" y="698"/>
                  </a:lnTo>
                  <a:lnTo>
                    <a:pt x="15" y="702"/>
                  </a:lnTo>
                  <a:lnTo>
                    <a:pt x="14" y="706"/>
                  </a:lnTo>
                  <a:lnTo>
                    <a:pt x="12" y="711"/>
                  </a:lnTo>
                  <a:lnTo>
                    <a:pt x="12" y="717"/>
                  </a:lnTo>
                  <a:lnTo>
                    <a:pt x="12" y="719"/>
                  </a:lnTo>
                  <a:lnTo>
                    <a:pt x="15" y="722"/>
                  </a:lnTo>
                  <a:lnTo>
                    <a:pt x="20" y="725"/>
                  </a:lnTo>
                  <a:lnTo>
                    <a:pt x="26" y="729"/>
                  </a:lnTo>
                  <a:lnTo>
                    <a:pt x="40" y="737"/>
                  </a:lnTo>
                  <a:lnTo>
                    <a:pt x="58" y="746"/>
                  </a:lnTo>
                  <a:lnTo>
                    <a:pt x="75" y="754"/>
                  </a:lnTo>
                  <a:lnTo>
                    <a:pt x="91" y="765"/>
                  </a:lnTo>
                  <a:lnTo>
                    <a:pt x="98" y="769"/>
                  </a:lnTo>
                  <a:lnTo>
                    <a:pt x="102" y="774"/>
                  </a:lnTo>
                  <a:lnTo>
                    <a:pt x="106" y="778"/>
                  </a:lnTo>
                  <a:lnTo>
                    <a:pt x="108" y="783"/>
                  </a:lnTo>
                  <a:lnTo>
                    <a:pt x="114" y="813"/>
                  </a:lnTo>
                  <a:lnTo>
                    <a:pt x="118" y="844"/>
                  </a:lnTo>
                  <a:lnTo>
                    <a:pt x="119" y="851"/>
                  </a:lnTo>
                  <a:lnTo>
                    <a:pt x="120" y="858"/>
                  </a:lnTo>
                  <a:lnTo>
                    <a:pt x="122" y="864"/>
                  </a:lnTo>
                  <a:lnTo>
                    <a:pt x="126" y="870"/>
                  </a:lnTo>
                  <a:lnTo>
                    <a:pt x="128" y="874"/>
                  </a:lnTo>
                  <a:lnTo>
                    <a:pt x="132" y="876"/>
                  </a:lnTo>
                  <a:lnTo>
                    <a:pt x="138" y="879"/>
                  </a:lnTo>
                  <a:lnTo>
                    <a:pt x="144" y="879"/>
                  </a:lnTo>
                  <a:lnTo>
                    <a:pt x="159" y="870"/>
                  </a:lnTo>
                  <a:lnTo>
                    <a:pt x="175" y="860"/>
                  </a:lnTo>
                  <a:lnTo>
                    <a:pt x="179" y="862"/>
                  </a:lnTo>
                  <a:lnTo>
                    <a:pt x="183" y="866"/>
                  </a:lnTo>
                  <a:lnTo>
                    <a:pt x="187" y="871"/>
                  </a:lnTo>
                  <a:lnTo>
                    <a:pt x="190" y="876"/>
                  </a:lnTo>
                  <a:lnTo>
                    <a:pt x="195" y="882"/>
                  </a:lnTo>
                  <a:lnTo>
                    <a:pt x="199" y="887"/>
                  </a:lnTo>
                  <a:lnTo>
                    <a:pt x="204" y="890"/>
                  </a:lnTo>
                  <a:lnTo>
                    <a:pt x="211" y="891"/>
                  </a:lnTo>
                  <a:lnTo>
                    <a:pt x="216" y="891"/>
                  </a:lnTo>
                  <a:lnTo>
                    <a:pt x="224" y="888"/>
                  </a:lnTo>
                  <a:lnTo>
                    <a:pt x="232" y="884"/>
                  </a:lnTo>
                  <a:lnTo>
                    <a:pt x="242" y="880"/>
                  </a:lnTo>
                  <a:lnTo>
                    <a:pt x="260" y="868"/>
                  </a:lnTo>
                  <a:lnTo>
                    <a:pt x="279" y="854"/>
                  </a:lnTo>
                  <a:lnTo>
                    <a:pt x="296" y="839"/>
                  </a:lnTo>
                  <a:lnTo>
                    <a:pt x="311" y="823"/>
                  </a:lnTo>
                  <a:lnTo>
                    <a:pt x="318" y="815"/>
                  </a:lnTo>
                  <a:lnTo>
                    <a:pt x="322" y="807"/>
                  </a:lnTo>
                  <a:lnTo>
                    <a:pt x="324" y="801"/>
                  </a:lnTo>
                  <a:lnTo>
                    <a:pt x="326" y="795"/>
                  </a:lnTo>
                  <a:lnTo>
                    <a:pt x="326" y="783"/>
                  </a:lnTo>
                  <a:lnTo>
                    <a:pt x="326" y="774"/>
                  </a:lnTo>
                  <a:lnTo>
                    <a:pt x="326" y="765"/>
                  </a:lnTo>
                  <a:lnTo>
                    <a:pt x="326" y="753"/>
                  </a:lnTo>
                  <a:lnTo>
                    <a:pt x="327" y="734"/>
                  </a:lnTo>
                  <a:lnTo>
                    <a:pt x="332" y="713"/>
                  </a:lnTo>
                  <a:lnTo>
                    <a:pt x="338" y="689"/>
                  </a:lnTo>
                  <a:lnTo>
                    <a:pt x="343" y="662"/>
                  </a:lnTo>
                  <a:lnTo>
                    <a:pt x="352" y="662"/>
                  </a:lnTo>
                  <a:lnTo>
                    <a:pt x="362" y="661"/>
                  </a:lnTo>
                  <a:lnTo>
                    <a:pt x="366" y="659"/>
                  </a:lnTo>
                  <a:lnTo>
                    <a:pt x="370" y="659"/>
                  </a:lnTo>
                  <a:lnTo>
                    <a:pt x="375" y="661"/>
                  </a:lnTo>
                  <a:lnTo>
                    <a:pt x="379" y="662"/>
                  </a:lnTo>
                  <a:lnTo>
                    <a:pt x="379" y="649"/>
                  </a:lnTo>
                  <a:lnTo>
                    <a:pt x="379" y="634"/>
                  </a:lnTo>
                  <a:lnTo>
                    <a:pt x="379" y="625"/>
                  </a:lnTo>
                  <a:lnTo>
                    <a:pt x="379" y="621"/>
                  </a:lnTo>
                  <a:lnTo>
                    <a:pt x="380" y="610"/>
                  </a:lnTo>
                  <a:lnTo>
                    <a:pt x="384" y="599"/>
                  </a:lnTo>
                  <a:lnTo>
                    <a:pt x="391" y="589"/>
                  </a:lnTo>
                  <a:lnTo>
                    <a:pt x="400" y="578"/>
                  </a:lnTo>
                  <a:lnTo>
                    <a:pt x="422" y="557"/>
                  </a:lnTo>
                  <a:lnTo>
                    <a:pt x="446" y="535"/>
                  </a:lnTo>
                  <a:lnTo>
                    <a:pt x="470" y="513"/>
                  </a:lnTo>
                  <a:lnTo>
                    <a:pt x="491" y="491"/>
                  </a:lnTo>
                  <a:lnTo>
                    <a:pt x="499" y="479"/>
                  </a:lnTo>
                  <a:lnTo>
                    <a:pt x="506" y="469"/>
                  </a:lnTo>
                  <a:lnTo>
                    <a:pt x="510" y="457"/>
                  </a:lnTo>
                  <a:lnTo>
                    <a:pt x="512" y="446"/>
                  </a:lnTo>
                  <a:lnTo>
                    <a:pt x="511" y="437"/>
                  </a:lnTo>
                  <a:lnTo>
                    <a:pt x="508" y="430"/>
                  </a:lnTo>
                  <a:lnTo>
                    <a:pt x="504" y="422"/>
                  </a:lnTo>
                  <a:lnTo>
                    <a:pt x="500" y="415"/>
                  </a:lnTo>
                  <a:lnTo>
                    <a:pt x="495" y="407"/>
                  </a:lnTo>
                  <a:lnTo>
                    <a:pt x="491" y="399"/>
                  </a:lnTo>
                  <a:lnTo>
                    <a:pt x="488" y="390"/>
                  </a:lnTo>
                  <a:lnTo>
                    <a:pt x="487" y="379"/>
                  </a:lnTo>
                  <a:lnTo>
                    <a:pt x="488" y="361"/>
                  </a:lnTo>
                  <a:lnTo>
                    <a:pt x="491" y="345"/>
                  </a:lnTo>
                  <a:lnTo>
                    <a:pt x="494" y="338"/>
                  </a:lnTo>
                  <a:lnTo>
                    <a:pt x="495" y="333"/>
                  </a:lnTo>
                  <a:lnTo>
                    <a:pt x="499" y="327"/>
                  </a:lnTo>
                  <a:lnTo>
                    <a:pt x="502" y="323"/>
                  </a:lnTo>
                  <a:lnTo>
                    <a:pt x="506" y="319"/>
                  </a:lnTo>
                  <a:lnTo>
                    <a:pt x="510" y="315"/>
                  </a:lnTo>
                  <a:lnTo>
                    <a:pt x="515" y="313"/>
                  </a:lnTo>
                  <a:lnTo>
                    <a:pt x="520" y="311"/>
                  </a:lnTo>
                  <a:lnTo>
                    <a:pt x="534" y="307"/>
                  </a:lnTo>
                  <a:lnTo>
                    <a:pt x="548" y="307"/>
                  </a:lnTo>
                  <a:lnTo>
                    <a:pt x="544" y="297"/>
                  </a:lnTo>
                  <a:lnTo>
                    <a:pt x="543" y="282"/>
                  </a:lnTo>
                  <a:lnTo>
                    <a:pt x="542" y="267"/>
                  </a:lnTo>
                  <a:lnTo>
                    <a:pt x="542" y="253"/>
                  </a:lnTo>
                  <a:lnTo>
                    <a:pt x="543" y="241"/>
                  </a:lnTo>
                  <a:lnTo>
                    <a:pt x="544" y="229"/>
                  </a:lnTo>
                  <a:lnTo>
                    <a:pt x="547" y="218"/>
                  </a:lnTo>
                  <a:lnTo>
                    <a:pt x="551" y="208"/>
                  </a:lnTo>
                  <a:lnTo>
                    <a:pt x="554" y="198"/>
                  </a:lnTo>
                  <a:lnTo>
                    <a:pt x="558" y="188"/>
                  </a:lnTo>
                  <a:lnTo>
                    <a:pt x="559" y="176"/>
                  </a:lnTo>
                  <a:lnTo>
                    <a:pt x="560" y="162"/>
                  </a:lnTo>
                  <a:lnTo>
                    <a:pt x="559" y="152"/>
                  </a:lnTo>
                  <a:lnTo>
                    <a:pt x="558" y="144"/>
                  </a:lnTo>
                  <a:lnTo>
                    <a:pt x="556" y="136"/>
                  </a:lnTo>
                  <a:lnTo>
                    <a:pt x="554" y="128"/>
                  </a:lnTo>
                  <a:lnTo>
                    <a:pt x="547" y="116"/>
                  </a:lnTo>
                  <a:lnTo>
                    <a:pt x="539" y="105"/>
                  </a:lnTo>
                  <a:lnTo>
                    <a:pt x="531" y="94"/>
                  </a:lnTo>
                  <a:lnTo>
                    <a:pt x="524" y="81"/>
                  </a:lnTo>
                  <a:lnTo>
                    <a:pt x="522" y="73"/>
                  </a:lnTo>
                  <a:lnTo>
                    <a:pt x="519" y="64"/>
                  </a:lnTo>
                  <a:lnTo>
                    <a:pt x="518" y="54"/>
                  </a:lnTo>
                  <a:lnTo>
                    <a:pt x="518" y="42"/>
                  </a:lnTo>
                  <a:lnTo>
                    <a:pt x="518" y="26"/>
                  </a:lnTo>
                  <a:lnTo>
                    <a:pt x="519" y="14"/>
                  </a:lnTo>
                  <a:lnTo>
                    <a:pt x="520" y="6"/>
                  </a:lnTo>
                  <a:lnTo>
                    <a:pt x="524" y="0"/>
                  </a:lnTo>
                  <a:lnTo>
                    <a:pt x="518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5" name="Freeform 38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1624013" y="2771775"/>
              <a:ext cx="333375" cy="227013"/>
            </a:xfrm>
            <a:custGeom>
              <a:avLst/>
              <a:gdLst/>
              <a:ahLst/>
              <a:cxnLst>
                <a:cxn ang="0">
                  <a:pos x="776" y="534"/>
                </a:cxn>
                <a:cxn ang="0">
                  <a:pos x="769" y="495"/>
                </a:cxn>
                <a:cxn ang="0">
                  <a:pos x="724" y="474"/>
                </a:cxn>
                <a:cxn ang="0">
                  <a:pos x="705" y="462"/>
                </a:cxn>
                <a:cxn ang="0">
                  <a:pos x="712" y="427"/>
                </a:cxn>
                <a:cxn ang="0">
                  <a:pos x="728" y="378"/>
                </a:cxn>
                <a:cxn ang="0">
                  <a:pos x="696" y="336"/>
                </a:cxn>
                <a:cxn ang="0">
                  <a:pos x="668" y="291"/>
                </a:cxn>
                <a:cxn ang="0">
                  <a:pos x="641" y="186"/>
                </a:cxn>
                <a:cxn ang="0">
                  <a:pos x="621" y="163"/>
                </a:cxn>
                <a:cxn ang="0">
                  <a:pos x="604" y="158"/>
                </a:cxn>
                <a:cxn ang="0">
                  <a:pos x="592" y="162"/>
                </a:cxn>
                <a:cxn ang="0">
                  <a:pos x="569" y="160"/>
                </a:cxn>
                <a:cxn ang="0">
                  <a:pos x="549" y="136"/>
                </a:cxn>
                <a:cxn ang="0">
                  <a:pos x="541" y="95"/>
                </a:cxn>
                <a:cxn ang="0">
                  <a:pos x="522" y="59"/>
                </a:cxn>
                <a:cxn ang="0">
                  <a:pos x="496" y="48"/>
                </a:cxn>
                <a:cxn ang="0">
                  <a:pos x="474" y="54"/>
                </a:cxn>
                <a:cxn ang="0">
                  <a:pos x="452" y="66"/>
                </a:cxn>
                <a:cxn ang="0">
                  <a:pos x="418" y="58"/>
                </a:cxn>
                <a:cxn ang="0">
                  <a:pos x="372" y="32"/>
                </a:cxn>
                <a:cxn ang="0">
                  <a:pos x="317" y="34"/>
                </a:cxn>
                <a:cxn ang="0">
                  <a:pos x="273" y="27"/>
                </a:cxn>
                <a:cxn ang="0">
                  <a:pos x="263" y="8"/>
                </a:cxn>
                <a:cxn ang="0">
                  <a:pos x="235" y="2"/>
                </a:cxn>
                <a:cxn ang="0">
                  <a:pos x="215" y="24"/>
                </a:cxn>
                <a:cxn ang="0">
                  <a:pos x="197" y="36"/>
                </a:cxn>
                <a:cxn ang="0">
                  <a:pos x="175" y="28"/>
                </a:cxn>
                <a:cxn ang="0">
                  <a:pos x="136" y="30"/>
                </a:cxn>
                <a:cxn ang="0">
                  <a:pos x="120" y="44"/>
                </a:cxn>
                <a:cxn ang="0">
                  <a:pos x="109" y="78"/>
                </a:cxn>
                <a:cxn ang="0">
                  <a:pos x="116" y="124"/>
                </a:cxn>
                <a:cxn ang="0">
                  <a:pos x="132" y="154"/>
                </a:cxn>
                <a:cxn ang="0">
                  <a:pos x="120" y="196"/>
                </a:cxn>
                <a:cxn ang="0">
                  <a:pos x="43" y="274"/>
                </a:cxn>
                <a:cxn ang="0">
                  <a:pos x="1" y="327"/>
                </a:cxn>
                <a:cxn ang="0">
                  <a:pos x="7" y="375"/>
                </a:cxn>
                <a:cxn ang="0">
                  <a:pos x="27" y="394"/>
                </a:cxn>
                <a:cxn ang="0">
                  <a:pos x="44" y="427"/>
                </a:cxn>
                <a:cxn ang="0">
                  <a:pos x="88" y="443"/>
                </a:cxn>
                <a:cxn ang="0">
                  <a:pos x="181" y="454"/>
                </a:cxn>
                <a:cxn ang="0">
                  <a:pos x="239" y="464"/>
                </a:cxn>
                <a:cxn ang="0">
                  <a:pos x="275" y="488"/>
                </a:cxn>
                <a:cxn ang="0">
                  <a:pos x="299" y="511"/>
                </a:cxn>
                <a:cxn ang="0">
                  <a:pos x="343" y="507"/>
                </a:cxn>
                <a:cxn ang="0">
                  <a:pos x="413" y="471"/>
                </a:cxn>
                <a:cxn ang="0">
                  <a:pos x="456" y="452"/>
                </a:cxn>
                <a:cxn ang="0">
                  <a:pos x="496" y="460"/>
                </a:cxn>
                <a:cxn ang="0">
                  <a:pos x="517" y="488"/>
                </a:cxn>
                <a:cxn ang="0">
                  <a:pos x="533" y="534"/>
                </a:cxn>
                <a:cxn ang="0">
                  <a:pos x="553" y="542"/>
                </a:cxn>
                <a:cxn ang="0">
                  <a:pos x="580" y="527"/>
                </a:cxn>
                <a:cxn ang="0">
                  <a:pos x="600" y="548"/>
                </a:cxn>
                <a:cxn ang="0">
                  <a:pos x="620" y="565"/>
                </a:cxn>
                <a:cxn ang="0">
                  <a:pos x="662" y="548"/>
                </a:cxn>
                <a:cxn ang="0">
                  <a:pos x="689" y="563"/>
                </a:cxn>
                <a:cxn ang="0">
                  <a:pos x="734" y="592"/>
                </a:cxn>
                <a:cxn ang="0">
                  <a:pos x="765" y="608"/>
                </a:cxn>
              </a:cxnLst>
              <a:rect l="0" t="0" r="r" b="b"/>
              <a:pathLst>
                <a:path w="776" h="608">
                  <a:moveTo>
                    <a:pt x="765" y="608"/>
                  </a:moveTo>
                  <a:lnTo>
                    <a:pt x="769" y="581"/>
                  </a:lnTo>
                  <a:lnTo>
                    <a:pt x="774" y="551"/>
                  </a:lnTo>
                  <a:lnTo>
                    <a:pt x="776" y="534"/>
                  </a:lnTo>
                  <a:lnTo>
                    <a:pt x="776" y="518"/>
                  </a:lnTo>
                  <a:lnTo>
                    <a:pt x="774" y="510"/>
                  </a:lnTo>
                  <a:lnTo>
                    <a:pt x="772" y="502"/>
                  </a:lnTo>
                  <a:lnTo>
                    <a:pt x="769" y="495"/>
                  </a:lnTo>
                  <a:lnTo>
                    <a:pt x="765" y="488"/>
                  </a:lnTo>
                  <a:lnTo>
                    <a:pt x="756" y="483"/>
                  </a:lnTo>
                  <a:lnTo>
                    <a:pt x="734" y="478"/>
                  </a:lnTo>
                  <a:lnTo>
                    <a:pt x="724" y="474"/>
                  </a:lnTo>
                  <a:lnTo>
                    <a:pt x="714" y="470"/>
                  </a:lnTo>
                  <a:lnTo>
                    <a:pt x="710" y="467"/>
                  </a:lnTo>
                  <a:lnTo>
                    <a:pt x="708" y="464"/>
                  </a:lnTo>
                  <a:lnTo>
                    <a:pt x="705" y="462"/>
                  </a:lnTo>
                  <a:lnTo>
                    <a:pt x="705" y="458"/>
                  </a:lnTo>
                  <a:lnTo>
                    <a:pt x="706" y="447"/>
                  </a:lnTo>
                  <a:lnTo>
                    <a:pt x="709" y="436"/>
                  </a:lnTo>
                  <a:lnTo>
                    <a:pt x="712" y="427"/>
                  </a:lnTo>
                  <a:lnTo>
                    <a:pt x="717" y="416"/>
                  </a:lnTo>
                  <a:lnTo>
                    <a:pt x="721" y="406"/>
                  </a:lnTo>
                  <a:lnTo>
                    <a:pt x="725" y="392"/>
                  </a:lnTo>
                  <a:lnTo>
                    <a:pt x="728" y="378"/>
                  </a:lnTo>
                  <a:lnTo>
                    <a:pt x="729" y="362"/>
                  </a:lnTo>
                  <a:lnTo>
                    <a:pt x="716" y="354"/>
                  </a:lnTo>
                  <a:lnTo>
                    <a:pt x="705" y="346"/>
                  </a:lnTo>
                  <a:lnTo>
                    <a:pt x="696" y="336"/>
                  </a:lnTo>
                  <a:lnTo>
                    <a:pt x="686" y="326"/>
                  </a:lnTo>
                  <a:lnTo>
                    <a:pt x="680" y="315"/>
                  </a:lnTo>
                  <a:lnTo>
                    <a:pt x="673" y="303"/>
                  </a:lnTo>
                  <a:lnTo>
                    <a:pt x="668" y="291"/>
                  </a:lnTo>
                  <a:lnTo>
                    <a:pt x="662" y="278"/>
                  </a:lnTo>
                  <a:lnTo>
                    <a:pt x="653" y="239"/>
                  </a:lnTo>
                  <a:lnTo>
                    <a:pt x="645" y="202"/>
                  </a:lnTo>
                  <a:lnTo>
                    <a:pt x="641" y="186"/>
                  </a:lnTo>
                  <a:lnTo>
                    <a:pt x="634" y="174"/>
                  </a:lnTo>
                  <a:lnTo>
                    <a:pt x="630" y="170"/>
                  </a:lnTo>
                  <a:lnTo>
                    <a:pt x="626" y="166"/>
                  </a:lnTo>
                  <a:lnTo>
                    <a:pt x="621" y="163"/>
                  </a:lnTo>
                  <a:lnTo>
                    <a:pt x="614" y="163"/>
                  </a:lnTo>
                  <a:lnTo>
                    <a:pt x="609" y="159"/>
                  </a:lnTo>
                  <a:lnTo>
                    <a:pt x="605" y="158"/>
                  </a:lnTo>
                  <a:lnTo>
                    <a:pt x="604" y="158"/>
                  </a:lnTo>
                  <a:lnTo>
                    <a:pt x="601" y="158"/>
                  </a:lnTo>
                  <a:lnTo>
                    <a:pt x="600" y="159"/>
                  </a:lnTo>
                  <a:lnTo>
                    <a:pt x="597" y="160"/>
                  </a:lnTo>
                  <a:lnTo>
                    <a:pt x="592" y="162"/>
                  </a:lnTo>
                  <a:lnTo>
                    <a:pt x="584" y="163"/>
                  </a:lnTo>
                  <a:lnTo>
                    <a:pt x="578" y="162"/>
                  </a:lnTo>
                  <a:lnTo>
                    <a:pt x="573" y="162"/>
                  </a:lnTo>
                  <a:lnTo>
                    <a:pt x="569" y="160"/>
                  </a:lnTo>
                  <a:lnTo>
                    <a:pt x="565" y="158"/>
                  </a:lnTo>
                  <a:lnTo>
                    <a:pt x="558" y="152"/>
                  </a:lnTo>
                  <a:lnTo>
                    <a:pt x="553" y="144"/>
                  </a:lnTo>
                  <a:lnTo>
                    <a:pt x="549" y="136"/>
                  </a:lnTo>
                  <a:lnTo>
                    <a:pt x="546" y="127"/>
                  </a:lnTo>
                  <a:lnTo>
                    <a:pt x="545" y="116"/>
                  </a:lnTo>
                  <a:lnTo>
                    <a:pt x="542" y="106"/>
                  </a:lnTo>
                  <a:lnTo>
                    <a:pt x="541" y="95"/>
                  </a:lnTo>
                  <a:lnTo>
                    <a:pt x="538" y="84"/>
                  </a:lnTo>
                  <a:lnTo>
                    <a:pt x="534" y="75"/>
                  </a:lnTo>
                  <a:lnTo>
                    <a:pt x="529" y="66"/>
                  </a:lnTo>
                  <a:lnTo>
                    <a:pt x="522" y="59"/>
                  </a:lnTo>
                  <a:lnTo>
                    <a:pt x="513" y="54"/>
                  </a:lnTo>
                  <a:lnTo>
                    <a:pt x="508" y="51"/>
                  </a:lnTo>
                  <a:lnTo>
                    <a:pt x="502" y="50"/>
                  </a:lnTo>
                  <a:lnTo>
                    <a:pt x="496" y="48"/>
                  </a:lnTo>
                  <a:lnTo>
                    <a:pt x="488" y="48"/>
                  </a:lnTo>
                  <a:lnTo>
                    <a:pt x="484" y="48"/>
                  </a:lnTo>
                  <a:lnTo>
                    <a:pt x="478" y="51"/>
                  </a:lnTo>
                  <a:lnTo>
                    <a:pt x="474" y="54"/>
                  </a:lnTo>
                  <a:lnTo>
                    <a:pt x="469" y="58"/>
                  </a:lnTo>
                  <a:lnTo>
                    <a:pt x="464" y="60"/>
                  </a:lnTo>
                  <a:lnTo>
                    <a:pt x="458" y="63"/>
                  </a:lnTo>
                  <a:lnTo>
                    <a:pt x="452" y="66"/>
                  </a:lnTo>
                  <a:lnTo>
                    <a:pt x="446" y="66"/>
                  </a:lnTo>
                  <a:lnTo>
                    <a:pt x="436" y="66"/>
                  </a:lnTo>
                  <a:lnTo>
                    <a:pt x="426" y="63"/>
                  </a:lnTo>
                  <a:lnTo>
                    <a:pt x="418" y="58"/>
                  </a:lnTo>
                  <a:lnTo>
                    <a:pt x="412" y="54"/>
                  </a:lnTo>
                  <a:lnTo>
                    <a:pt x="398" y="43"/>
                  </a:lnTo>
                  <a:lnTo>
                    <a:pt x="385" y="36"/>
                  </a:lnTo>
                  <a:lnTo>
                    <a:pt x="372" y="32"/>
                  </a:lnTo>
                  <a:lnTo>
                    <a:pt x="358" y="32"/>
                  </a:lnTo>
                  <a:lnTo>
                    <a:pt x="345" y="32"/>
                  </a:lnTo>
                  <a:lnTo>
                    <a:pt x="332" y="34"/>
                  </a:lnTo>
                  <a:lnTo>
                    <a:pt x="317" y="34"/>
                  </a:lnTo>
                  <a:lnTo>
                    <a:pt x="304" y="35"/>
                  </a:lnTo>
                  <a:lnTo>
                    <a:pt x="291" y="34"/>
                  </a:lnTo>
                  <a:lnTo>
                    <a:pt x="277" y="30"/>
                  </a:lnTo>
                  <a:lnTo>
                    <a:pt x="273" y="27"/>
                  </a:lnTo>
                  <a:lnTo>
                    <a:pt x="271" y="23"/>
                  </a:lnTo>
                  <a:lnTo>
                    <a:pt x="268" y="18"/>
                  </a:lnTo>
                  <a:lnTo>
                    <a:pt x="267" y="12"/>
                  </a:lnTo>
                  <a:lnTo>
                    <a:pt x="263" y="8"/>
                  </a:lnTo>
                  <a:lnTo>
                    <a:pt x="257" y="4"/>
                  </a:lnTo>
                  <a:lnTo>
                    <a:pt x="251" y="2"/>
                  </a:lnTo>
                  <a:lnTo>
                    <a:pt x="241" y="0"/>
                  </a:lnTo>
                  <a:lnTo>
                    <a:pt x="235" y="2"/>
                  </a:lnTo>
                  <a:lnTo>
                    <a:pt x="229" y="6"/>
                  </a:lnTo>
                  <a:lnTo>
                    <a:pt x="224" y="11"/>
                  </a:lnTo>
                  <a:lnTo>
                    <a:pt x="220" y="18"/>
                  </a:lnTo>
                  <a:lnTo>
                    <a:pt x="215" y="24"/>
                  </a:lnTo>
                  <a:lnTo>
                    <a:pt x="208" y="31"/>
                  </a:lnTo>
                  <a:lnTo>
                    <a:pt x="205" y="32"/>
                  </a:lnTo>
                  <a:lnTo>
                    <a:pt x="201" y="35"/>
                  </a:lnTo>
                  <a:lnTo>
                    <a:pt x="197" y="36"/>
                  </a:lnTo>
                  <a:lnTo>
                    <a:pt x="193" y="36"/>
                  </a:lnTo>
                  <a:lnTo>
                    <a:pt x="188" y="35"/>
                  </a:lnTo>
                  <a:lnTo>
                    <a:pt x="181" y="32"/>
                  </a:lnTo>
                  <a:lnTo>
                    <a:pt x="175" y="28"/>
                  </a:lnTo>
                  <a:lnTo>
                    <a:pt x="169" y="24"/>
                  </a:lnTo>
                  <a:lnTo>
                    <a:pt x="155" y="24"/>
                  </a:lnTo>
                  <a:lnTo>
                    <a:pt x="141" y="28"/>
                  </a:lnTo>
                  <a:lnTo>
                    <a:pt x="136" y="30"/>
                  </a:lnTo>
                  <a:lnTo>
                    <a:pt x="131" y="32"/>
                  </a:lnTo>
                  <a:lnTo>
                    <a:pt x="127" y="36"/>
                  </a:lnTo>
                  <a:lnTo>
                    <a:pt x="123" y="40"/>
                  </a:lnTo>
                  <a:lnTo>
                    <a:pt x="120" y="44"/>
                  </a:lnTo>
                  <a:lnTo>
                    <a:pt x="116" y="50"/>
                  </a:lnTo>
                  <a:lnTo>
                    <a:pt x="115" y="55"/>
                  </a:lnTo>
                  <a:lnTo>
                    <a:pt x="112" y="62"/>
                  </a:lnTo>
                  <a:lnTo>
                    <a:pt x="109" y="78"/>
                  </a:lnTo>
                  <a:lnTo>
                    <a:pt x="108" y="96"/>
                  </a:lnTo>
                  <a:lnTo>
                    <a:pt x="109" y="107"/>
                  </a:lnTo>
                  <a:lnTo>
                    <a:pt x="112" y="116"/>
                  </a:lnTo>
                  <a:lnTo>
                    <a:pt x="116" y="124"/>
                  </a:lnTo>
                  <a:lnTo>
                    <a:pt x="121" y="132"/>
                  </a:lnTo>
                  <a:lnTo>
                    <a:pt x="125" y="139"/>
                  </a:lnTo>
                  <a:lnTo>
                    <a:pt x="129" y="147"/>
                  </a:lnTo>
                  <a:lnTo>
                    <a:pt x="132" y="154"/>
                  </a:lnTo>
                  <a:lnTo>
                    <a:pt x="133" y="163"/>
                  </a:lnTo>
                  <a:lnTo>
                    <a:pt x="131" y="174"/>
                  </a:lnTo>
                  <a:lnTo>
                    <a:pt x="127" y="186"/>
                  </a:lnTo>
                  <a:lnTo>
                    <a:pt x="120" y="196"/>
                  </a:lnTo>
                  <a:lnTo>
                    <a:pt x="112" y="208"/>
                  </a:lnTo>
                  <a:lnTo>
                    <a:pt x="91" y="230"/>
                  </a:lnTo>
                  <a:lnTo>
                    <a:pt x="67" y="252"/>
                  </a:lnTo>
                  <a:lnTo>
                    <a:pt x="43" y="274"/>
                  </a:lnTo>
                  <a:lnTo>
                    <a:pt x="21" y="295"/>
                  </a:lnTo>
                  <a:lnTo>
                    <a:pt x="12" y="306"/>
                  </a:lnTo>
                  <a:lnTo>
                    <a:pt x="5" y="316"/>
                  </a:lnTo>
                  <a:lnTo>
                    <a:pt x="1" y="327"/>
                  </a:lnTo>
                  <a:lnTo>
                    <a:pt x="0" y="338"/>
                  </a:lnTo>
                  <a:lnTo>
                    <a:pt x="0" y="348"/>
                  </a:lnTo>
                  <a:lnTo>
                    <a:pt x="0" y="374"/>
                  </a:lnTo>
                  <a:lnTo>
                    <a:pt x="7" y="375"/>
                  </a:lnTo>
                  <a:lnTo>
                    <a:pt x="12" y="378"/>
                  </a:lnTo>
                  <a:lnTo>
                    <a:pt x="16" y="380"/>
                  </a:lnTo>
                  <a:lnTo>
                    <a:pt x="20" y="384"/>
                  </a:lnTo>
                  <a:lnTo>
                    <a:pt x="27" y="394"/>
                  </a:lnTo>
                  <a:lnTo>
                    <a:pt x="32" y="403"/>
                  </a:lnTo>
                  <a:lnTo>
                    <a:pt x="36" y="414"/>
                  </a:lnTo>
                  <a:lnTo>
                    <a:pt x="41" y="423"/>
                  </a:lnTo>
                  <a:lnTo>
                    <a:pt x="44" y="427"/>
                  </a:lnTo>
                  <a:lnTo>
                    <a:pt x="47" y="430"/>
                  </a:lnTo>
                  <a:lnTo>
                    <a:pt x="51" y="432"/>
                  </a:lnTo>
                  <a:lnTo>
                    <a:pt x="55" y="434"/>
                  </a:lnTo>
                  <a:lnTo>
                    <a:pt x="88" y="443"/>
                  </a:lnTo>
                  <a:lnTo>
                    <a:pt x="115" y="448"/>
                  </a:lnTo>
                  <a:lnTo>
                    <a:pt x="139" y="451"/>
                  </a:lnTo>
                  <a:lnTo>
                    <a:pt x="160" y="452"/>
                  </a:lnTo>
                  <a:lnTo>
                    <a:pt x="181" y="454"/>
                  </a:lnTo>
                  <a:lnTo>
                    <a:pt x="203" y="456"/>
                  </a:lnTo>
                  <a:lnTo>
                    <a:pt x="215" y="458"/>
                  </a:lnTo>
                  <a:lnTo>
                    <a:pt x="227" y="460"/>
                  </a:lnTo>
                  <a:lnTo>
                    <a:pt x="239" y="464"/>
                  </a:lnTo>
                  <a:lnTo>
                    <a:pt x="253" y="470"/>
                  </a:lnTo>
                  <a:lnTo>
                    <a:pt x="261" y="475"/>
                  </a:lnTo>
                  <a:lnTo>
                    <a:pt x="268" y="482"/>
                  </a:lnTo>
                  <a:lnTo>
                    <a:pt x="275" y="488"/>
                  </a:lnTo>
                  <a:lnTo>
                    <a:pt x="280" y="495"/>
                  </a:lnTo>
                  <a:lnTo>
                    <a:pt x="287" y="502"/>
                  </a:lnTo>
                  <a:lnTo>
                    <a:pt x="292" y="507"/>
                  </a:lnTo>
                  <a:lnTo>
                    <a:pt x="299" y="511"/>
                  </a:lnTo>
                  <a:lnTo>
                    <a:pt x="308" y="512"/>
                  </a:lnTo>
                  <a:lnTo>
                    <a:pt x="320" y="511"/>
                  </a:lnTo>
                  <a:lnTo>
                    <a:pt x="332" y="510"/>
                  </a:lnTo>
                  <a:lnTo>
                    <a:pt x="343" y="507"/>
                  </a:lnTo>
                  <a:lnTo>
                    <a:pt x="353" y="503"/>
                  </a:lnTo>
                  <a:lnTo>
                    <a:pt x="374" y="492"/>
                  </a:lnTo>
                  <a:lnTo>
                    <a:pt x="394" y="482"/>
                  </a:lnTo>
                  <a:lnTo>
                    <a:pt x="413" y="471"/>
                  </a:lnTo>
                  <a:lnTo>
                    <a:pt x="430" y="462"/>
                  </a:lnTo>
                  <a:lnTo>
                    <a:pt x="440" y="458"/>
                  </a:lnTo>
                  <a:lnTo>
                    <a:pt x="448" y="455"/>
                  </a:lnTo>
                  <a:lnTo>
                    <a:pt x="456" y="452"/>
                  </a:lnTo>
                  <a:lnTo>
                    <a:pt x="464" y="452"/>
                  </a:lnTo>
                  <a:lnTo>
                    <a:pt x="476" y="452"/>
                  </a:lnTo>
                  <a:lnTo>
                    <a:pt x="486" y="456"/>
                  </a:lnTo>
                  <a:lnTo>
                    <a:pt x="496" y="460"/>
                  </a:lnTo>
                  <a:lnTo>
                    <a:pt x="502" y="466"/>
                  </a:lnTo>
                  <a:lnTo>
                    <a:pt x="508" y="472"/>
                  </a:lnTo>
                  <a:lnTo>
                    <a:pt x="513" y="480"/>
                  </a:lnTo>
                  <a:lnTo>
                    <a:pt x="517" y="488"/>
                  </a:lnTo>
                  <a:lnTo>
                    <a:pt x="520" y="496"/>
                  </a:lnTo>
                  <a:lnTo>
                    <a:pt x="525" y="514"/>
                  </a:lnTo>
                  <a:lnTo>
                    <a:pt x="530" y="528"/>
                  </a:lnTo>
                  <a:lnTo>
                    <a:pt x="533" y="534"/>
                  </a:lnTo>
                  <a:lnTo>
                    <a:pt x="537" y="538"/>
                  </a:lnTo>
                  <a:lnTo>
                    <a:pt x="542" y="542"/>
                  </a:lnTo>
                  <a:lnTo>
                    <a:pt x="548" y="542"/>
                  </a:lnTo>
                  <a:lnTo>
                    <a:pt x="553" y="542"/>
                  </a:lnTo>
                  <a:lnTo>
                    <a:pt x="558" y="539"/>
                  </a:lnTo>
                  <a:lnTo>
                    <a:pt x="564" y="536"/>
                  </a:lnTo>
                  <a:lnTo>
                    <a:pt x="569" y="534"/>
                  </a:lnTo>
                  <a:lnTo>
                    <a:pt x="580" y="527"/>
                  </a:lnTo>
                  <a:lnTo>
                    <a:pt x="590" y="524"/>
                  </a:lnTo>
                  <a:lnTo>
                    <a:pt x="593" y="532"/>
                  </a:lnTo>
                  <a:lnTo>
                    <a:pt x="596" y="540"/>
                  </a:lnTo>
                  <a:lnTo>
                    <a:pt x="600" y="548"/>
                  </a:lnTo>
                  <a:lnTo>
                    <a:pt x="604" y="553"/>
                  </a:lnTo>
                  <a:lnTo>
                    <a:pt x="609" y="559"/>
                  </a:lnTo>
                  <a:lnTo>
                    <a:pt x="614" y="563"/>
                  </a:lnTo>
                  <a:lnTo>
                    <a:pt x="620" y="565"/>
                  </a:lnTo>
                  <a:lnTo>
                    <a:pt x="626" y="565"/>
                  </a:lnTo>
                  <a:lnTo>
                    <a:pt x="641" y="557"/>
                  </a:lnTo>
                  <a:lnTo>
                    <a:pt x="657" y="548"/>
                  </a:lnTo>
                  <a:lnTo>
                    <a:pt x="662" y="548"/>
                  </a:lnTo>
                  <a:lnTo>
                    <a:pt x="668" y="549"/>
                  </a:lnTo>
                  <a:lnTo>
                    <a:pt x="673" y="552"/>
                  </a:lnTo>
                  <a:lnTo>
                    <a:pt x="678" y="556"/>
                  </a:lnTo>
                  <a:lnTo>
                    <a:pt x="689" y="563"/>
                  </a:lnTo>
                  <a:lnTo>
                    <a:pt x="701" y="572"/>
                  </a:lnTo>
                  <a:lnTo>
                    <a:pt x="713" y="581"/>
                  </a:lnTo>
                  <a:lnTo>
                    <a:pt x="726" y="588"/>
                  </a:lnTo>
                  <a:lnTo>
                    <a:pt x="734" y="592"/>
                  </a:lnTo>
                  <a:lnTo>
                    <a:pt x="742" y="593"/>
                  </a:lnTo>
                  <a:lnTo>
                    <a:pt x="750" y="596"/>
                  </a:lnTo>
                  <a:lnTo>
                    <a:pt x="758" y="596"/>
                  </a:lnTo>
                  <a:lnTo>
                    <a:pt x="765" y="60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6" name="Freeform 40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460750" y="3832225"/>
              <a:ext cx="358775" cy="484188"/>
            </a:xfrm>
            <a:custGeom>
              <a:avLst/>
              <a:gdLst/>
              <a:ahLst/>
              <a:cxnLst>
                <a:cxn ang="0">
                  <a:pos x="790" y="101"/>
                </a:cxn>
                <a:cxn ang="0">
                  <a:pos x="790" y="157"/>
                </a:cxn>
                <a:cxn ang="0">
                  <a:pos x="756" y="197"/>
                </a:cxn>
                <a:cxn ang="0">
                  <a:pos x="764" y="258"/>
                </a:cxn>
                <a:cxn ang="0">
                  <a:pos x="825" y="459"/>
                </a:cxn>
                <a:cxn ang="0">
                  <a:pos x="834" y="529"/>
                </a:cxn>
                <a:cxn ang="0">
                  <a:pos x="790" y="617"/>
                </a:cxn>
                <a:cxn ang="0">
                  <a:pos x="800" y="686"/>
                </a:cxn>
                <a:cxn ang="0">
                  <a:pos x="776" y="724"/>
                </a:cxn>
                <a:cxn ang="0">
                  <a:pos x="706" y="728"/>
                </a:cxn>
                <a:cxn ang="0">
                  <a:pos x="670" y="759"/>
                </a:cxn>
                <a:cxn ang="0">
                  <a:pos x="657" y="828"/>
                </a:cxn>
                <a:cxn ang="0">
                  <a:pos x="617" y="907"/>
                </a:cxn>
                <a:cxn ang="0">
                  <a:pos x="621" y="982"/>
                </a:cxn>
                <a:cxn ang="0">
                  <a:pos x="660" y="1068"/>
                </a:cxn>
                <a:cxn ang="0">
                  <a:pos x="652" y="1110"/>
                </a:cxn>
                <a:cxn ang="0">
                  <a:pos x="611" y="1182"/>
                </a:cxn>
                <a:cxn ang="0">
                  <a:pos x="571" y="1223"/>
                </a:cxn>
                <a:cxn ang="0">
                  <a:pos x="465" y="1261"/>
                </a:cxn>
                <a:cxn ang="0">
                  <a:pos x="405" y="1293"/>
                </a:cxn>
                <a:cxn ang="0">
                  <a:pos x="360" y="1279"/>
                </a:cxn>
                <a:cxn ang="0">
                  <a:pos x="312" y="1264"/>
                </a:cxn>
                <a:cxn ang="0">
                  <a:pos x="275" y="1253"/>
                </a:cxn>
                <a:cxn ang="0">
                  <a:pos x="280" y="1215"/>
                </a:cxn>
                <a:cxn ang="0">
                  <a:pos x="328" y="1187"/>
                </a:cxn>
                <a:cxn ang="0">
                  <a:pos x="324" y="1164"/>
                </a:cxn>
                <a:cxn ang="0">
                  <a:pos x="251" y="1135"/>
                </a:cxn>
                <a:cxn ang="0">
                  <a:pos x="204" y="1131"/>
                </a:cxn>
                <a:cxn ang="0">
                  <a:pos x="173" y="1118"/>
                </a:cxn>
                <a:cxn ang="0">
                  <a:pos x="141" y="1046"/>
                </a:cxn>
                <a:cxn ang="0">
                  <a:pos x="96" y="1054"/>
                </a:cxn>
                <a:cxn ang="0">
                  <a:pos x="52" y="1063"/>
                </a:cxn>
                <a:cxn ang="0">
                  <a:pos x="0" y="1047"/>
                </a:cxn>
                <a:cxn ang="0">
                  <a:pos x="45" y="959"/>
                </a:cxn>
                <a:cxn ang="0">
                  <a:pos x="19" y="799"/>
                </a:cxn>
                <a:cxn ang="0">
                  <a:pos x="20" y="710"/>
                </a:cxn>
                <a:cxn ang="0">
                  <a:pos x="29" y="618"/>
                </a:cxn>
                <a:cxn ang="0">
                  <a:pos x="45" y="593"/>
                </a:cxn>
                <a:cxn ang="0">
                  <a:pos x="91" y="570"/>
                </a:cxn>
                <a:cxn ang="0">
                  <a:pos x="99" y="497"/>
                </a:cxn>
                <a:cxn ang="0">
                  <a:pos x="171" y="449"/>
                </a:cxn>
                <a:cxn ang="0">
                  <a:pos x="241" y="418"/>
                </a:cxn>
                <a:cxn ang="0">
                  <a:pos x="243" y="391"/>
                </a:cxn>
                <a:cxn ang="0">
                  <a:pos x="203" y="293"/>
                </a:cxn>
                <a:cxn ang="0">
                  <a:pos x="167" y="278"/>
                </a:cxn>
                <a:cxn ang="0">
                  <a:pos x="148" y="299"/>
                </a:cxn>
                <a:cxn ang="0">
                  <a:pos x="117" y="278"/>
                </a:cxn>
                <a:cxn ang="0">
                  <a:pos x="120" y="239"/>
                </a:cxn>
                <a:cxn ang="0">
                  <a:pos x="153" y="193"/>
                </a:cxn>
                <a:cxn ang="0">
                  <a:pos x="152" y="121"/>
                </a:cxn>
                <a:cxn ang="0">
                  <a:pos x="219" y="24"/>
                </a:cxn>
                <a:cxn ang="0">
                  <a:pos x="271" y="1"/>
                </a:cxn>
                <a:cxn ang="0">
                  <a:pos x="288" y="36"/>
                </a:cxn>
                <a:cxn ang="0">
                  <a:pos x="272" y="71"/>
                </a:cxn>
                <a:cxn ang="0">
                  <a:pos x="280" y="102"/>
                </a:cxn>
                <a:cxn ang="0">
                  <a:pos x="437" y="169"/>
                </a:cxn>
                <a:cxn ang="0">
                  <a:pos x="495" y="169"/>
                </a:cxn>
                <a:cxn ang="0">
                  <a:pos x="545" y="157"/>
                </a:cxn>
                <a:cxn ang="0">
                  <a:pos x="619" y="182"/>
                </a:cxn>
                <a:cxn ang="0">
                  <a:pos x="686" y="181"/>
                </a:cxn>
                <a:cxn ang="0">
                  <a:pos x="745" y="138"/>
                </a:cxn>
              </a:cxnLst>
              <a:rect l="0" t="0" r="r" b="b"/>
              <a:pathLst>
                <a:path w="837" h="1295">
                  <a:moveTo>
                    <a:pt x="776" y="90"/>
                  </a:moveTo>
                  <a:lnTo>
                    <a:pt x="780" y="90"/>
                  </a:lnTo>
                  <a:lnTo>
                    <a:pt x="782" y="91"/>
                  </a:lnTo>
                  <a:lnTo>
                    <a:pt x="785" y="93"/>
                  </a:lnTo>
                  <a:lnTo>
                    <a:pt x="786" y="95"/>
                  </a:lnTo>
                  <a:lnTo>
                    <a:pt x="790" y="101"/>
                  </a:lnTo>
                  <a:lnTo>
                    <a:pt x="792" y="109"/>
                  </a:lnTo>
                  <a:lnTo>
                    <a:pt x="794" y="126"/>
                  </a:lnTo>
                  <a:lnTo>
                    <a:pt x="794" y="145"/>
                  </a:lnTo>
                  <a:lnTo>
                    <a:pt x="794" y="149"/>
                  </a:lnTo>
                  <a:lnTo>
                    <a:pt x="793" y="153"/>
                  </a:lnTo>
                  <a:lnTo>
                    <a:pt x="790" y="157"/>
                  </a:lnTo>
                  <a:lnTo>
                    <a:pt x="788" y="159"/>
                  </a:lnTo>
                  <a:lnTo>
                    <a:pt x="781" y="167"/>
                  </a:lnTo>
                  <a:lnTo>
                    <a:pt x="773" y="174"/>
                  </a:lnTo>
                  <a:lnTo>
                    <a:pt x="765" y="182"/>
                  </a:lnTo>
                  <a:lnTo>
                    <a:pt x="758" y="191"/>
                  </a:lnTo>
                  <a:lnTo>
                    <a:pt x="756" y="197"/>
                  </a:lnTo>
                  <a:lnTo>
                    <a:pt x="754" y="202"/>
                  </a:lnTo>
                  <a:lnTo>
                    <a:pt x="753" y="209"/>
                  </a:lnTo>
                  <a:lnTo>
                    <a:pt x="752" y="217"/>
                  </a:lnTo>
                  <a:lnTo>
                    <a:pt x="753" y="230"/>
                  </a:lnTo>
                  <a:lnTo>
                    <a:pt x="758" y="245"/>
                  </a:lnTo>
                  <a:lnTo>
                    <a:pt x="764" y="258"/>
                  </a:lnTo>
                  <a:lnTo>
                    <a:pt x="772" y="273"/>
                  </a:lnTo>
                  <a:lnTo>
                    <a:pt x="788" y="298"/>
                  </a:lnTo>
                  <a:lnTo>
                    <a:pt x="800" y="319"/>
                  </a:lnTo>
                  <a:lnTo>
                    <a:pt x="800" y="422"/>
                  </a:lnTo>
                  <a:lnTo>
                    <a:pt x="813" y="439"/>
                  </a:lnTo>
                  <a:lnTo>
                    <a:pt x="825" y="459"/>
                  </a:lnTo>
                  <a:lnTo>
                    <a:pt x="830" y="470"/>
                  </a:lnTo>
                  <a:lnTo>
                    <a:pt x="833" y="481"/>
                  </a:lnTo>
                  <a:lnTo>
                    <a:pt x="836" y="493"/>
                  </a:lnTo>
                  <a:lnTo>
                    <a:pt x="837" y="506"/>
                  </a:lnTo>
                  <a:lnTo>
                    <a:pt x="836" y="518"/>
                  </a:lnTo>
                  <a:lnTo>
                    <a:pt x="834" y="529"/>
                  </a:lnTo>
                  <a:lnTo>
                    <a:pt x="832" y="539"/>
                  </a:lnTo>
                  <a:lnTo>
                    <a:pt x="828" y="550"/>
                  </a:lnTo>
                  <a:lnTo>
                    <a:pt x="820" y="567"/>
                  </a:lnTo>
                  <a:lnTo>
                    <a:pt x="809" y="585"/>
                  </a:lnTo>
                  <a:lnTo>
                    <a:pt x="800" y="601"/>
                  </a:lnTo>
                  <a:lnTo>
                    <a:pt x="790" y="617"/>
                  </a:lnTo>
                  <a:lnTo>
                    <a:pt x="788" y="625"/>
                  </a:lnTo>
                  <a:lnTo>
                    <a:pt x="785" y="632"/>
                  </a:lnTo>
                  <a:lnTo>
                    <a:pt x="782" y="642"/>
                  </a:lnTo>
                  <a:lnTo>
                    <a:pt x="782" y="650"/>
                  </a:lnTo>
                  <a:lnTo>
                    <a:pt x="792" y="666"/>
                  </a:lnTo>
                  <a:lnTo>
                    <a:pt x="800" y="686"/>
                  </a:lnTo>
                  <a:lnTo>
                    <a:pt x="800" y="698"/>
                  </a:lnTo>
                  <a:lnTo>
                    <a:pt x="797" y="706"/>
                  </a:lnTo>
                  <a:lnTo>
                    <a:pt x="793" y="714"/>
                  </a:lnTo>
                  <a:lnTo>
                    <a:pt x="789" y="718"/>
                  </a:lnTo>
                  <a:lnTo>
                    <a:pt x="782" y="722"/>
                  </a:lnTo>
                  <a:lnTo>
                    <a:pt x="776" y="724"/>
                  </a:lnTo>
                  <a:lnTo>
                    <a:pt x="768" y="726"/>
                  </a:lnTo>
                  <a:lnTo>
                    <a:pt x="760" y="726"/>
                  </a:lnTo>
                  <a:lnTo>
                    <a:pt x="742" y="726"/>
                  </a:lnTo>
                  <a:lnTo>
                    <a:pt x="724" y="726"/>
                  </a:lnTo>
                  <a:lnTo>
                    <a:pt x="716" y="727"/>
                  </a:lnTo>
                  <a:lnTo>
                    <a:pt x="706" y="728"/>
                  </a:lnTo>
                  <a:lnTo>
                    <a:pt x="698" y="731"/>
                  </a:lnTo>
                  <a:lnTo>
                    <a:pt x="692" y="735"/>
                  </a:lnTo>
                  <a:lnTo>
                    <a:pt x="685" y="740"/>
                  </a:lnTo>
                  <a:lnTo>
                    <a:pt x="678" y="746"/>
                  </a:lnTo>
                  <a:lnTo>
                    <a:pt x="674" y="752"/>
                  </a:lnTo>
                  <a:lnTo>
                    <a:pt x="670" y="759"/>
                  </a:lnTo>
                  <a:lnTo>
                    <a:pt x="666" y="772"/>
                  </a:lnTo>
                  <a:lnTo>
                    <a:pt x="664" y="786"/>
                  </a:lnTo>
                  <a:lnTo>
                    <a:pt x="662" y="800"/>
                  </a:lnTo>
                  <a:lnTo>
                    <a:pt x="661" y="815"/>
                  </a:lnTo>
                  <a:lnTo>
                    <a:pt x="658" y="822"/>
                  </a:lnTo>
                  <a:lnTo>
                    <a:pt x="657" y="828"/>
                  </a:lnTo>
                  <a:lnTo>
                    <a:pt x="653" y="836"/>
                  </a:lnTo>
                  <a:lnTo>
                    <a:pt x="649" y="843"/>
                  </a:lnTo>
                  <a:lnTo>
                    <a:pt x="636" y="862"/>
                  </a:lnTo>
                  <a:lnTo>
                    <a:pt x="625" y="883"/>
                  </a:lnTo>
                  <a:lnTo>
                    <a:pt x="620" y="895"/>
                  </a:lnTo>
                  <a:lnTo>
                    <a:pt x="617" y="907"/>
                  </a:lnTo>
                  <a:lnTo>
                    <a:pt x="615" y="920"/>
                  </a:lnTo>
                  <a:lnTo>
                    <a:pt x="613" y="934"/>
                  </a:lnTo>
                  <a:lnTo>
                    <a:pt x="615" y="947"/>
                  </a:lnTo>
                  <a:lnTo>
                    <a:pt x="616" y="960"/>
                  </a:lnTo>
                  <a:lnTo>
                    <a:pt x="619" y="971"/>
                  </a:lnTo>
                  <a:lnTo>
                    <a:pt x="621" y="982"/>
                  </a:lnTo>
                  <a:lnTo>
                    <a:pt x="629" y="1002"/>
                  </a:lnTo>
                  <a:lnTo>
                    <a:pt x="637" y="1018"/>
                  </a:lnTo>
                  <a:lnTo>
                    <a:pt x="646" y="1035"/>
                  </a:lnTo>
                  <a:lnTo>
                    <a:pt x="654" y="1051"/>
                  </a:lnTo>
                  <a:lnTo>
                    <a:pt x="657" y="1060"/>
                  </a:lnTo>
                  <a:lnTo>
                    <a:pt x="660" y="1068"/>
                  </a:lnTo>
                  <a:lnTo>
                    <a:pt x="661" y="1079"/>
                  </a:lnTo>
                  <a:lnTo>
                    <a:pt x="661" y="1090"/>
                  </a:lnTo>
                  <a:lnTo>
                    <a:pt x="661" y="1098"/>
                  </a:lnTo>
                  <a:lnTo>
                    <a:pt x="658" y="1103"/>
                  </a:lnTo>
                  <a:lnTo>
                    <a:pt x="656" y="1107"/>
                  </a:lnTo>
                  <a:lnTo>
                    <a:pt x="652" y="1110"/>
                  </a:lnTo>
                  <a:lnTo>
                    <a:pt x="648" y="1111"/>
                  </a:lnTo>
                  <a:lnTo>
                    <a:pt x="644" y="1114"/>
                  </a:lnTo>
                  <a:lnTo>
                    <a:pt x="640" y="1116"/>
                  </a:lnTo>
                  <a:lnTo>
                    <a:pt x="637" y="1120"/>
                  </a:lnTo>
                  <a:lnTo>
                    <a:pt x="624" y="1155"/>
                  </a:lnTo>
                  <a:lnTo>
                    <a:pt x="611" y="1182"/>
                  </a:lnTo>
                  <a:lnTo>
                    <a:pt x="605" y="1191"/>
                  </a:lnTo>
                  <a:lnTo>
                    <a:pt x="599" y="1200"/>
                  </a:lnTo>
                  <a:lnTo>
                    <a:pt x="593" y="1207"/>
                  </a:lnTo>
                  <a:lnTo>
                    <a:pt x="585" y="1213"/>
                  </a:lnTo>
                  <a:lnTo>
                    <a:pt x="579" y="1219"/>
                  </a:lnTo>
                  <a:lnTo>
                    <a:pt x="571" y="1223"/>
                  </a:lnTo>
                  <a:lnTo>
                    <a:pt x="561" y="1227"/>
                  </a:lnTo>
                  <a:lnTo>
                    <a:pt x="551" y="1232"/>
                  </a:lnTo>
                  <a:lnTo>
                    <a:pt x="525" y="1240"/>
                  </a:lnTo>
                  <a:lnTo>
                    <a:pt x="493" y="1252"/>
                  </a:lnTo>
                  <a:lnTo>
                    <a:pt x="479" y="1256"/>
                  </a:lnTo>
                  <a:lnTo>
                    <a:pt x="465" y="1261"/>
                  </a:lnTo>
                  <a:lnTo>
                    <a:pt x="453" y="1268"/>
                  </a:lnTo>
                  <a:lnTo>
                    <a:pt x="443" y="1276"/>
                  </a:lnTo>
                  <a:lnTo>
                    <a:pt x="431" y="1283"/>
                  </a:lnTo>
                  <a:lnTo>
                    <a:pt x="419" y="1288"/>
                  </a:lnTo>
                  <a:lnTo>
                    <a:pt x="412" y="1291"/>
                  </a:lnTo>
                  <a:lnTo>
                    <a:pt x="405" y="1293"/>
                  </a:lnTo>
                  <a:lnTo>
                    <a:pt x="399" y="1293"/>
                  </a:lnTo>
                  <a:lnTo>
                    <a:pt x="391" y="1295"/>
                  </a:lnTo>
                  <a:lnTo>
                    <a:pt x="383" y="1293"/>
                  </a:lnTo>
                  <a:lnTo>
                    <a:pt x="375" y="1289"/>
                  </a:lnTo>
                  <a:lnTo>
                    <a:pt x="367" y="1285"/>
                  </a:lnTo>
                  <a:lnTo>
                    <a:pt x="360" y="1279"/>
                  </a:lnTo>
                  <a:lnTo>
                    <a:pt x="352" y="1273"/>
                  </a:lnTo>
                  <a:lnTo>
                    <a:pt x="344" y="1269"/>
                  </a:lnTo>
                  <a:lnTo>
                    <a:pt x="335" y="1265"/>
                  </a:lnTo>
                  <a:lnTo>
                    <a:pt x="324" y="1264"/>
                  </a:lnTo>
                  <a:lnTo>
                    <a:pt x="315" y="1264"/>
                  </a:lnTo>
                  <a:lnTo>
                    <a:pt x="312" y="1264"/>
                  </a:lnTo>
                  <a:lnTo>
                    <a:pt x="311" y="1264"/>
                  </a:lnTo>
                  <a:lnTo>
                    <a:pt x="300" y="1264"/>
                  </a:lnTo>
                  <a:lnTo>
                    <a:pt x="293" y="1264"/>
                  </a:lnTo>
                  <a:lnTo>
                    <a:pt x="283" y="1261"/>
                  </a:lnTo>
                  <a:lnTo>
                    <a:pt x="279" y="1259"/>
                  </a:lnTo>
                  <a:lnTo>
                    <a:pt x="275" y="1253"/>
                  </a:lnTo>
                  <a:lnTo>
                    <a:pt x="272" y="1248"/>
                  </a:lnTo>
                  <a:lnTo>
                    <a:pt x="271" y="1240"/>
                  </a:lnTo>
                  <a:lnTo>
                    <a:pt x="271" y="1232"/>
                  </a:lnTo>
                  <a:lnTo>
                    <a:pt x="273" y="1225"/>
                  </a:lnTo>
                  <a:lnTo>
                    <a:pt x="276" y="1220"/>
                  </a:lnTo>
                  <a:lnTo>
                    <a:pt x="280" y="1215"/>
                  </a:lnTo>
                  <a:lnTo>
                    <a:pt x="289" y="1210"/>
                  </a:lnTo>
                  <a:lnTo>
                    <a:pt x="300" y="1204"/>
                  </a:lnTo>
                  <a:lnTo>
                    <a:pt x="312" y="1200"/>
                  </a:lnTo>
                  <a:lnTo>
                    <a:pt x="321" y="1195"/>
                  </a:lnTo>
                  <a:lnTo>
                    <a:pt x="325" y="1192"/>
                  </a:lnTo>
                  <a:lnTo>
                    <a:pt x="328" y="1187"/>
                  </a:lnTo>
                  <a:lnTo>
                    <a:pt x="329" y="1182"/>
                  </a:lnTo>
                  <a:lnTo>
                    <a:pt x="331" y="1174"/>
                  </a:lnTo>
                  <a:lnTo>
                    <a:pt x="331" y="1171"/>
                  </a:lnTo>
                  <a:lnTo>
                    <a:pt x="329" y="1168"/>
                  </a:lnTo>
                  <a:lnTo>
                    <a:pt x="327" y="1166"/>
                  </a:lnTo>
                  <a:lnTo>
                    <a:pt x="324" y="1164"/>
                  </a:lnTo>
                  <a:lnTo>
                    <a:pt x="317" y="1163"/>
                  </a:lnTo>
                  <a:lnTo>
                    <a:pt x="308" y="1162"/>
                  </a:lnTo>
                  <a:lnTo>
                    <a:pt x="289" y="1162"/>
                  </a:lnTo>
                  <a:lnTo>
                    <a:pt x="276" y="1162"/>
                  </a:lnTo>
                  <a:lnTo>
                    <a:pt x="267" y="1154"/>
                  </a:lnTo>
                  <a:lnTo>
                    <a:pt x="251" y="1135"/>
                  </a:lnTo>
                  <a:lnTo>
                    <a:pt x="235" y="1116"/>
                  </a:lnTo>
                  <a:lnTo>
                    <a:pt x="228" y="1108"/>
                  </a:lnTo>
                  <a:lnTo>
                    <a:pt x="220" y="1119"/>
                  </a:lnTo>
                  <a:lnTo>
                    <a:pt x="212" y="1127"/>
                  </a:lnTo>
                  <a:lnTo>
                    <a:pt x="208" y="1130"/>
                  </a:lnTo>
                  <a:lnTo>
                    <a:pt x="204" y="1131"/>
                  </a:lnTo>
                  <a:lnTo>
                    <a:pt x="199" y="1131"/>
                  </a:lnTo>
                  <a:lnTo>
                    <a:pt x="192" y="1132"/>
                  </a:lnTo>
                  <a:lnTo>
                    <a:pt x="185" y="1131"/>
                  </a:lnTo>
                  <a:lnTo>
                    <a:pt x="181" y="1128"/>
                  </a:lnTo>
                  <a:lnTo>
                    <a:pt x="177" y="1123"/>
                  </a:lnTo>
                  <a:lnTo>
                    <a:pt x="173" y="1118"/>
                  </a:lnTo>
                  <a:lnTo>
                    <a:pt x="168" y="1103"/>
                  </a:lnTo>
                  <a:lnTo>
                    <a:pt x="164" y="1087"/>
                  </a:lnTo>
                  <a:lnTo>
                    <a:pt x="159" y="1070"/>
                  </a:lnTo>
                  <a:lnTo>
                    <a:pt x="152" y="1056"/>
                  </a:lnTo>
                  <a:lnTo>
                    <a:pt x="147" y="1050"/>
                  </a:lnTo>
                  <a:lnTo>
                    <a:pt x="141" y="1046"/>
                  </a:lnTo>
                  <a:lnTo>
                    <a:pt x="135" y="1043"/>
                  </a:lnTo>
                  <a:lnTo>
                    <a:pt x="125" y="1042"/>
                  </a:lnTo>
                  <a:lnTo>
                    <a:pt x="117" y="1043"/>
                  </a:lnTo>
                  <a:lnTo>
                    <a:pt x="109" y="1046"/>
                  </a:lnTo>
                  <a:lnTo>
                    <a:pt x="103" y="1050"/>
                  </a:lnTo>
                  <a:lnTo>
                    <a:pt x="96" y="1054"/>
                  </a:lnTo>
                  <a:lnTo>
                    <a:pt x="89" y="1058"/>
                  </a:lnTo>
                  <a:lnTo>
                    <a:pt x="81" y="1062"/>
                  </a:lnTo>
                  <a:lnTo>
                    <a:pt x="75" y="1064"/>
                  </a:lnTo>
                  <a:lnTo>
                    <a:pt x="65" y="1066"/>
                  </a:lnTo>
                  <a:lnTo>
                    <a:pt x="59" y="1064"/>
                  </a:lnTo>
                  <a:lnTo>
                    <a:pt x="52" y="1063"/>
                  </a:lnTo>
                  <a:lnTo>
                    <a:pt x="44" y="1060"/>
                  </a:lnTo>
                  <a:lnTo>
                    <a:pt x="37" y="1056"/>
                  </a:lnTo>
                  <a:lnTo>
                    <a:pt x="29" y="1054"/>
                  </a:lnTo>
                  <a:lnTo>
                    <a:pt x="20" y="1051"/>
                  </a:lnTo>
                  <a:lnTo>
                    <a:pt x="11" y="1048"/>
                  </a:lnTo>
                  <a:lnTo>
                    <a:pt x="0" y="1047"/>
                  </a:lnTo>
                  <a:lnTo>
                    <a:pt x="0" y="1011"/>
                  </a:lnTo>
                  <a:lnTo>
                    <a:pt x="12" y="1003"/>
                  </a:lnTo>
                  <a:lnTo>
                    <a:pt x="23" y="992"/>
                  </a:lnTo>
                  <a:lnTo>
                    <a:pt x="32" y="983"/>
                  </a:lnTo>
                  <a:lnTo>
                    <a:pt x="40" y="971"/>
                  </a:lnTo>
                  <a:lnTo>
                    <a:pt x="45" y="959"/>
                  </a:lnTo>
                  <a:lnTo>
                    <a:pt x="51" y="944"/>
                  </a:lnTo>
                  <a:lnTo>
                    <a:pt x="53" y="928"/>
                  </a:lnTo>
                  <a:lnTo>
                    <a:pt x="53" y="910"/>
                  </a:lnTo>
                  <a:lnTo>
                    <a:pt x="45" y="879"/>
                  </a:lnTo>
                  <a:lnTo>
                    <a:pt x="29" y="826"/>
                  </a:lnTo>
                  <a:lnTo>
                    <a:pt x="19" y="799"/>
                  </a:lnTo>
                  <a:lnTo>
                    <a:pt x="11" y="775"/>
                  </a:lnTo>
                  <a:lnTo>
                    <a:pt x="4" y="759"/>
                  </a:lnTo>
                  <a:lnTo>
                    <a:pt x="0" y="752"/>
                  </a:lnTo>
                  <a:lnTo>
                    <a:pt x="8" y="740"/>
                  </a:lnTo>
                  <a:lnTo>
                    <a:pt x="15" y="726"/>
                  </a:lnTo>
                  <a:lnTo>
                    <a:pt x="20" y="710"/>
                  </a:lnTo>
                  <a:lnTo>
                    <a:pt x="24" y="694"/>
                  </a:lnTo>
                  <a:lnTo>
                    <a:pt x="27" y="676"/>
                  </a:lnTo>
                  <a:lnTo>
                    <a:pt x="28" y="659"/>
                  </a:lnTo>
                  <a:lnTo>
                    <a:pt x="29" y="642"/>
                  </a:lnTo>
                  <a:lnTo>
                    <a:pt x="29" y="626"/>
                  </a:lnTo>
                  <a:lnTo>
                    <a:pt x="29" y="618"/>
                  </a:lnTo>
                  <a:lnTo>
                    <a:pt x="31" y="611"/>
                  </a:lnTo>
                  <a:lnTo>
                    <a:pt x="33" y="606"/>
                  </a:lnTo>
                  <a:lnTo>
                    <a:pt x="36" y="601"/>
                  </a:lnTo>
                  <a:lnTo>
                    <a:pt x="39" y="598"/>
                  </a:lnTo>
                  <a:lnTo>
                    <a:pt x="41" y="595"/>
                  </a:lnTo>
                  <a:lnTo>
                    <a:pt x="45" y="593"/>
                  </a:lnTo>
                  <a:lnTo>
                    <a:pt x="49" y="591"/>
                  </a:lnTo>
                  <a:lnTo>
                    <a:pt x="68" y="589"/>
                  </a:lnTo>
                  <a:lnTo>
                    <a:pt x="84" y="585"/>
                  </a:lnTo>
                  <a:lnTo>
                    <a:pt x="87" y="581"/>
                  </a:lnTo>
                  <a:lnTo>
                    <a:pt x="89" y="575"/>
                  </a:lnTo>
                  <a:lnTo>
                    <a:pt x="91" y="570"/>
                  </a:lnTo>
                  <a:lnTo>
                    <a:pt x="92" y="563"/>
                  </a:lnTo>
                  <a:lnTo>
                    <a:pt x="95" y="550"/>
                  </a:lnTo>
                  <a:lnTo>
                    <a:pt x="95" y="535"/>
                  </a:lnTo>
                  <a:lnTo>
                    <a:pt x="96" y="522"/>
                  </a:lnTo>
                  <a:lnTo>
                    <a:pt x="96" y="507"/>
                  </a:lnTo>
                  <a:lnTo>
                    <a:pt x="99" y="497"/>
                  </a:lnTo>
                  <a:lnTo>
                    <a:pt x="101" y="487"/>
                  </a:lnTo>
                  <a:lnTo>
                    <a:pt x="109" y="478"/>
                  </a:lnTo>
                  <a:lnTo>
                    <a:pt x="120" y="470"/>
                  </a:lnTo>
                  <a:lnTo>
                    <a:pt x="131" y="463"/>
                  </a:lnTo>
                  <a:lnTo>
                    <a:pt x="144" y="458"/>
                  </a:lnTo>
                  <a:lnTo>
                    <a:pt x="171" y="449"/>
                  </a:lnTo>
                  <a:lnTo>
                    <a:pt x="199" y="441"/>
                  </a:lnTo>
                  <a:lnTo>
                    <a:pt x="211" y="437"/>
                  </a:lnTo>
                  <a:lnTo>
                    <a:pt x="221" y="433"/>
                  </a:lnTo>
                  <a:lnTo>
                    <a:pt x="232" y="427"/>
                  </a:lnTo>
                  <a:lnTo>
                    <a:pt x="239" y="422"/>
                  </a:lnTo>
                  <a:lnTo>
                    <a:pt x="241" y="418"/>
                  </a:lnTo>
                  <a:lnTo>
                    <a:pt x="244" y="415"/>
                  </a:lnTo>
                  <a:lnTo>
                    <a:pt x="245" y="411"/>
                  </a:lnTo>
                  <a:lnTo>
                    <a:pt x="247" y="406"/>
                  </a:lnTo>
                  <a:lnTo>
                    <a:pt x="247" y="402"/>
                  </a:lnTo>
                  <a:lnTo>
                    <a:pt x="245" y="397"/>
                  </a:lnTo>
                  <a:lnTo>
                    <a:pt x="243" y="391"/>
                  </a:lnTo>
                  <a:lnTo>
                    <a:pt x="240" y="385"/>
                  </a:lnTo>
                  <a:lnTo>
                    <a:pt x="225" y="349"/>
                  </a:lnTo>
                  <a:lnTo>
                    <a:pt x="213" y="313"/>
                  </a:lnTo>
                  <a:lnTo>
                    <a:pt x="211" y="306"/>
                  </a:lnTo>
                  <a:lnTo>
                    <a:pt x="207" y="298"/>
                  </a:lnTo>
                  <a:lnTo>
                    <a:pt x="203" y="293"/>
                  </a:lnTo>
                  <a:lnTo>
                    <a:pt x="199" y="287"/>
                  </a:lnTo>
                  <a:lnTo>
                    <a:pt x="193" y="283"/>
                  </a:lnTo>
                  <a:lnTo>
                    <a:pt x="188" y="279"/>
                  </a:lnTo>
                  <a:lnTo>
                    <a:pt x="181" y="278"/>
                  </a:lnTo>
                  <a:lnTo>
                    <a:pt x="175" y="277"/>
                  </a:lnTo>
                  <a:lnTo>
                    <a:pt x="167" y="278"/>
                  </a:lnTo>
                  <a:lnTo>
                    <a:pt x="161" y="281"/>
                  </a:lnTo>
                  <a:lnTo>
                    <a:pt x="157" y="285"/>
                  </a:lnTo>
                  <a:lnTo>
                    <a:pt x="155" y="289"/>
                  </a:lnTo>
                  <a:lnTo>
                    <a:pt x="152" y="293"/>
                  </a:lnTo>
                  <a:lnTo>
                    <a:pt x="151" y="297"/>
                  </a:lnTo>
                  <a:lnTo>
                    <a:pt x="148" y="299"/>
                  </a:lnTo>
                  <a:lnTo>
                    <a:pt x="144" y="301"/>
                  </a:lnTo>
                  <a:lnTo>
                    <a:pt x="136" y="299"/>
                  </a:lnTo>
                  <a:lnTo>
                    <a:pt x="129" y="297"/>
                  </a:lnTo>
                  <a:lnTo>
                    <a:pt x="124" y="291"/>
                  </a:lnTo>
                  <a:lnTo>
                    <a:pt x="120" y="285"/>
                  </a:lnTo>
                  <a:lnTo>
                    <a:pt x="117" y="278"/>
                  </a:lnTo>
                  <a:lnTo>
                    <a:pt x="115" y="270"/>
                  </a:lnTo>
                  <a:lnTo>
                    <a:pt x="115" y="265"/>
                  </a:lnTo>
                  <a:lnTo>
                    <a:pt x="113" y="259"/>
                  </a:lnTo>
                  <a:lnTo>
                    <a:pt x="115" y="251"/>
                  </a:lnTo>
                  <a:lnTo>
                    <a:pt x="116" y="245"/>
                  </a:lnTo>
                  <a:lnTo>
                    <a:pt x="120" y="239"/>
                  </a:lnTo>
                  <a:lnTo>
                    <a:pt x="124" y="233"/>
                  </a:lnTo>
                  <a:lnTo>
                    <a:pt x="133" y="223"/>
                  </a:lnTo>
                  <a:lnTo>
                    <a:pt x="143" y="213"/>
                  </a:lnTo>
                  <a:lnTo>
                    <a:pt x="147" y="206"/>
                  </a:lnTo>
                  <a:lnTo>
                    <a:pt x="151" y="199"/>
                  </a:lnTo>
                  <a:lnTo>
                    <a:pt x="153" y="193"/>
                  </a:lnTo>
                  <a:lnTo>
                    <a:pt x="155" y="185"/>
                  </a:lnTo>
                  <a:lnTo>
                    <a:pt x="155" y="175"/>
                  </a:lnTo>
                  <a:lnTo>
                    <a:pt x="153" y="165"/>
                  </a:lnTo>
                  <a:lnTo>
                    <a:pt x="149" y="153"/>
                  </a:lnTo>
                  <a:lnTo>
                    <a:pt x="144" y="138"/>
                  </a:lnTo>
                  <a:lnTo>
                    <a:pt x="152" y="121"/>
                  </a:lnTo>
                  <a:lnTo>
                    <a:pt x="164" y="99"/>
                  </a:lnTo>
                  <a:lnTo>
                    <a:pt x="177" y="75"/>
                  </a:lnTo>
                  <a:lnTo>
                    <a:pt x="193" y="53"/>
                  </a:lnTo>
                  <a:lnTo>
                    <a:pt x="201" y="42"/>
                  </a:lnTo>
                  <a:lnTo>
                    <a:pt x="209" y="33"/>
                  </a:lnTo>
                  <a:lnTo>
                    <a:pt x="219" y="24"/>
                  </a:lnTo>
                  <a:lnTo>
                    <a:pt x="228" y="16"/>
                  </a:lnTo>
                  <a:lnTo>
                    <a:pt x="237" y="9"/>
                  </a:lnTo>
                  <a:lnTo>
                    <a:pt x="247" y="4"/>
                  </a:lnTo>
                  <a:lnTo>
                    <a:pt x="255" y="1"/>
                  </a:lnTo>
                  <a:lnTo>
                    <a:pt x="264" y="0"/>
                  </a:lnTo>
                  <a:lnTo>
                    <a:pt x="271" y="1"/>
                  </a:lnTo>
                  <a:lnTo>
                    <a:pt x="276" y="4"/>
                  </a:lnTo>
                  <a:lnTo>
                    <a:pt x="280" y="9"/>
                  </a:lnTo>
                  <a:lnTo>
                    <a:pt x="283" y="14"/>
                  </a:lnTo>
                  <a:lnTo>
                    <a:pt x="285" y="21"/>
                  </a:lnTo>
                  <a:lnTo>
                    <a:pt x="287" y="28"/>
                  </a:lnTo>
                  <a:lnTo>
                    <a:pt x="288" y="36"/>
                  </a:lnTo>
                  <a:lnTo>
                    <a:pt x="288" y="42"/>
                  </a:lnTo>
                  <a:lnTo>
                    <a:pt x="288" y="50"/>
                  </a:lnTo>
                  <a:lnTo>
                    <a:pt x="285" y="57"/>
                  </a:lnTo>
                  <a:lnTo>
                    <a:pt x="281" y="63"/>
                  </a:lnTo>
                  <a:lnTo>
                    <a:pt x="276" y="67"/>
                  </a:lnTo>
                  <a:lnTo>
                    <a:pt x="272" y="71"/>
                  </a:lnTo>
                  <a:lnTo>
                    <a:pt x="268" y="75"/>
                  </a:lnTo>
                  <a:lnTo>
                    <a:pt x="265" y="79"/>
                  </a:lnTo>
                  <a:lnTo>
                    <a:pt x="264" y="85"/>
                  </a:lnTo>
                  <a:lnTo>
                    <a:pt x="267" y="89"/>
                  </a:lnTo>
                  <a:lnTo>
                    <a:pt x="272" y="95"/>
                  </a:lnTo>
                  <a:lnTo>
                    <a:pt x="280" y="102"/>
                  </a:lnTo>
                  <a:lnTo>
                    <a:pt x="291" y="109"/>
                  </a:lnTo>
                  <a:lnTo>
                    <a:pt x="320" y="123"/>
                  </a:lnTo>
                  <a:lnTo>
                    <a:pt x="353" y="138"/>
                  </a:lnTo>
                  <a:lnTo>
                    <a:pt x="388" y="153"/>
                  </a:lnTo>
                  <a:lnTo>
                    <a:pt x="421" y="163"/>
                  </a:lnTo>
                  <a:lnTo>
                    <a:pt x="437" y="169"/>
                  </a:lnTo>
                  <a:lnTo>
                    <a:pt x="451" y="171"/>
                  </a:lnTo>
                  <a:lnTo>
                    <a:pt x="461" y="174"/>
                  </a:lnTo>
                  <a:lnTo>
                    <a:pt x="469" y="174"/>
                  </a:lnTo>
                  <a:lnTo>
                    <a:pt x="477" y="174"/>
                  </a:lnTo>
                  <a:lnTo>
                    <a:pt x="487" y="171"/>
                  </a:lnTo>
                  <a:lnTo>
                    <a:pt x="495" y="169"/>
                  </a:lnTo>
                  <a:lnTo>
                    <a:pt x="503" y="166"/>
                  </a:lnTo>
                  <a:lnTo>
                    <a:pt x="511" y="162"/>
                  </a:lnTo>
                  <a:lnTo>
                    <a:pt x="519" y="159"/>
                  </a:lnTo>
                  <a:lnTo>
                    <a:pt x="527" y="157"/>
                  </a:lnTo>
                  <a:lnTo>
                    <a:pt x="536" y="157"/>
                  </a:lnTo>
                  <a:lnTo>
                    <a:pt x="545" y="157"/>
                  </a:lnTo>
                  <a:lnTo>
                    <a:pt x="555" y="158"/>
                  </a:lnTo>
                  <a:lnTo>
                    <a:pt x="564" y="161"/>
                  </a:lnTo>
                  <a:lnTo>
                    <a:pt x="572" y="163"/>
                  </a:lnTo>
                  <a:lnTo>
                    <a:pt x="588" y="169"/>
                  </a:lnTo>
                  <a:lnTo>
                    <a:pt x="604" y="175"/>
                  </a:lnTo>
                  <a:lnTo>
                    <a:pt x="619" y="182"/>
                  </a:lnTo>
                  <a:lnTo>
                    <a:pt x="634" y="187"/>
                  </a:lnTo>
                  <a:lnTo>
                    <a:pt x="642" y="189"/>
                  </a:lnTo>
                  <a:lnTo>
                    <a:pt x="650" y="189"/>
                  </a:lnTo>
                  <a:lnTo>
                    <a:pt x="658" y="189"/>
                  </a:lnTo>
                  <a:lnTo>
                    <a:pt x="668" y="186"/>
                  </a:lnTo>
                  <a:lnTo>
                    <a:pt x="686" y="181"/>
                  </a:lnTo>
                  <a:lnTo>
                    <a:pt x="701" y="174"/>
                  </a:lnTo>
                  <a:lnTo>
                    <a:pt x="713" y="169"/>
                  </a:lnTo>
                  <a:lnTo>
                    <a:pt x="724" y="163"/>
                  </a:lnTo>
                  <a:lnTo>
                    <a:pt x="732" y="157"/>
                  </a:lnTo>
                  <a:lnTo>
                    <a:pt x="738" y="149"/>
                  </a:lnTo>
                  <a:lnTo>
                    <a:pt x="745" y="138"/>
                  </a:lnTo>
                  <a:lnTo>
                    <a:pt x="752" y="126"/>
                  </a:lnTo>
                  <a:lnTo>
                    <a:pt x="776" y="9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7" name="Freeform 41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963863" y="3865563"/>
              <a:ext cx="388937" cy="244475"/>
            </a:xfrm>
            <a:custGeom>
              <a:avLst/>
              <a:gdLst/>
              <a:ahLst/>
              <a:cxnLst>
                <a:cxn ang="0">
                  <a:pos x="858" y="601"/>
                </a:cxn>
                <a:cxn ang="0">
                  <a:pos x="822" y="605"/>
                </a:cxn>
                <a:cxn ang="0">
                  <a:pos x="805" y="628"/>
                </a:cxn>
                <a:cxn ang="0">
                  <a:pos x="773" y="632"/>
                </a:cxn>
                <a:cxn ang="0">
                  <a:pos x="633" y="632"/>
                </a:cxn>
                <a:cxn ang="0">
                  <a:pos x="545" y="633"/>
                </a:cxn>
                <a:cxn ang="0">
                  <a:pos x="517" y="645"/>
                </a:cxn>
                <a:cxn ang="0">
                  <a:pos x="482" y="614"/>
                </a:cxn>
                <a:cxn ang="0">
                  <a:pos x="457" y="602"/>
                </a:cxn>
                <a:cxn ang="0">
                  <a:pos x="434" y="605"/>
                </a:cxn>
                <a:cxn ang="0">
                  <a:pos x="402" y="626"/>
                </a:cxn>
                <a:cxn ang="0">
                  <a:pos x="378" y="638"/>
                </a:cxn>
                <a:cxn ang="0">
                  <a:pos x="361" y="630"/>
                </a:cxn>
                <a:cxn ang="0">
                  <a:pos x="286" y="632"/>
                </a:cxn>
                <a:cxn ang="0">
                  <a:pos x="237" y="625"/>
                </a:cxn>
                <a:cxn ang="0">
                  <a:pos x="165" y="600"/>
                </a:cxn>
                <a:cxn ang="0">
                  <a:pos x="113" y="590"/>
                </a:cxn>
                <a:cxn ang="0">
                  <a:pos x="128" y="504"/>
                </a:cxn>
                <a:cxn ang="0">
                  <a:pos x="132" y="459"/>
                </a:cxn>
                <a:cxn ang="0">
                  <a:pos x="88" y="445"/>
                </a:cxn>
                <a:cxn ang="0">
                  <a:pos x="63" y="435"/>
                </a:cxn>
                <a:cxn ang="0">
                  <a:pos x="53" y="412"/>
                </a:cxn>
                <a:cxn ang="0">
                  <a:pos x="16" y="407"/>
                </a:cxn>
                <a:cxn ang="0">
                  <a:pos x="20" y="355"/>
                </a:cxn>
                <a:cxn ang="0">
                  <a:pos x="91" y="275"/>
                </a:cxn>
                <a:cxn ang="0">
                  <a:pos x="132" y="217"/>
                </a:cxn>
                <a:cxn ang="0">
                  <a:pos x="144" y="173"/>
                </a:cxn>
                <a:cxn ang="0">
                  <a:pos x="136" y="67"/>
                </a:cxn>
                <a:cxn ang="0">
                  <a:pos x="152" y="41"/>
                </a:cxn>
                <a:cxn ang="0">
                  <a:pos x="183" y="29"/>
                </a:cxn>
                <a:cxn ang="0">
                  <a:pos x="211" y="4"/>
                </a:cxn>
                <a:cxn ang="0">
                  <a:pos x="241" y="1"/>
                </a:cxn>
                <a:cxn ang="0">
                  <a:pos x="310" y="31"/>
                </a:cxn>
                <a:cxn ang="0">
                  <a:pos x="404" y="88"/>
                </a:cxn>
                <a:cxn ang="0">
                  <a:pos x="438" y="96"/>
                </a:cxn>
                <a:cxn ang="0">
                  <a:pos x="461" y="83"/>
                </a:cxn>
                <a:cxn ang="0">
                  <a:pos x="490" y="59"/>
                </a:cxn>
                <a:cxn ang="0">
                  <a:pos x="517" y="56"/>
                </a:cxn>
                <a:cxn ang="0">
                  <a:pos x="553" y="91"/>
                </a:cxn>
                <a:cxn ang="0">
                  <a:pos x="554" y="160"/>
                </a:cxn>
                <a:cxn ang="0">
                  <a:pos x="576" y="193"/>
                </a:cxn>
                <a:cxn ang="0">
                  <a:pos x="605" y="239"/>
                </a:cxn>
                <a:cxn ang="0">
                  <a:pos x="602" y="276"/>
                </a:cxn>
                <a:cxn ang="0">
                  <a:pos x="609" y="293"/>
                </a:cxn>
                <a:cxn ang="0">
                  <a:pos x="636" y="307"/>
                </a:cxn>
                <a:cxn ang="0">
                  <a:pos x="686" y="312"/>
                </a:cxn>
                <a:cxn ang="0">
                  <a:pos x="741" y="323"/>
                </a:cxn>
                <a:cxn ang="0">
                  <a:pos x="770" y="352"/>
                </a:cxn>
                <a:cxn ang="0">
                  <a:pos x="820" y="436"/>
                </a:cxn>
                <a:cxn ang="0">
                  <a:pos x="857" y="455"/>
                </a:cxn>
                <a:cxn ang="0">
                  <a:pos x="882" y="483"/>
                </a:cxn>
                <a:cxn ang="0">
                  <a:pos x="889" y="540"/>
                </a:cxn>
                <a:cxn ang="0">
                  <a:pos x="904" y="568"/>
                </a:cxn>
              </a:cxnLst>
              <a:rect l="0" t="0" r="r" b="b"/>
              <a:pathLst>
                <a:path w="909" h="650">
                  <a:moveTo>
                    <a:pt x="909" y="584"/>
                  </a:moveTo>
                  <a:lnTo>
                    <a:pt x="888" y="593"/>
                  </a:lnTo>
                  <a:lnTo>
                    <a:pt x="869" y="600"/>
                  </a:lnTo>
                  <a:lnTo>
                    <a:pt x="858" y="601"/>
                  </a:lnTo>
                  <a:lnTo>
                    <a:pt x="849" y="601"/>
                  </a:lnTo>
                  <a:lnTo>
                    <a:pt x="837" y="600"/>
                  </a:lnTo>
                  <a:lnTo>
                    <a:pt x="824" y="596"/>
                  </a:lnTo>
                  <a:lnTo>
                    <a:pt x="822" y="605"/>
                  </a:lnTo>
                  <a:lnTo>
                    <a:pt x="818" y="612"/>
                  </a:lnTo>
                  <a:lnTo>
                    <a:pt x="814" y="618"/>
                  </a:lnTo>
                  <a:lnTo>
                    <a:pt x="810" y="624"/>
                  </a:lnTo>
                  <a:lnTo>
                    <a:pt x="805" y="628"/>
                  </a:lnTo>
                  <a:lnTo>
                    <a:pt x="798" y="630"/>
                  </a:lnTo>
                  <a:lnTo>
                    <a:pt x="790" y="632"/>
                  </a:lnTo>
                  <a:lnTo>
                    <a:pt x="782" y="632"/>
                  </a:lnTo>
                  <a:lnTo>
                    <a:pt x="773" y="632"/>
                  </a:lnTo>
                  <a:lnTo>
                    <a:pt x="749" y="632"/>
                  </a:lnTo>
                  <a:lnTo>
                    <a:pt x="714" y="632"/>
                  </a:lnTo>
                  <a:lnTo>
                    <a:pt x="674" y="632"/>
                  </a:lnTo>
                  <a:lnTo>
                    <a:pt x="633" y="632"/>
                  </a:lnTo>
                  <a:lnTo>
                    <a:pt x="597" y="632"/>
                  </a:lnTo>
                  <a:lnTo>
                    <a:pt x="568" y="632"/>
                  </a:lnTo>
                  <a:lnTo>
                    <a:pt x="553" y="632"/>
                  </a:lnTo>
                  <a:lnTo>
                    <a:pt x="545" y="633"/>
                  </a:lnTo>
                  <a:lnTo>
                    <a:pt x="537" y="634"/>
                  </a:lnTo>
                  <a:lnTo>
                    <a:pt x="530" y="637"/>
                  </a:lnTo>
                  <a:lnTo>
                    <a:pt x="525" y="640"/>
                  </a:lnTo>
                  <a:lnTo>
                    <a:pt x="517" y="645"/>
                  </a:lnTo>
                  <a:lnTo>
                    <a:pt x="512" y="650"/>
                  </a:lnTo>
                  <a:lnTo>
                    <a:pt x="501" y="638"/>
                  </a:lnTo>
                  <a:lnTo>
                    <a:pt x="490" y="622"/>
                  </a:lnTo>
                  <a:lnTo>
                    <a:pt x="482" y="614"/>
                  </a:lnTo>
                  <a:lnTo>
                    <a:pt x="474" y="608"/>
                  </a:lnTo>
                  <a:lnTo>
                    <a:pt x="469" y="605"/>
                  </a:lnTo>
                  <a:lnTo>
                    <a:pt x="464" y="604"/>
                  </a:lnTo>
                  <a:lnTo>
                    <a:pt x="457" y="602"/>
                  </a:lnTo>
                  <a:lnTo>
                    <a:pt x="450" y="602"/>
                  </a:lnTo>
                  <a:lnTo>
                    <a:pt x="445" y="602"/>
                  </a:lnTo>
                  <a:lnTo>
                    <a:pt x="440" y="604"/>
                  </a:lnTo>
                  <a:lnTo>
                    <a:pt x="434" y="605"/>
                  </a:lnTo>
                  <a:lnTo>
                    <a:pt x="430" y="608"/>
                  </a:lnTo>
                  <a:lnTo>
                    <a:pt x="421" y="613"/>
                  </a:lnTo>
                  <a:lnTo>
                    <a:pt x="412" y="620"/>
                  </a:lnTo>
                  <a:lnTo>
                    <a:pt x="402" y="626"/>
                  </a:lnTo>
                  <a:lnTo>
                    <a:pt x="393" y="633"/>
                  </a:lnTo>
                  <a:lnTo>
                    <a:pt x="389" y="634"/>
                  </a:lnTo>
                  <a:lnTo>
                    <a:pt x="384" y="637"/>
                  </a:lnTo>
                  <a:lnTo>
                    <a:pt x="378" y="638"/>
                  </a:lnTo>
                  <a:lnTo>
                    <a:pt x="373" y="638"/>
                  </a:lnTo>
                  <a:lnTo>
                    <a:pt x="368" y="637"/>
                  </a:lnTo>
                  <a:lnTo>
                    <a:pt x="364" y="634"/>
                  </a:lnTo>
                  <a:lnTo>
                    <a:pt x="361" y="630"/>
                  </a:lnTo>
                  <a:lnTo>
                    <a:pt x="361" y="626"/>
                  </a:lnTo>
                  <a:lnTo>
                    <a:pt x="312" y="626"/>
                  </a:lnTo>
                  <a:lnTo>
                    <a:pt x="298" y="630"/>
                  </a:lnTo>
                  <a:lnTo>
                    <a:pt x="286" y="632"/>
                  </a:lnTo>
                  <a:lnTo>
                    <a:pt x="273" y="632"/>
                  </a:lnTo>
                  <a:lnTo>
                    <a:pt x="261" y="630"/>
                  </a:lnTo>
                  <a:lnTo>
                    <a:pt x="249" y="629"/>
                  </a:lnTo>
                  <a:lnTo>
                    <a:pt x="237" y="625"/>
                  </a:lnTo>
                  <a:lnTo>
                    <a:pt x="225" y="621"/>
                  </a:lnTo>
                  <a:lnTo>
                    <a:pt x="213" y="617"/>
                  </a:lnTo>
                  <a:lnTo>
                    <a:pt x="189" y="608"/>
                  </a:lnTo>
                  <a:lnTo>
                    <a:pt x="165" y="600"/>
                  </a:lnTo>
                  <a:lnTo>
                    <a:pt x="153" y="596"/>
                  </a:lnTo>
                  <a:lnTo>
                    <a:pt x="140" y="593"/>
                  </a:lnTo>
                  <a:lnTo>
                    <a:pt x="127" y="590"/>
                  </a:lnTo>
                  <a:lnTo>
                    <a:pt x="113" y="590"/>
                  </a:lnTo>
                  <a:lnTo>
                    <a:pt x="108" y="548"/>
                  </a:lnTo>
                  <a:lnTo>
                    <a:pt x="116" y="528"/>
                  </a:lnTo>
                  <a:lnTo>
                    <a:pt x="124" y="512"/>
                  </a:lnTo>
                  <a:lnTo>
                    <a:pt x="128" y="504"/>
                  </a:lnTo>
                  <a:lnTo>
                    <a:pt x="129" y="496"/>
                  </a:lnTo>
                  <a:lnTo>
                    <a:pt x="132" y="487"/>
                  </a:lnTo>
                  <a:lnTo>
                    <a:pt x="132" y="476"/>
                  </a:lnTo>
                  <a:lnTo>
                    <a:pt x="132" y="459"/>
                  </a:lnTo>
                  <a:lnTo>
                    <a:pt x="132" y="445"/>
                  </a:lnTo>
                  <a:lnTo>
                    <a:pt x="116" y="447"/>
                  </a:lnTo>
                  <a:lnTo>
                    <a:pt x="101" y="447"/>
                  </a:lnTo>
                  <a:lnTo>
                    <a:pt x="88" y="445"/>
                  </a:lnTo>
                  <a:lnTo>
                    <a:pt x="77" y="443"/>
                  </a:lnTo>
                  <a:lnTo>
                    <a:pt x="72" y="441"/>
                  </a:lnTo>
                  <a:lnTo>
                    <a:pt x="67" y="439"/>
                  </a:lnTo>
                  <a:lnTo>
                    <a:pt x="63" y="435"/>
                  </a:lnTo>
                  <a:lnTo>
                    <a:pt x="60" y="431"/>
                  </a:lnTo>
                  <a:lnTo>
                    <a:pt x="57" y="425"/>
                  </a:lnTo>
                  <a:lnTo>
                    <a:pt x="55" y="420"/>
                  </a:lnTo>
                  <a:lnTo>
                    <a:pt x="53" y="412"/>
                  </a:lnTo>
                  <a:lnTo>
                    <a:pt x="53" y="404"/>
                  </a:lnTo>
                  <a:lnTo>
                    <a:pt x="41" y="407"/>
                  </a:lnTo>
                  <a:lnTo>
                    <a:pt x="29" y="408"/>
                  </a:lnTo>
                  <a:lnTo>
                    <a:pt x="16" y="407"/>
                  </a:lnTo>
                  <a:lnTo>
                    <a:pt x="0" y="404"/>
                  </a:lnTo>
                  <a:lnTo>
                    <a:pt x="4" y="387"/>
                  </a:lnTo>
                  <a:lnTo>
                    <a:pt x="11" y="371"/>
                  </a:lnTo>
                  <a:lnTo>
                    <a:pt x="20" y="355"/>
                  </a:lnTo>
                  <a:lnTo>
                    <a:pt x="29" y="340"/>
                  </a:lnTo>
                  <a:lnTo>
                    <a:pt x="53" y="313"/>
                  </a:lnTo>
                  <a:lnTo>
                    <a:pt x="79" y="288"/>
                  </a:lnTo>
                  <a:lnTo>
                    <a:pt x="91" y="275"/>
                  </a:lnTo>
                  <a:lnTo>
                    <a:pt x="103" y="261"/>
                  </a:lnTo>
                  <a:lnTo>
                    <a:pt x="115" y="247"/>
                  </a:lnTo>
                  <a:lnTo>
                    <a:pt x="124" y="232"/>
                  </a:lnTo>
                  <a:lnTo>
                    <a:pt x="132" y="217"/>
                  </a:lnTo>
                  <a:lnTo>
                    <a:pt x="139" y="200"/>
                  </a:lnTo>
                  <a:lnTo>
                    <a:pt x="141" y="192"/>
                  </a:lnTo>
                  <a:lnTo>
                    <a:pt x="143" y="183"/>
                  </a:lnTo>
                  <a:lnTo>
                    <a:pt x="144" y="173"/>
                  </a:lnTo>
                  <a:lnTo>
                    <a:pt x="144" y="163"/>
                  </a:lnTo>
                  <a:lnTo>
                    <a:pt x="143" y="133"/>
                  </a:lnTo>
                  <a:lnTo>
                    <a:pt x="140" y="100"/>
                  </a:lnTo>
                  <a:lnTo>
                    <a:pt x="136" y="67"/>
                  </a:lnTo>
                  <a:lnTo>
                    <a:pt x="132" y="36"/>
                  </a:lnTo>
                  <a:lnTo>
                    <a:pt x="137" y="39"/>
                  </a:lnTo>
                  <a:lnTo>
                    <a:pt x="144" y="43"/>
                  </a:lnTo>
                  <a:lnTo>
                    <a:pt x="152" y="41"/>
                  </a:lnTo>
                  <a:lnTo>
                    <a:pt x="160" y="40"/>
                  </a:lnTo>
                  <a:lnTo>
                    <a:pt x="167" y="39"/>
                  </a:lnTo>
                  <a:lnTo>
                    <a:pt x="172" y="36"/>
                  </a:lnTo>
                  <a:lnTo>
                    <a:pt x="183" y="29"/>
                  </a:lnTo>
                  <a:lnTo>
                    <a:pt x="191" y="21"/>
                  </a:lnTo>
                  <a:lnTo>
                    <a:pt x="199" y="13"/>
                  </a:lnTo>
                  <a:lnTo>
                    <a:pt x="207" y="7"/>
                  </a:lnTo>
                  <a:lnTo>
                    <a:pt x="211" y="4"/>
                  </a:lnTo>
                  <a:lnTo>
                    <a:pt x="216" y="1"/>
                  </a:lnTo>
                  <a:lnTo>
                    <a:pt x="221" y="0"/>
                  </a:lnTo>
                  <a:lnTo>
                    <a:pt x="228" y="0"/>
                  </a:lnTo>
                  <a:lnTo>
                    <a:pt x="241" y="1"/>
                  </a:lnTo>
                  <a:lnTo>
                    <a:pt x="255" y="4"/>
                  </a:lnTo>
                  <a:lnTo>
                    <a:pt x="268" y="9"/>
                  </a:lnTo>
                  <a:lnTo>
                    <a:pt x="282" y="15"/>
                  </a:lnTo>
                  <a:lnTo>
                    <a:pt x="310" y="31"/>
                  </a:lnTo>
                  <a:lnTo>
                    <a:pt x="340" y="48"/>
                  </a:lnTo>
                  <a:lnTo>
                    <a:pt x="366" y="65"/>
                  </a:lnTo>
                  <a:lnTo>
                    <a:pt x="392" y="81"/>
                  </a:lnTo>
                  <a:lnTo>
                    <a:pt x="404" y="88"/>
                  </a:lnTo>
                  <a:lnTo>
                    <a:pt x="414" y="92"/>
                  </a:lnTo>
                  <a:lnTo>
                    <a:pt x="424" y="96"/>
                  </a:lnTo>
                  <a:lnTo>
                    <a:pt x="433" y="96"/>
                  </a:lnTo>
                  <a:lnTo>
                    <a:pt x="438" y="96"/>
                  </a:lnTo>
                  <a:lnTo>
                    <a:pt x="444" y="95"/>
                  </a:lnTo>
                  <a:lnTo>
                    <a:pt x="448" y="92"/>
                  </a:lnTo>
                  <a:lnTo>
                    <a:pt x="453" y="89"/>
                  </a:lnTo>
                  <a:lnTo>
                    <a:pt x="461" y="83"/>
                  </a:lnTo>
                  <a:lnTo>
                    <a:pt x="469" y="76"/>
                  </a:lnTo>
                  <a:lnTo>
                    <a:pt x="477" y="68"/>
                  </a:lnTo>
                  <a:lnTo>
                    <a:pt x="485" y="61"/>
                  </a:lnTo>
                  <a:lnTo>
                    <a:pt x="490" y="59"/>
                  </a:lnTo>
                  <a:lnTo>
                    <a:pt x="494" y="56"/>
                  </a:lnTo>
                  <a:lnTo>
                    <a:pt x="500" y="55"/>
                  </a:lnTo>
                  <a:lnTo>
                    <a:pt x="505" y="55"/>
                  </a:lnTo>
                  <a:lnTo>
                    <a:pt x="517" y="56"/>
                  </a:lnTo>
                  <a:lnTo>
                    <a:pt x="529" y="59"/>
                  </a:lnTo>
                  <a:lnTo>
                    <a:pt x="541" y="61"/>
                  </a:lnTo>
                  <a:lnTo>
                    <a:pt x="553" y="67"/>
                  </a:lnTo>
                  <a:lnTo>
                    <a:pt x="553" y="91"/>
                  </a:lnTo>
                  <a:lnTo>
                    <a:pt x="553" y="111"/>
                  </a:lnTo>
                  <a:lnTo>
                    <a:pt x="553" y="128"/>
                  </a:lnTo>
                  <a:lnTo>
                    <a:pt x="553" y="145"/>
                  </a:lnTo>
                  <a:lnTo>
                    <a:pt x="554" y="160"/>
                  </a:lnTo>
                  <a:lnTo>
                    <a:pt x="557" y="172"/>
                  </a:lnTo>
                  <a:lnTo>
                    <a:pt x="562" y="180"/>
                  </a:lnTo>
                  <a:lnTo>
                    <a:pt x="568" y="187"/>
                  </a:lnTo>
                  <a:lnTo>
                    <a:pt x="576" y="193"/>
                  </a:lnTo>
                  <a:lnTo>
                    <a:pt x="584" y="203"/>
                  </a:lnTo>
                  <a:lnTo>
                    <a:pt x="593" y="213"/>
                  </a:lnTo>
                  <a:lnTo>
                    <a:pt x="601" y="229"/>
                  </a:lnTo>
                  <a:lnTo>
                    <a:pt x="605" y="239"/>
                  </a:lnTo>
                  <a:lnTo>
                    <a:pt x="605" y="248"/>
                  </a:lnTo>
                  <a:lnTo>
                    <a:pt x="604" y="257"/>
                  </a:lnTo>
                  <a:lnTo>
                    <a:pt x="602" y="267"/>
                  </a:lnTo>
                  <a:lnTo>
                    <a:pt x="602" y="276"/>
                  </a:lnTo>
                  <a:lnTo>
                    <a:pt x="604" y="283"/>
                  </a:lnTo>
                  <a:lnTo>
                    <a:pt x="605" y="287"/>
                  </a:lnTo>
                  <a:lnTo>
                    <a:pt x="606" y="289"/>
                  </a:lnTo>
                  <a:lnTo>
                    <a:pt x="609" y="293"/>
                  </a:lnTo>
                  <a:lnTo>
                    <a:pt x="613" y="295"/>
                  </a:lnTo>
                  <a:lnTo>
                    <a:pt x="621" y="300"/>
                  </a:lnTo>
                  <a:lnTo>
                    <a:pt x="629" y="304"/>
                  </a:lnTo>
                  <a:lnTo>
                    <a:pt x="636" y="307"/>
                  </a:lnTo>
                  <a:lnTo>
                    <a:pt x="644" y="309"/>
                  </a:lnTo>
                  <a:lnTo>
                    <a:pt x="657" y="312"/>
                  </a:lnTo>
                  <a:lnTo>
                    <a:pt x="672" y="312"/>
                  </a:lnTo>
                  <a:lnTo>
                    <a:pt x="686" y="312"/>
                  </a:lnTo>
                  <a:lnTo>
                    <a:pt x="701" y="312"/>
                  </a:lnTo>
                  <a:lnTo>
                    <a:pt x="717" y="315"/>
                  </a:lnTo>
                  <a:lnTo>
                    <a:pt x="734" y="320"/>
                  </a:lnTo>
                  <a:lnTo>
                    <a:pt x="741" y="323"/>
                  </a:lnTo>
                  <a:lnTo>
                    <a:pt x="749" y="328"/>
                  </a:lnTo>
                  <a:lnTo>
                    <a:pt x="754" y="333"/>
                  </a:lnTo>
                  <a:lnTo>
                    <a:pt x="761" y="339"/>
                  </a:lnTo>
                  <a:lnTo>
                    <a:pt x="770" y="352"/>
                  </a:lnTo>
                  <a:lnTo>
                    <a:pt x="780" y="367"/>
                  </a:lnTo>
                  <a:lnTo>
                    <a:pt x="796" y="399"/>
                  </a:lnTo>
                  <a:lnTo>
                    <a:pt x="812" y="428"/>
                  </a:lnTo>
                  <a:lnTo>
                    <a:pt x="820" y="436"/>
                  </a:lnTo>
                  <a:lnTo>
                    <a:pt x="829" y="443"/>
                  </a:lnTo>
                  <a:lnTo>
                    <a:pt x="838" y="447"/>
                  </a:lnTo>
                  <a:lnTo>
                    <a:pt x="848" y="451"/>
                  </a:lnTo>
                  <a:lnTo>
                    <a:pt x="857" y="455"/>
                  </a:lnTo>
                  <a:lnTo>
                    <a:pt x="865" y="459"/>
                  </a:lnTo>
                  <a:lnTo>
                    <a:pt x="873" y="464"/>
                  </a:lnTo>
                  <a:lnTo>
                    <a:pt x="878" y="469"/>
                  </a:lnTo>
                  <a:lnTo>
                    <a:pt x="882" y="483"/>
                  </a:lnTo>
                  <a:lnTo>
                    <a:pt x="884" y="496"/>
                  </a:lnTo>
                  <a:lnTo>
                    <a:pt x="885" y="511"/>
                  </a:lnTo>
                  <a:lnTo>
                    <a:pt x="886" y="525"/>
                  </a:lnTo>
                  <a:lnTo>
                    <a:pt x="889" y="540"/>
                  </a:lnTo>
                  <a:lnTo>
                    <a:pt x="893" y="553"/>
                  </a:lnTo>
                  <a:lnTo>
                    <a:pt x="896" y="558"/>
                  </a:lnTo>
                  <a:lnTo>
                    <a:pt x="900" y="564"/>
                  </a:lnTo>
                  <a:lnTo>
                    <a:pt x="904" y="568"/>
                  </a:lnTo>
                  <a:lnTo>
                    <a:pt x="909" y="572"/>
                  </a:lnTo>
                  <a:lnTo>
                    <a:pt x="909" y="58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8" name="Freeform 42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1925638" y="2798763"/>
              <a:ext cx="614362" cy="450850"/>
            </a:xfrm>
            <a:custGeom>
              <a:avLst/>
              <a:gdLst/>
              <a:ahLst/>
              <a:cxnLst>
                <a:cxn ang="0">
                  <a:pos x="644" y="218"/>
                </a:cxn>
                <a:cxn ang="0">
                  <a:pos x="633" y="313"/>
                </a:cxn>
                <a:cxn ang="0">
                  <a:pos x="673" y="372"/>
                </a:cxn>
                <a:cxn ang="0">
                  <a:pos x="725" y="409"/>
                </a:cxn>
                <a:cxn ang="0">
                  <a:pos x="738" y="464"/>
                </a:cxn>
                <a:cxn ang="0">
                  <a:pos x="773" y="473"/>
                </a:cxn>
                <a:cxn ang="0">
                  <a:pos x="820" y="487"/>
                </a:cxn>
                <a:cxn ang="0">
                  <a:pos x="840" y="549"/>
                </a:cxn>
                <a:cxn ang="0">
                  <a:pos x="894" y="554"/>
                </a:cxn>
                <a:cxn ang="0">
                  <a:pos x="945" y="575"/>
                </a:cxn>
                <a:cxn ang="0">
                  <a:pos x="1018" y="625"/>
                </a:cxn>
                <a:cxn ang="0">
                  <a:pos x="1040" y="679"/>
                </a:cxn>
                <a:cxn ang="0">
                  <a:pos x="1190" y="726"/>
                </a:cxn>
                <a:cxn ang="0">
                  <a:pos x="1238" y="798"/>
                </a:cxn>
                <a:cxn ang="0">
                  <a:pos x="1275" y="795"/>
                </a:cxn>
                <a:cxn ang="0">
                  <a:pos x="1309" y="766"/>
                </a:cxn>
                <a:cxn ang="0">
                  <a:pos x="1350" y="778"/>
                </a:cxn>
                <a:cxn ang="0">
                  <a:pos x="1355" y="813"/>
                </a:cxn>
                <a:cxn ang="0">
                  <a:pos x="1353" y="858"/>
                </a:cxn>
                <a:cxn ang="0">
                  <a:pos x="1413" y="901"/>
                </a:cxn>
                <a:cxn ang="0">
                  <a:pos x="1399" y="953"/>
                </a:cxn>
                <a:cxn ang="0">
                  <a:pos x="1269" y="1112"/>
                </a:cxn>
                <a:cxn ang="0">
                  <a:pos x="1171" y="1186"/>
                </a:cxn>
                <a:cxn ang="0">
                  <a:pos x="1093" y="1194"/>
                </a:cxn>
                <a:cxn ang="0">
                  <a:pos x="1010" y="1159"/>
                </a:cxn>
                <a:cxn ang="0">
                  <a:pos x="957" y="1102"/>
                </a:cxn>
                <a:cxn ang="0">
                  <a:pos x="810" y="989"/>
                </a:cxn>
                <a:cxn ang="0">
                  <a:pos x="756" y="922"/>
                </a:cxn>
                <a:cxn ang="0">
                  <a:pos x="734" y="867"/>
                </a:cxn>
                <a:cxn ang="0">
                  <a:pos x="706" y="910"/>
                </a:cxn>
                <a:cxn ang="0">
                  <a:pos x="670" y="911"/>
                </a:cxn>
                <a:cxn ang="0">
                  <a:pos x="608" y="886"/>
                </a:cxn>
                <a:cxn ang="0">
                  <a:pos x="562" y="903"/>
                </a:cxn>
                <a:cxn ang="0">
                  <a:pos x="512" y="922"/>
                </a:cxn>
                <a:cxn ang="0">
                  <a:pos x="465" y="901"/>
                </a:cxn>
                <a:cxn ang="0">
                  <a:pos x="430" y="807"/>
                </a:cxn>
                <a:cxn ang="0">
                  <a:pos x="399" y="714"/>
                </a:cxn>
                <a:cxn ang="0">
                  <a:pos x="355" y="693"/>
                </a:cxn>
                <a:cxn ang="0">
                  <a:pos x="331" y="717"/>
                </a:cxn>
                <a:cxn ang="0">
                  <a:pos x="280" y="683"/>
                </a:cxn>
                <a:cxn ang="0">
                  <a:pos x="228" y="650"/>
                </a:cxn>
                <a:cxn ang="0">
                  <a:pos x="179" y="646"/>
                </a:cxn>
                <a:cxn ang="0">
                  <a:pos x="173" y="567"/>
                </a:cxn>
                <a:cxn ang="0">
                  <a:pos x="157" y="533"/>
                </a:cxn>
                <a:cxn ang="0">
                  <a:pos x="113" y="545"/>
                </a:cxn>
                <a:cxn ang="0">
                  <a:pos x="71" y="558"/>
                </a:cxn>
                <a:cxn ang="0">
                  <a:pos x="60" y="530"/>
                </a:cxn>
                <a:cxn ang="0">
                  <a:pos x="67" y="424"/>
                </a:cxn>
                <a:cxn ang="0">
                  <a:pos x="9" y="392"/>
                </a:cxn>
                <a:cxn ang="0">
                  <a:pos x="4" y="358"/>
                </a:cxn>
                <a:cxn ang="0">
                  <a:pos x="24" y="284"/>
                </a:cxn>
                <a:cxn ang="0">
                  <a:pos x="108" y="301"/>
                </a:cxn>
                <a:cxn ang="0">
                  <a:pos x="188" y="261"/>
                </a:cxn>
                <a:cxn ang="0">
                  <a:pos x="207" y="218"/>
                </a:cxn>
                <a:cxn ang="0">
                  <a:pos x="203" y="162"/>
                </a:cxn>
                <a:cxn ang="0">
                  <a:pos x="261" y="109"/>
                </a:cxn>
                <a:cxn ang="0">
                  <a:pos x="457" y="0"/>
                </a:cxn>
                <a:cxn ang="0">
                  <a:pos x="540" y="20"/>
                </a:cxn>
                <a:cxn ang="0">
                  <a:pos x="626" y="30"/>
                </a:cxn>
                <a:cxn ang="0">
                  <a:pos x="669" y="98"/>
                </a:cxn>
              </a:cxnLst>
              <a:rect l="0" t="0" r="r" b="b"/>
              <a:pathLst>
                <a:path w="1433" h="1196">
                  <a:moveTo>
                    <a:pt x="692" y="121"/>
                  </a:moveTo>
                  <a:lnTo>
                    <a:pt x="681" y="138"/>
                  </a:lnTo>
                  <a:lnTo>
                    <a:pt x="670" y="157"/>
                  </a:lnTo>
                  <a:lnTo>
                    <a:pt x="660" y="177"/>
                  </a:lnTo>
                  <a:lnTo>
                    <a:pt x="650" y="197"/>
                  </a:lnTo>
                  <a:lnTo>
                    <a:pt x="644" y="218"/>
                  </a:lnTo>
                  <a:lnTo>
                    <a:pt x="637" y="242"/>
                  </a:lnTo>
                  <a:lnTo>
                    <a:pt x="634" y="254"/>
                  </a:lnTo>
                  <a:lnTo>
                    <a:pt x="633" y="268"/>
                  </a:lnTo>
                  <a:lnTo>
                    <a:pt x="632" y="281"/>
                  </a:lnTo>
                  <a:lnTo>
                    <a:pt x="632" y="296"/>
                  </a:lnTo>
                  <a:lnTo>
                    <a:pt x="633" y="313"/>
                  </a:lnTo>
                  <a:lnTo>
                    <a:pt x="636" y="328"/>
                  </a:lnTo>
                  <a:lnTo>
                    <a:pt x="641" y="340"/>
                  </a:lnTo>
                  <a:lnTo>
                    <a:pt x="648" y="350"/>
                  </a:lnTo>
                  <a:lnTo>
                    <a:pt x="656" y="358"/>
                  </a:lnTo>
                  <a:lnTo>
                    <a:pt x="664" y="366"/>
                  </a:lnTo>
                  <a:lnTo>
                    <a:pt x="673" y="372"/>
                  </a:lnTo>
                  <a:lnTo>
                    <a:pt x="684" y="377"/>
                  </a:lnTo>
                  <a:lnTo>
                    <a:pt x="693" y="382"/>
                  </a:lnTo>
                  <a:lnTo>
                    <a:pt x="702" y="389"/>
                  </a:lnTo>
                  <a:lnTo>
                    <a:pt x="710" y="394"/>
                  </a:lnTo>
                  <a:lnTo>
                    <a:pt x="718" y="401"/>
                  </a:lnTo>
                  <a:lnTo>
                    <a:pt x="725" y="409"/>
                  </a:lnTo>
                  <a:lnTo>
                    <a:pt x="730" y="420"/>
                  </a:lnTo>
                  <a:lnTo>
                    <a:pt x="733" y="432"/>
                  </a:lnTo>
                  <a:lnTo>
                    <a:pt x="734" y="446"/>
                  </a:lnTo>
                  <a:lnTo>
                    <a:pt x="734" y="453"/>
                  </a:lnTo>
                  <a:lnTo>
                    <a:pt x="737" y="460"/>
                  </a:lnTo>
                  <a:lnTo>
                    <a:pt x="738" y="464"/>
                  </a:lnTo>
                  <a:lnTo>
                    <a:pt x="742" y="466"/>
                  </a:lnTo>
                  <a:lnTo>
                    <a:pt x="746" y="469"/>
                  </a:lnTo>
                  <a:lnTo>
                    <a:pt x="750" y="470"/>
                  </a:lnTo>
                  <a:lnTo>
                    <a:pt x="756" y="471"/>
                  </a:lnTo>
                  <a:lnTo>
                    <a:pt x="761" y="473"/>
                  </a:lnTo>
                  <a:lnTo>
                    <a:pt x="773" y="473"/>
                  </a:lnTo>
                  <a:lnTo>
                    <a:pt x="785" y="473"/>
                  </a:lnTo>
                  <a:lnTo>
                    <a:pt x="797" y="473"/>
                  </a:lnTo>
                  <a:lnTo>
                    <a:pt x="806" y="475"/>
                  </a:lnTo>
                  <a:lnTo>
                    <a:pt x="812" y="479"/>
                  </a:lnTo>
                  <a:lnTo>
                    <a:pt x="816" y="483"/>
                  </a:lnTo>
                  <a:lnTo>
                    <a:pt x="820" y="487"/>
                  </a:lnTo>
                  <a:lnTo>
                    <a:pt x="822" y="493"/>
                  </a:lnTo>
                  <a:lnTo>
                    <a:pt x="825" y="506"/>
                  </a:lnTo>
                  <a:lnTo>
                    <a:pt x="829" y="519"/>
                  </a:lnTo>
                  <a:lnTo>
                    <a:pt x="832" y="533"/>
                  </a:lnTo>
                  <a:lnTo>
                    <a:pt x="836" y="543"/>
                  </a:lnTo>
                  <a:lnTo>
                    <a:pt x="840" y="549"/>
                  </a:lnTo>
                  <a:lnTo>
                    <a:pt x="844" y="551"/>
                  </a:lnTo>
                  <a:lnTo>
                    <a:pt x="849" y="554"/>
                  </a:lnTo>
                  <a:lnTo>
                    <a:pt x="854" y="554"/>
                  </a:lnTo>
                  <a:lnTo>
                    <a:pt x="873" y="554"/>
                  </a:lnTo>
                  <a:lnTo>
                    <a:pt x="885" y="554"/>
                  </a:lnTo>
                  <a:lnTo>
                    <a:pt x="894" y="554"/>
                  </a:lnTo>
                  <a:lnTo>
                    <a:pt x="902" y="554"/>
                  </a:lnTo>
                  <a:lnTo>
                    <a:pt x="910" y="555"/>
                  </a:lnTo>
                  <a:lnTo>
                    <a:pt x="918" y="557"/>
                  </a:lnTo>
                  <a:lnTo>
                    <a:pt x="925" y="561"/>
                  </a:lnTo>
                  <a:lnTo>
                    <a:pt x="932" y="565"/>
                  </a:lnTo>
                  <a:lnTo>
                    <a:pt x="945" y="575"/>
                  </a:lnTo>
                  <a:lnTo>
                    <a:pt x="960" y="589"/>
                  </a:lnTo>
                  <a:lnTo>
                    <a:pt x="974" y="601"/>
                  </a:lnTo>
                  <a:lnTo>
                    <a:pt x="990" y="613"/>
                  </a:lnTo>
                  <a:lnTo>
                    <a:pt x="1000" y="618"/>
                  </a:lnTo>
                  <a:lnTo>
                    <a:pt x="1009" y="622"/>
                  </a:lnTo>
                  <a:lnTo>
                    <a:pt x="1018" y="625"/>
                  </a:lnTo>
                  <a:lnTo>
                    <a:pt x="1029" y="626"/>
                  </a:lnTo>
                  <a:lnTo>
                    <a:pt x="1030" y="639"/>
                  </a:lnTo>
                  <a:lnTo>
                    <a:pt x="1030" y="650"/>
                  </a:lnTo>
                  <a:lnTo>
                    <a:pt x="1032" y="658"/>
                  </a:lnTo>
                  <a:lnTo>
                    <a:pt x="1034" y="666"/>
                  </a:lnTo>
                  <a:lnTo>
                    <a:pt x="1040" y="679"/>
                  </a:lnTo>
                  <a:lnTo>
                    <a:pt x="1048" y="693"/>
                  </a:lnTo>
                  <a:lnTo>
                    <a:pt x="1150" y="693"/>
                  </a:lnTo>
                  <a:lnTo>
                    <a:pt x="1162" y="702"/>
                  </a:lnTo>
                  <a:lnTo>
                    <a:pt x="1173" y="710"/>
                  </a:lnTo>
                  <a:lnTo>
                    <a:pt x="1182" y="718"/>
                  </a:lnTo>
                  <a:lnTo>
                    <a:pt x="1190" y="726"/>
                  </a:lnTo>
                  <a:lnTo>
                    <a:pt x="1206" y="742"/>
                  </a:lnTo>
                  <a:lnTo>
                    <a:pt x="1222" y="759"/>
                  </a:lnTo>
                  <a:lnTo>
                    <a:pt x="1226" y="775"/>
                  </a:lnTo>
                  <a:lnTo>
                    <a:pt x="1230" y="789"/>
                  </a:lnTo>
                  <a:lnTo>
                    <a:pt x="1234" y="794"/>
                  </a:lnTo>
                  <a:lnTo>
                    <a:pt x="1238" y="798"/>
                  </a:lnTo>
                  <a:lnTo>
                    <a:pt x="1245" y="801"/>
                  </a:lnTo>
                  <a:lnTo>
                    <a:pt x="1253" y="801"/>
                  </a:lnTo>
                  <a:lnTo>
                    <a:pt x="1259" y="801"/>
                  </a:lnTo>
                  <a:lnTo>
                    <a:pt x="1266" y="799"/>
                  </a:lnTo>
                  <a:lnTo>
                    <a:pt x="1271" y="798"/>
                  </a:lnTo>
                  <a:lnTo>
                    <a:pt x="1275" y="795"/>
                  </a:lnTo>
                  <a:lnTo>
                    <a:pt x="1283" y="790"/>
                  </a:lnTo>
                  <a:lnTo>
                    <a:pt x="1290" y="783"/>
                  </a:lnTo>
                  <a:lnTo>
                    <a:pt x="1295" y="777"/>
                  </a:lnTo>
                  <a:lnTo>
                    <a:pt x="1301" y="771"/>
                  </a:lnTo>
                  <a:lnTo>
                    <a:pt x="1305" y="769"/>
                  </a:lnTo>
                  <a:lnTo>
                    <a:pt x="1309" y="766"/>
                  </a:lnTo>
                  <a:lnTo>
                    <a:pt x="1313" y="766"/>
                  </a:lnTo>
                  <a:lnTo>
                    <a:pt x="1318" y="765"/>
                  </a:lnTo>
                  <a:lnTo>
                    <a:pt x="1329" y="767"/>
                  </a:lnTo>
                  <a:lnTo>
                    <a:pt x="1341" y="771"/>
                  </a:lnTo>
                  <a:lnTo>
                    <a:pt x="1346" y="775"/>
                  </a:lnTo>
                  <a:lnTo>
                    <a:pt x="1350" y="778"/>
                  </a:lnTo>
                  <a:lnTo>
                    <a:pt x="1354" y="781"/>
                  </a:lnTo>
                  <a:lnTo>
                    <a:pt x="1354" y="783"/>
                  </a:lnTo>
                  <a:lnTo>
                    <a:pt x="1358" y="791"/>
                  </a:lnTo>
                  <a:lnTo>
                    <a:pt x="1358" y="799"/>
                  </a:lnTo>
                  <a:lnTo>
                    <a:pt x="1358" y="806"/>
                  </a:lnTo>
                  <a:lnTo>
                    <a:pt x="1355" y="813"/>
                  </a:lnTo>
                  <a:lnTo>
                    <a:pt x="1354" y="821"/>
                  </a:lnTo>
                  <a:lnTo>
                    <a:pt x="1351" y="827"/>
                  </a:lnTo>
                  <a:lnTo>
                    <a:pt x="1349" y="835"/>
                  </a:lnTo>
                  <a:lnTo>
                    <a:pt x="1349" y="843"/>
                  </a:lnTo>
                  <a:lnTo>
                    <a:pt x="1350" y="851"/>
                  </a:lnTo>
                  <a:lnTo>
                    <a:pt x="1353" y="858"/>
                  </a:lnTo>
                  <a:lnTo>
                    <a:pt x="1357" y="863"/>
                  </a:lnTo>
                  <a:lnTo>
                    <a:pt x="1362" y="869"/>
                  </a:lnTo>
                  <a:lnTo>
                    <a:pt x="1373" y="877"/>
                  </a:lnTo>
                  <a:lnTo>
                    <a:pt x="1386" y="885"/>
                  </a:lnTo>
                  <a:lnTo>
                    <a:pt x="1399" y="893"/>
                  </a:lnTo>
                  <a:lnTo>
                    <a:pt x="1413" y="901"/>
                  </a:lnTo>
                  <a:lnTo>
                    <a:pt x="1419" y="905"/>
                  </a:lnTo>
                  <a:lnTo>
                    <a:pt x="1425" y="910"/>
                  </a:lnTo>
                  <a:lnTo>
                    <a:pt x="1429" y="915"/>
                  </a:lnTo>
                  <a:lnTo>
                    <a:pt x="1433" y="922"/>
                  </a:lnTo>
                  <a:lnTo>
                    <a:pt x="1417" y="937"/>
                  </a:lnTo>
                  <a:lnTo>
                    <a:pt x="1399" y="953"/>
                  </a:lnTo>
                  <a:lnTo>
                    <a:pt x="1383" y="971"/>
                  </a:lnTo>
                  <a:lnTo>
                    <a:pt x="1367" y="990"/>
                  </a:lnTo>
                  <a:lnTo>
                    <a:pt x="1335" y="1031"/>
                  </a:lnTo>
                  <a:lnTo>
                    <a:pt x="1302" y="1072"/>
                  </a:lnTo>
                  <a:lnTo>
                    <a:pt x="1286" y="1094"/>
                  </a:lnTo>
                  <a:lnTo>
                    <a:pt x="1269" y="1112"/>
                  </a:lnTo>
                  <a:lnTo>
                    <a:pt x="1250" y="1131"/>
                  </a:lnTo>
                  <a:lnTo>
                    <a:pt x="1231" y="1147"/>
                  </a:lnTo>
                  <a:lnTo>
                    <a:pt x="1213" y="1163"/>
                  </a:lnTo>
                  <a:lnTo>
                    <a:pt x="1193" y="1175"/>
                  </a:lnTo>
                  <a:lnTo>
                    <a:pt x="1182" y="1180"/>
                  </a:lnTo>
                  <a:lnTo>
                    <a:pt x="1171" y="1186"/>
                  </a:lnTo>
                  <a:lnTo>
                    <a:pt x="1161" y="1190"/>
                  </a:lnTo>
                  <a:lnTo>
                    <a:pt x="1150" y="1192"/>
                  </a:lnTo>
                  <a:lnTo>
                    <a:pt x="1136" y="1195"/>
                  </a:lnTo>
                  <a:lnTo>
                    <a:pt x="1122" y="1196"/>
                  </a:lnTo>
                  <a:lnTo>
                    <a:pt x="1108" y="1195"/>
                  </a:lnTo>
                  <a:lnTo>
                    <a:pt x="1093" y="1194"/>
                  </a:lnTo>
                  <a:lnTo>
                    <a:pt x="1078" y="1191"/>
                  </a:lnTo>
                  <a:lnTo>
                    <a:pt x="1064" y="1186"/>
                  </a:lnTo>
                  <a:lnTo>
                    <a:pt x="1049" y="1180"/>
                  </a:lnTo>
                  <a:lnTo>
                    <a:pt x="1036" y="1175"/>
                  </a:lnTo>
                  <a:lnTo>
                    <a:pt x="1022" y="1167"/>
                  </a:lnTo>
                  <a:lnTo>
                    <a:pt x="1010" y="1159"/>
                  </a:lnTo>
                  <a:lnTo>
                    <a:pt x="998" y="1151"/>
                  </a:lnTo>
                  <a:lnTo>
                    <a:pt x="988" y="1142"/>
                  </a:lnTo>
                  <a:lnTo>
                    <a:pt x="978" y="1132"/>
                  </a:lnTo>
                  <a:lnTo>
                    <a:pt x="969" y="1122"/>
                  </a:lnTo>
                  <a:lnTo>
                    <a:pt x="962" y="1112"/>
                  </a:lnTo>
                  <a:lnTo>
                    <a:pt x="957" y="1102"/>
                  </a:lnTo>
                  <a:lnTo>
                    <a:pt x="933" y="1079"/>
                  </a:lnTo>
                  <a:lnTo>
                    <a:pt x="908" y="1060"/>
                  </a:lnTo>
                  <a:lnTo>
                    <a:pt x="882" y="1042"/>
                  </a:lnTo>
                  <a:lnTo>
                    <a:pt x="858" y="1026"/>
                  </a:lnTo>
                  <a:lnTo>
                    <a:pt x="834" y="1009"/>
                  </a:lnTo>
                  <a:lnTo>
                    <a:pt x="810" y="989"/>
                  </a:lnTo>
                  <a:lnTo>
                    <a:pt x="798" y="978"/>
                  </a:lnTo>
                  <a:lnTo>
                    <a:pt x="788" y="966"/>
                  </a:lnTo>
                  <a:lnTo>
                    <a:pt x="776" y="954"/>
                  </a:lnTo>
                  <a:lnTo>
                    <a:pt x="765" y="939"/>
                  </a:lnTo>
                  <a:lnTo>
                    <a:pt x="758" y="931"/>
                  </a:lnTo>
                  <a:lnTo>
                    <a:pt x="756" y="922"/>
                  </a:lnTo>
                  <a:lnTo>
                    <a:pt x="753" y="913"/>
                  </a:lnTo>
                  <a:lnTo>
                    <a:pt x="752" y="903"/>
                  </a:lnTo>
                  <a:lnTo>
                    <a:pt x="749" y="894"/>
                  </a:lnTo>
                  <a:lnTo>
                    <a:pt x="746" y="886"/>
                  </a:lnTo>
                  <a:lnTo>
                    <a:pt x="742" y="877"/>
                  </a:lnTo>
                  <a:lnTo>
                    <a:pt x="734" y="867"/>
                  </a:lnTo>
                  <a:lnTo>
                    <a:pt x="728" y="873"/>
                  </a:lnTo>
                  <a:lnTo>
                    <a:pt x="724" y="881"/>
                  </a:lnTo>
                  <a:lnTo>
                    <a:pt x="720" y="889"/>
                  </a:lnTo>
                  <a:lnTo>
                    <a:pt x="716" y="897"/>
                  </a:lnTo>
                  <a:lnTo>
                    <a:pt x="712" y="903"/>
                  </a:lnTo>
                  <a:lnTo>
                    <a:pt x="706" y="910"/>
                  </a:lnTo>
                  <a:lnTo>
                    <a:pt x="704" y="913"/>
                  </a:lnTo>
                  <a:lnTo>
                    <a:pt x="700" y="914"/>
                  </a:lnTo>
                  <a:lnTo>
                    <a:pt x="697" y="915"/>
                  </a:lnTo>
                  <a:lnTo>
                    <a:pt x="692" y="915"/>
                  </a:lnTo>
                  <a:lnTo>
                    <a:pt x="681" y="914"/>
                  </a:lnTo>
                  <a:lnTo>
                    <a:pt x="670" y="911"/>
                  </a:lnTo>
                  <a:lnTo>
                    <a:pt x="660" y="906"/>
                  </a:lnTo>
                  <a:lnTo>
                    <a:pt x="650" y="901"/>
                  </a:lnTo>
                  <a:lnTo>
                    <a:pt x="640" y="895"/>
                  </a:lnTo>
                  <a:lnTo>
                    <a:pt x="629" y="890"/>
                  </a:lnTo>
                  <a:lnTo>
                    <a:pt x="618" y="887"/>
                  </a:lnTo>
                  <a:lnTo>
                    <a:pt x="608" y="886"/>
                  </a:lnTo>
                  <a:lnTo>
                    <a:pt x="600" y="886"/>
                  </a:lnTo>
                  <a:lnTo>
                    <a:pt x="593" y="887"/>
                  </a:lnTo>
                  <a:lnTo>
                    <a:pt x="588" y="889"/>
                  </a:lnTo>
                  <a:lnTo>
                    <a:pt x="582" y="891"/>
                  </a:lnTo>
                  <a:lnTo>
                    <a:pt x="572" y="897"/>
                  </a:lnTo>
                  <a:lnTo>
                    <a:pt x="562" y="903"/>
                  </a:lnTo>
                  <a:lnTo>
                    <a:pt x="552" y="910"/>
                  </a:lnTo>
                  <a:lnTo>
                    <a:pt x="541" y="917"/>
                  </a:lnTo>
                  <a:lnTo>
                    <a:pt x="534" y="918"/>
                  </a:lnTo>
                  <a:lnTo>
                    <a:pt x="528" y="921"/>
                  </a:lnTo>
                  <a:lnTo>
                    <a:pt x="520" y="921"/>
                  </a:lnTo>
                  <a:lnTo>
                    <a:pt x="512" y="922"/>
                  </a:lnTo>
                  <a:lnTo>
                    <a:pt x="502" y="921"/>
                  </a:lnTo>
                  <a:lnTo>
                    <a:pt x="493" y="919"/>
                  </a:lnTo>
                  <a:lnTo>
                    <a:pt x="485" y="917"/>
                  </a:lnTo>
                  <a:lnTo>
                    <a:pt x="478" y="911"/>
                  </a:lnTo>
                  <a:lnTo>
                    <a:pt x="472" y="906"/>
                  </a:lnTo>
                  <a:lnTo>
                    <a:pt x="465" y="901"/>
                  </a:lnTo>
                  <a:lnTo>
                    <a:pt x="460" y="894"/>
                  </a:lnTo>
                  <a:lnTo>
                    <a:pt x="456" y="886"/>
                  </a:lnTo>
                  <a:lnTo>
                    <a:pt x="448" y="869"/>
                  </a:lnTo>
                  <a:lnTo>
                    <a:pt x="441" y="849"/>
                  </a:lnTo>
                  <a:lnTo>
                    <a:pt x="436" y="829"/>
                  </a:lnTo>
                  <a:lnTo>
                    <a:pt x="430" y="807"/>
                  </a:lnTo>
                  <a:lnTo>
                    <a:pt x="426" y="786"/>
                  </a:lnTo>
                  <a:lnTo>
                    <a:pt x="421" y="765"/>
                  </a:lnTo>
                  <a:lnTo>
                    <a:pt x="414" y="746"/>
                  </a:lnTo>
                  <a:lnTo>
                    <a:pt x="408" y="729"/>
                  </a:lnTo>
                  <a:lnTo>
                    <a:pt x="402" y="721"/>
                  </a:lnTo>
                  <a:lnTo>
                    <a:pt x="399" y="714"/>
                  </a:lnTo>
                  <a:lnTo>
                    <a:pt x="393" y="707"/>
                  </a:lnTo>
                  <a:lnTo>
                    <a:pt x="387" y="702"/>
                  </a:lnTo>
                  <a:lnTo>
                    <a:pt x="380" y="698"/>
                  </a:lnTo>
                  <a:lnTo>
                    <a:pt x="372" y="695"/>
                  </a:lnTo>
                  <a:lnTo>
                    <a:pt x="364" y="694"/>
                  </a:lnTo>
                  <a:lnTo>
                    <a:pt x="355" y="693"/>
                  </a:lnTo>
                  <a:lnTo>
                    <a:pt x="351" y="694"/>
                  </a:lnTo>
                  <a:lnTo>
                    <a:pt x="347" y="697"/>
                  </a:lnTo>
                  <a:lnTo>
                    <a:pt x="344" y="701"/>
                  </a:lnTo>
                  <a:lnTo>
                    <a:pt x="341" y="705"/>
                  </a:lnTo>
                  <a:lnTo>
                    <a:pt x="336" y="713"/>
                  </a:lnTo>
                  <a:lnTo>
                    <a:pt x="331" y="717"/>
                  </a:lnTo>
                  <a:lnTo>
                    <a:pt x="323" y="717"/>
                  </a:lnTo>
                  <a:lnTo>
                    <a:pt x="315" y="714"/>
                  </a:lnTo>
                  <a:lnTo>
                    <a:pt x="308" y="711"/>
                  </a:lnTo>
                  <a:lnTo>
                    <a:pt x="301" y="706"/>
                  </a:lnTo>
                  <a:lnTo>
                    <a:pt x="291" y="695"/>
                  </a:lnTo>
                  <a:lnTo>
                    <a:pt x="280" y="683"/>
                  </a:lnTo>
                  <a:lnTo>
                    <a:pt x="269" y="671"/>
                  </a:lnTo>
                  <a:lnTo>
                    <a:pt x="259" y="661"/>
                  </a:lnTo>
                  <a:lnTo>
                    <a:pt x="252" y="657"/>
                  </a:lnTo>
                  <a:lnTo>
                    <a:pt x="245" y="654"/>
                  </a:lnTo>
                  <a:lnTo>
                    <a:pt x="237" y="651"/>
                  </a:lnTo>
                  <a:lnTo>
                    <a:pt x="228" y="650"/>
                  </a:lnTo>
                  <a:lnTo>
                    <a:pt x="208" y="651"/>
                  </a:lnTo>
                  <a:lnTo>
                    <a:pt x="191" y="653"/>
                  </a:lnTo>
                  <a:lnTo>
                    <a:pt x="187" y="651"/>
                  </a:lnTo>
                  <a:lnTo>
                    <a:pt x="184" y="650"/>
                  </a:lnTo>
                  <a:lnTo>
                    <a:pt x="181" y="649"/>
                  </a:lnTo>
                  <a:lnTo>
                    <a:pt x="179" y="646"/>
                  </a:lnTo>
                  <a:lnTo>
                    <a:pt x="177" y="642"/>
                  </a:lnTo>
                  <a:lnTo>
                    <a:pt x="176" y="638"/>
                  </a:lnTo>
                  <a:lnTo>
                    <a:pt x="175" y="633"/>
                  </a:lnTo>
                  <a:lnTo>
                    <a:pt x="175" y="626"/>
                  </a:lnTo>
                  <a:lnTo>
                    <a:pt x="173" y="599"/>
                  </a:lnTo>
                  <a:lnTo>
                    <a:pt x="173" y="567"/>
                  </a:lnTo>
                  <a:lnTo>
                    <a:pt x="172" y="559"/>
                  </a:lnTo>
                  <a:lnTo>
                    <a:pt x="171" y="553"/>
                  </a:lnTo>
                  <a:lnTo>
                    <a:pt x="169" y="546"/>
                  </a:lnTo>
                  <a:lnTo>
                    <a:pt x="165" y="541"/>
                  </a:lnTo>
                  <a:lnTo>
                    <a:pt x="163" y="537"/>
                  </a:lnTo>
                  <a:lnTo>
                    <a:pt x="157" y="533"/>
                  </a:lnTo>
                  <a:lnTo>
                    <a:pt x="152" y="531"/>
                  </a:lnTo>
                  <a:lnTo>
                    <a:pt x="144" y="530"/>
                  </a:lnTo>
                  <a:lnTo>
                    <a:pt x="136" y="531"/>
                  </a:lnTo>
                  <a:lnTo>
                    <a:pt x="128" y="535"/>
                  </a:lnTo>
                  <a:lnTo>
                    <a:pt x="120" y="539"/>
                  </a:lnTo>
                  <a:lnTo>
                    <a:pt x="113" y="545"/>
                  </a:lnTo>
                  <a:lnTo>
                    <a:pt x="105" y="551"/>
                  </a:lnTo>
                  <a:lnTo>
                    <a:pt x="97" y="555"/>
                  </a:lnTo>
                  <a:lnTo>
                    <a:pt x="88" y="559"/>
                  </a:lnTo>
                  <a:lnTo>
                    <a:pt x="79" y="561"/>
                  </a:lnTo>
                  <a:lnTo>
                    <a:pt x="73" y="559"/>
                  </a:lnTo>
                  <a:lnTo>
                    <a:pt x="71" y="558"/>
                  </a:lnTo>
                  <a:lnTo>
                    <a:pt x="67" y="555"/>
                  </a:lnTo>
                  <a:lnTo>
                    <a:pt x="64" y="551"/>
                  </a:lnTo>
                  <a:lnTo>
                    <a:pt x="63" y="547"/>
                  </a:lnTo>
                  <a:lnTo>
                    <a:pt x="61" y="542"/>
                  </a:lnTo>
                  <a:lnTo>
                    <a:pt x="60" y="537"/>
                  </a:lnTo>
                  <a:lnTo>
                    <a:pt x="60" y="530"/>
                  </a:lnTo>
                  <a:lnTo>
                    <a:pt x="64" y="503"/>
                  </a:lnTo>
                  <a:lnTo>
                    <a:pt x="69" y="473"/>
                  </a:lnTo>
                  <a:lnTo>
                    <a:pt x="71" y="456"/>
                  </a:lnTo>
                  <a:lnTo>
                    <a:pt x="71" y="440"/>
                  </a:lnTo>
                  <a:lnTo>
                    <a:pt x="69" y="432"/>
                  </a:lnTo>
                  <a:lnTo>
                    <a:pt x="67" y="424"/>
                  </a:lnTo>
                  <a:lnTo>
                    <a:pt x="64" y="417"/>
                  </a:lnTo>
                  <a:lnTo>
                    <a:pt x="60" y="410"/>
                  </a:lnTo>
                  <a:lnTo>
                    <a:pt x="51" y="405"/>
                  </a:lnTo>
                  <a:lnTo>
                    <a:pt x="29" y="400"/>
                  </a:lnTo>
                  <a:lnTo>
                    <a:pt x="19" y="396"/>
                  </a:lnTo>
                  <a:lnTo>
                    <a:pt x="9" y="392"/>
                  </a:lnTo>
                  <a:lnTo>
                    <a:pt x="5" y="389"/>
                  </a:lnTo>
                  <a:lnTo>
                    <a:pt x="3" y="386"/>
                  </a:lnTo>
                  <a:lnTo>
                    <a:pt x="0" y="384"/>
                  </a:lnTo>
                  <a:lnTo>
                    <a:pt x="0" y="380"/>
                  </a:lnTo>
                  <a:lnTo>
                    <a:pt x="1" y="369"/>
                  </a:lnTo>
                  <a:lnTo>
                    <a:pt x="4" y="358"/>
                  </a:lnTo>
                  <a:lnTo>
                    <a:pt x="7" y="349"/>
                  </a:lnTo>
                  <a:lnTo>
                    <a:pt x="12" y="338"/>
                  </a:lnTo>
                  <a:lnTo>
                    <a:pt x="16" y="328"/>
                  </a:lnTo>
                  <a:lnTo>
                    <a:pt x="20" y="314"/>
                  </a:lnTo>
                  <a:lnTo>
                    <a:pt x="23" y="300"/>
                  </a:lnTo>
                  <a:lnTo>
                    <a:pt x="24" y="284"/>
                  </a:lnTo>
                  <a:lnTo>
                    <a:pt x="33" y="289"/>
                  </a:lnTo>
                  <a:lnTo>
                    <a:pt x="43" y="294"/>
                  </a:lnTo>
                  <a:lnTo>
                    <a:pt x="53" y="297"/>
                  </a:lnTo>
                  <a:lnTo>
                    <a:pt x="64" y="300"/>
                  </a:lnTo>
                  <a:lnTo>
                    <a:pt x="85" y="301"/>
                  </a:lnTo>
                  <a:lnTo>
                    <a:pt x="108" y="301"/>
                  </a:lnTo>
                  <a:lnTo>
                    <a:pt x="116" y="300"/>
                  </a:lnTo>
                  <a:lnTo>
                    <a:pt x="128" y="294"/>
                  </a:lnTo>
                  <a:lnTo>
                    <a:pt x="143" y="288"/>
                  </a:lnTo>
                  <a:lnTo>
                    <a:pt x="159" y="278"/>
                  </a:lnTo>
                  <a:lnTo>
                    <a:pt x="175" y="270"/>
                  </a:lnTo>
                  <a:lnTo>
                    <a:pt x="188" y="261"/>
                  </a:lnTo>
                  <a:lnTo>
                    <a:pt x="199" y="253"/>
                  </a:lnTo>
                  <a:lnTo>
                    <a:pt x="204" y="248"/>
                  </a:lnTo>
                  <a:lnTo>
                    <a:pt x="207" y="240"/>
                  </a:lnTo>
                  <a:lnTo>
                    <a:pt x="207" y="232"/>
                  </a:lnTo>
                  <a:lnTo>
                    <a:pt x="207" y="225"/>
                  </a:lnTo>
                  <a:lnTo>
                    <a:pt x="207" y="218"/>
                  </a:lnTo>
                  <a:lnTo>
                    <a:pt x="204" y="206"/>
                  </a:lnTo>
                  <a:lnTo>
                    <a:pt x="201" y="194"/>
                  </a:lnTo>
                  <a:lnTo>
                    <a:pt x="199" y="184"/>
                  </a:lnTo>
                  <a:lnTo>
                    <a:pt x="199" y="173"/>
                  </a:lnTo>
                  <a:lnTo>
                    <a:pt x="200" y="168"/>
                  </a:lnTo>
                  <a:lnTo>
                    <a:pt x="203" y="162"/>
                  </a:lnTo>
                  <a:lnTo>
                    <a:pt x="205" y="157"/>
                  </a:lnTo>
                  <a:lnTo>
                    <a:pt x="211" y="150"/>
                  </a:lnTo>
                  <a:lnTo>
                    <a:pt x="221" y="141"/>
                  </a:lnTo>
                  <a:lnTo>
                    <a:pt x="233" y="130"/>
                  </a:lnTo>
                  <a:lnTo>
                    <a:pt x="247" y="120"/>
                  </a:lnTo>
                  <a:lnTo>
                    <a:pt x="261" y="109"/>
                  </a:lnTo>
                  <a:lnTo>
                    <a:pt x="293" y="88"/>
                  </a:lnTo>
                  <a:lnTo>
                    <a:pt x="327" y="66"/>
                  </a:lnTo>
                  <a:lnTo>
                    <a:pt x="361" y="46"/>
                  </a:lnTo>
                  <a:lnTo>
                    <a:pt x="396" y="29"/>
                  </a:lnTo>
                  <a:lnTo>
                    <a:pt x="428" y="13"/>
                  </a:lnTo>
                  <a:lnTo>
                    <a:pt x="457" y="0"/>
                  </a:lnTo>
                  <a:lnTo>
                    <a:pt x="468" y="6"/>
                  </a:lnTo>
                  <a:lnTo>
                    <a:pt x="477" y="10"/>
                  </a:lnTo>
                  <a:lnTo>
                    <a:pt x="488" y="14"/>
                  </a:lnTo>
                  <a:lnTo>
                    <a:pt x="498" y="17"/>
                  </a:lnTo>
                  <a:lnTo>
                    <a:pt x="518" y="20"/>
                  </a:lnTo>
                  <a:lnTo>
                    <a:pt x="540" y="20"/>
                  </a:lnTo>
                  <a:lnTo>
                    <a:pt x="560" y="20"/>
                  </a:lnTo>
                  <a:lnTo>
                    <a:pt x="582" y="21"/>
                  </a:lnTo>
                  <a:lnTo>
                    <a:pt x="593" y="22"/>
                  </a:lnTo>
                  <a:lnTo>
                    <a:pt x="604" y="24"/>
                  </a:lnTo>
                  <a:lnTo>
                    <a:pt x="614" y="26"/>
                  </a:lnTo>
                  <a:lnTo>
                    <a:pt x="626" y="30"/>
                  </a:lnTo>
                  <a:lnTo>
                    <a:pt x="633" y="37"/>
                  </a:lnTo>
                  <a:lnTo>
                    <a:pt x="640" y="46"/>
                  </a:lnTo>
                  <a:lnTo>
                    <a:pt x="646" y="60"/>
                  </a:lnTo>
                  <a:lnTo>
                    <a:pt x="654" y="73"/>
                  </a:lnTo>
                  <a:lnTo>
                    <a:pt x="661" y="86"/>
                  </a:lnTo>
                  <a:lnTo>
                    <a:pt x="669" y="98"/>
                  </a:lnTo>
                  <a:lnTo>
                    <a:pt x="673" y="104"/>
                  </a:lnTo>
                  <a:lnTo>
                    <a:pt x="677" y="108"/>
                  </a:lnTo>
                  <a:lnTo>
                    <a:pt x="682" y="112"/>
                  </a:lnTo>
                  <a:lnTo>
                    <a:pt x="686" y="114"/>
                  </a:lnTo>
                  <a:lnTo>
                    <a:pt x="692" y="12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Freeform 43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705225" y="4006850"/>
              <a:ext cx="592138" cy="395288"/>
            </a:xfrm>
            <a:custGeom>
              <a:avLst/>
              <a:gdLst/>
              <a:ahLst/>
              <a:cxnLst>
                <a:cxn ang="0">
                  <a:pos x="264" y="55"/>
                </a:cxn>
                <a:cxn ang="0">
                  <a:pos x="228" y="138"/>
                </a:cxn>
                <a:cxn ang="0">
                  <a:pos x="220" y="203"/>
                </a:cxn>
                <a:cxn ang="0">
                  <a:pos x="210" y="259"/>
                </a:cxn>
                <a:cxn ang="0">
                  <a:pos x="144" y="264"/>
                </a:cxn>
                <a:cxn ang="0">
                  <a:pos x="102" y="289"/>
                </a:cxn>
                <a:cxn ang="0">
                  <a:pos x="86" y="359"/>
                </a:cxn>
                <a:cxn ang="0">
                  <a:pos x="48" y="432"/>
                </a:cxn>
                <a:cxn ang="0">
                  <a:pos x="47" y="508"/>
                </a:cxn>
                <a:cxn ang="0">
                  <a:pos x="85" y="597"/>
                </a:cxn>
                <a:cxn ang="0">
                  <a:pos x="84" y="644"/>
                </a:cxn>
                <a:cxn ang="0">
                  <a:pos x="59" y="676"/>
                </a:cxn>
                <a:cxn ang="0">
                  <a:pos x="8" y="748"/>
                </a:cxn>
                <a:cxn ang="0">
                  <a:pos x="116" y="723"/>
                </a:cxn>
                <a:cxn ang="0">
                  <a:pos x="200" y="711"/>
                </a:cxn>
                <a:cxn ang="0">
                  <a:pos x="221" y="743"/>
                </a:cxn>
                <a:cxn ang="0">
                  <a:pos x="181" y="765"/>
                </a:cxn>
                <a:cxn ang="0">
                  <a:pos x="245" y="896"/>
                </a:cxn>
                <a:cxn ang="0">
                  <a:pos x="313" y="994"/>
                </a:cxn>
                <a:cxn ang="0">
                  <a:pos x="356" y="957"/>
                </a:cxn>
                <a:cxn ang="0">
                  <a:pos x="386" y="956"/>
                </a:cxn>
                <a:cxn ang="0">
                  <a:pos x="438" y="968"/>
                </a:cxn>
                <a:cxn ang="0">
                  <a:pos x="498" y="953"/>
                </a:cxn>
                <a:cxn ang="0">
                  <a:pos x="617" y="940"/>
                </a:cxn>
                <a:cxn ang="0">
                  <a:pos x="709" y="872"/>
                </a:cxn>
                <a:cxn ang="0">
                  <a:pos x="801" y="844"/>
                </a:cxn>
                <a:cxn ang="0">
                  <a:pos x="850" y="881"/>
                </a:cxn>
                <a:cxn ang="0">
                  <a:pos x="897" y="928"/>
                </a:cxn>
                <a:cxn ang="0">
                  <a:pos x="899" y="981"/>
                </a:cxn>
                <a:cxn ang="0">
                  <a:pos x="967" y="1049"/>
                </a:cxn>
                <a:cxn ang="0">
                  <a:pos x="1010" y="1056"/>
                </a:cxn>
                <a:cxn ang="0">
                  <a:pos x="1057" y="1000"/>
                </a:cxn>
                <a:cxn ang="0">
                  <a:pos x="1143" y="940"/>
                </a:cxn>
                <a:cxn ang="0">
                  <a:pos x="1174" y="916"/>
                </a:cxn>
                <a:cxn ang="0">
                  <a:pos x="1242" y="912"/>
                </a:cxn>
                <a:cxn ang="0">
                  <a:pos x="1314" y="912"/>
                </a:cxn>
                <a:cxn ang="0">
                  <a:pos x="1349" y="861"/>
                </a:cxn>
                <a:cxn ang="0">
                  <a:pos x="1365" y="816"/>
                </a:cxn>
                <a:cxn ang="0">
                  <a:pos x="1370" y="770"/>
                </a:cxn>
                <a:cxn ang="0">
                  <a:pos x="1373" y="713"/>
                </a:cxn>
                <a:cxn ang="0">
                  <a:pos x="1342" y="615"/>
                </a:cxn>
                <a:cxn ang="0">
                  <a:pos x="1338" y="541"/>
                </a:cxn>
                <a:cxn ang="0">
                  <a:pos x="1278" y="457"/>
                </a:cxn>
                <a:cxn ang="0">
                  <a:pos x="1223" y="483"/>
                </a:cxn>
                <a:cxn ang="0">
                  <a:pos x="1198" y="536"/>
                </a:cxn>
                <a:cxn ang="0">
                  <a:pos x="1173" y="460"/>
                </a:cxn>
                <a:cxn ang="0">
                  <a:pos x="1145" y="419"/>
                </a:cxn>
                <a:cxn ang="0">
                  <a:pos x="1155" y="375"/>
                </a:cxn>
                <a:cxn ang="0">
                  <a:pos x="1158" y="336"/>
                </a:cxn>
                <a:cxn ang="0">
                  <a:pos x="1117" y="321"/>
                </a:cxn>
                <a:cxn ang="0">
                  <a:pos x="1038" y="348"/>
                </a:cxn>
                <a:cxn ang="0">
                  <a:pos x="954" y="331"/>
                </a:cxn>
                <a:cxn ang="0">
                  <a:pos x="875" y="285"/>
                </a:cxn>
                <a:cxn ang="0">
                  <a:pos x="766" y="281"/>
                </a:cxn>
                <a:cxn ang="0">
                  <a:pos x="734" y="229"/>
                </a:cxn>
                <a:cxn ang="0">
                  <a:pos x="701" y="158"/>
                </a:cxn>
                <a:cxn ang="0">
                  <a:pos x="522" y="72"/>
                </a:cxn>
                <a:cxn ang="0">
                  <a:pos x="334" y="31"/>
                </a:cxn>
              </a:cxnLst>
              <a:rect l="0" t="0" r="r" b="b"/>
              <a:pathLst>
                <a:path w="1378" h="1060">
                  <a:moveTo>
                    <a:pt x="258" y="0"/>
                  </a:moveTo>
                  <a:lnTo>
                    <a:pt x="262" y="10"/>
                  </a:lnTo>
                  <a:lnTo>
                    <a:pt x="264" y="19"/>
                  </a:lnTo>
                  <a:lnTo>
                    <a:pt x="264" y="30"/>
                  </a:lnTo>
                  <a:lnTo>
                    <a:pt x="265" y="43"/>
                  </a:lnTo>
                  <a:lnTo>
                    <a:pt x="264" y="55"/>
                  </a:lnTo>
                  <a:lnTo>
                    <a:pt x="262" y="66"/>
                  </a:lnTo>
                  <a:lnTo>
                    <a:pt x="260" y="76"/>
                  </a:lnTo>
                  <a:lnTo>
                    <a:pt x="256" y="87"/>
                  </a:lnTo>
                  <a:lnTo>
                    <a:pt x="248" y="104"/>
                  </a:lnTo>
                  <a:lnTo>
                    <a:pt x="237" y="122"/>
                  </a:lnTo>
                  <a:lnTo>
                    <a:pt x="228" y="138"/>
                  </a:lnTo>
                  <a:lnTo>
                    <a:pt x="218" y="154"/>
                  </a:lnTo>
                  <a:lnTo>
                    <a:pt x="216" y="162"/>
                  </a:lnTo>
                  <a:lnTo>
                    <a:pt x="213" y="169"/>
                  </a:lnTo>
                  <a:lnTo>
                    <a:pt x="210" y="179"/>
                  </a:lnTo>
                  <a:lnTo>
                    <a:pt x="210" y="187"/>
                  </a:lnTo>
                  <a:lnTo>
                    <a:pt x="220" y="203"/>
                  </a:lnTo>
                  <a:lnTo>
                    <a:pt x="228" y="223"/>
                  </a:lnTo>
                  <a:lnTo>
                    <a:pt x="228" y="235"/>
                  </a:lnTo>
                  <a:lnTo>
                    <a:pt x="225" y="243"/>
                  </a:lnTo>
                  <a:lnTo>
                    <a:pt x="221" y="251"/>
                  </a:lnTo>
                  <a:lnTo>
                    <a:pt x="217" y="255"/>
                  </a:lnTo>
                  <a:lnTo>
                    <a:pt x="210" y="259"/>
                  </a:lnTo>
                  <a:lnTo>
                    <a:pt x="204" y="261"/>
                  </a:lnTo>
                  <a:lnTo>
                    <a:pt x="196" y="263"/>
                  </a:lnTo>
                  <a:lnTo>
                    <a:pt x="188" y="263"/>
                  </a:lnTo>
                  <a:lnTo>
                    <a:pt x="170" y="263"/>
                  </a:lnTo>
                  <a:lnTo>
                    <a:pt x="152" y="263"/>
                  </a:lnTo>
                  <a:lnTo>
                    <a:pt x="144" y="264"/>
                  </a:lnTo>
                  <a:lnTo>
                    <a:pt x="134" y="265"/>
                  </a:lnTo>
                  <a:lnTo>
                    <a:pt x="126" y="268"/>
                  </a:lnTo>
                  <a:lnTo>
                    <a:pt x="120" y="272"/>
                  </a:lnTo>
                  <a:lnTo>
                    <a:pt x="113" y="277"/>
                  </a:lnTo>
                  <a:lnTo>
                    <a:pt x="106" y="283"/>
                  </a:lnTo>
                  <a:lnTo>
                    <a:pt x="102" y="289"/>
                  </a:lnTo>
                  <a:lnTo>
                    <a:pt x="98" y="296"/>
                  </a:lnTo>
                  <a:lnTo>
                    <a:pt x="94" y="309"/>
                  </a:lnTo>
                  <a:lnTo>
                    <a:pt x="92" y="323"/>
                  </a:lnTo>
                  <a:lnTo>
                    <a:pt x="90" y="337"/>
                  </a:lnTo>
                  <a:lnTo>
                    <a:pt x="89" y="352"/>
                  </a:lnTo>
                  <a:lnTo>
                    <a:pt x="86" y="359"/>
                  </a:lnTo>
                  <a:lnTo>
                    <a:pt x="85" y="365"/>
                  </a:lnTo>
                  <a:lnTo>
                    <a:pt x="81" y="373"/>
                  </a:lnTo>
                  <a:lnTo>
                    <a:pt x="77" y="380"/>
                  </a:lnTo>
                  <a:lnTo>
                    <a:pt x="64" y="399"/>
                  </a:lnTo>
                  <a:lnTo>
                    <a:pt x="53" y="420"/>
                  </a:lnTo>
                  <a:lnTo>
                    <a:pt x="48" y="432"/>
                  </a:lnTo>
                  <a:lnTo>
                    <a:pt x="45" y="444"/>
                  </a:lnTo>
                  <a:lnTo>
                    <a:pt x="43" y="457"/>
                  </a:lnTo>
                  <a:lnTo>
                    <a:pt x="41" y="471"/>
                  </a:lnTo>
                  <a:lnTo>
                    <a:pt x="43" y="484"/>
                  </a:lnTo>
                  <a:lnTo>
                    <a:pt x="44" y="497"/>
                  </a:lnTo>
                  <a:lnTo>
                    <a:pt x="47" y="508"/>
                  </a:lnTo>
                  <a:lnTo>
                    <a:pt x="49" y="519"/>
                  </a:lnTo>
                  <a:lnTo>
                    <a:pt x="57" y="539"/>
                  </a:lnTo>
                  <a:lnTo>
                    <a:pt x="65" y="555"/>
                  </a:lnTo>
                  <a:lnTo>
                    <a:pt x="74" y="572"/>
                  </a:lnTo>
                  <a:lnTo>
                    <a:pt x="82" y="588"/>
                  </a:lnTo>
                  <a:lnTo>
                    <a:pt x="85" y="597"/>
                  </a:lnTo>
                  <a:lnTo>
                    <a:pt x="88" y="605"/>
                  </a:lnTo>
                  <a:lnTo>
                    <a:pt x="89" y="616"/>
                  </a:lnTo>
                  <a:lnTo>
                    <a:pt x="89" y="627"/>
                  </a:lnTo>
                  <a:lnTo>
                    <a:pt x="89" y="635"/>
                  </a:lnTo>
                  <a:lnTo>
                    <a:pt x="86" y="640"/>
                  </a:lnTo>
                  <a:lnTo>
                    <a:pt x="84" y="644"/>
                  </a:lnTo>
                  <a:lnTo>
                    <a:pt x="80" y="647"/>
                  </a:lnTo>
                  <a:lnTo>
                    <a:pt x="76" y="648"/>
                  </a:lnTo>
                  <a:lnTo>
                    <a:pt x="72" y="651"/>
                  </a:lnTo>
                  <a:lnTo>
                    <a:pt x="68" y="653"/>
                  </a:lnTo>
                  <a:lnTo>
                    <a:pt x="65" y="657"/>
                  </a:lnTo>
                  <a:lnTo>
                    <a:pt x="59" y="676"/>
                  </a:lnTo>
                  <a:lnTo>
                    <a:pt x="51" y="693"/>
                  </a:lnTo>
                  <a:lnTo>
                    <a:pt x="43" y="708"/>
                  </a:lnTo>
                  <a:lnTo>
                    <a:pt x="35" y="721"/>
                  </a:lnTo>
                  <a:lnTo>
                    <a:pt x="27" y="732"/>
                  </a:lnTo>
                  <a:lnTo>
                    <a:pt x="17" y="741"/>
                  </a:lnTo>
                  <a:lnTo>
                    <a:pt x="8" y="748"/>
                  </a:lnTo>
                  <a:lnTo>
                    <a:pt x="0" y="753"/>
                  </a:lnTo>
                  <a:lnTo>
                    <a:pt x="27" y="749"/>
                  </a:lnTo>
                  <a:lnTo>
                    <a:pt x="52" y="744"/>
                  </a:lnTo>
                  <a:lnTo>
                    <a:pt x="74" y="737"/>
                  </a:lnTo>
                  <a:lnTo>
                    <a:pt x="94" y="729"/>
                  </a:lnTo>
                  <a:lnTo>
                    <a:pt x="116" y="723"/>
                  </a:lnTo>
                  <a:lnTo>
                    <a:pt x="137" y="717"/>
                  </a:lnTo>
                  <a:lnTo>
                    <a:pt x="149" y="715"/>
                  </a:lnTo>
                  <a:lnTo>
                    <a:pt x="161" y="713"/>
                  </a:lnTo>
                  <a:lnTo>
                    <a:pt x="173" y="712"/>
                  </a:lnTo>
                  <a:lnTo>
                    <a:pt x="186" y="711"/>
                  </a:lnTo>
                  <a:lnTo>
                    <a:pt x="200" y="711"/>
                  </a:lnTo>
                  <a:lnTo>
                    <a:pt x="212" y="711"/>
                  </a:lnTo>
                  <a:lnTo>
                    <a:pt x="221" y="711"/>
                  </a:lnTo>
                  <a:lnTo>
                    <a:pt x="228" y="711"/>
                  </a:lnTo>
                  <a:lnTo>
                    <a:pt x="228" y="725"/>
                  </a:lnTo>
                  <a:lnTo>
                    <a:pt x="224" y="737"/>
                  </a:lnTo>
                  <a:lnTo>
                    <a:pt x="221" y="743"/>
                  </a:lnTo>
                  <a:lnTo>
                    <a:pt x="218" y="747"/>
                  </a:lnTo>
                  <a:lnTo>
                    <a:pt x="216" y="750"/>
                  </a:lnTo>
                  <a:lnTo>
                    <a:pt x="212" y="754"/>
                  </a:lnTo>
                  <a:lnTo>
                    <a:pt x="202" y="758"/>
                  </a:lnTo>
                  <a:lnTo>
                    <a:pt x="193" y="762"/>
                  </a:lnTo>
                  <a:lnTo>
                    <a:pt x="181" y="765"/>
                  </a:lnTo>
                  <a:lnTo>
                    <a:pt x="168" y="765"/>
                  </a:lnTo>
                  <a:lnTo>
                    <a:pt x="168" y="808"/>
                  </a:lnTo>
                  <a:lnTo>
                    <a:pt x="186" y="832"/>
                  </a:lnTo>
                  <a:lnTo>
                    <a:pt x="206" y="853"/>
                  </a:lnTo>
                  <a:lnTo>
                    <a:pt x="225" y="874"/>
                  </a:lnTo>
                  <a:lnTo>
                    <a:pt x="245" y="896"/>
                  </a:lnTo>
                  <a:lnTo>
                    <a:pt x="264" y="918"/>
                  </a:lnTo>
                  <a:lnTo>
                    <a:pt x="281" y="941"/>
                  </a:lnTo>
                  <a:lnTo>
                    <a:pt x="290" y="953"/>
                  </a:lnTo>
                  <a:lnTo>
                    <a:pt x="298" y="966"/>
                  </a:lnTo>
                  <a:lnTo>
                    <a:pt x="305" y="980"/>
                  </a:lnTo>
                  <a:lnTo>
                    <a:pt x="313" y="994"/>
                  </a:lnTo>
                  <a:lnTo>
                    <a:pt x="324" y="989"/>
                  </a:lnTo>
                  <a:lnTo>
                    <a:pt x="333" y="982"/>
                  </a:lnTo>
                  <a:lnTo>
                    <a:pt x="340" y="976"/>
                  </a:lnTo>
                  <a:lnTo>
                    <a:pt x="345" y="968"/>
                  </a:lnTo>
                  <a:lnTo>
                    <a:pt x="350" y="962"/>
                  </a:lnTo>
                  <a:lnTo>
                    <a:pt x="356" y="957"/>
                  </a:lnTo>
                  <a:lnTo>
                    <a:pt x="360" y="954"/>
                  </a:lnTo>
                  <a:lnTo>
                    <a:pt x="364" y="953"/>
                  </a:lnTo>
                  <a:lnTo>
                    <a:pt x="368" y="952"/>
                  </a:lnTo>
                  <a:lnTo>
                    <a:pt x="373" y="952"/>
                  </a:lnTo>
                  <a:lnTo>
                    <a:pt x="380" y="953"/>
                  </a:lnTo>
                  <a:lnTo>
                    <a:pt x="386" y="956"/>
                  </a:lnTo>
                  <a:lnTo>
                    <a:pt x="393" y="960"/>
                  </a:lnTo>
                  <a:lnTo>
                    <a:pt x="400" y="965"/>
                  </a:lnTo>
                  <a:lnTo>
                    <a:pt x="410" y="974"/>
                  </a:lnTo>
                  <a:lnTo>
                    <a:pt x="421" y="982"/>
                  </a:lnTo>
                  <a:lnTo>
                    <a:pt x="429" y="974"/>
                  </a:lnTo>
                  <a:lnTo>
                    <a:pt x="438" y="968"/>
                  </a:lnTo>
                  <a:lnTo>
                    <a:pt x="448" y="962"/>
                  </a:lnTo>
                  <a:lnTo>
                    <a:pt x="457" y="958"/>
                  </a:lnTo>
                  <a:lnTo>
                    <a:pt x="466" y="956"/>
                  </a:lnTo>
                  <a:lnTo>
                    <a:pt x="477" y="954"/>
                  </a:lnTo>
                  <a:lnTo>
                    <a:pt x="488" y="953"/>
                  </a:lnTo>
                  <a:lnTo>
                    <a:pt x="498" y="953"/>
                  </a:lnTo>
                  <a:lnTo>
                    <a:pt x="521" y="954"/>
                  </a:lnTo>
                  <a:lnTo>
                    <a:pt x="544" y="954"/>
                  </a:lnTo>
                  <a:lnTo>
                    <a:pt x="566" y="954"/>
                  </a:lnTo>
                  <a:lnTo>
                    <a:pt x="589" y="952"/>
                  </a:lnTo>
                  <a:lnTo>
                    <a:pt x="604" y="946"/>
                  </a:lnTo>
                  <a:lnTo>
                    <a:pt x="617" y="940"/>
                  </a:lnTo>
                  <a:lnTo>
                    <a:pt x="629" y="933"/>
                  </a:lnTo>
                  <a:lnTo>
                    <a:pt x="641" y="925"/>
                  </a:lnTo>
                  <a:lnTo>
                    <a:pt x="664" y="906"/>
                  </a:lnTo>
                  <a:lnTo>
                    <a:pt x="686" y="889"/>
                  </a:lnTo>
                  <a:lnTo>
                    <a:pt x="697" y="880"/>
                  </a:lnTo>
                  <a:lnTo>
                    <a:pt x="709" y="872"/>
                  </a:lnTo>
                  <a:lnTo>
                    <a:pt x="722" y="864"/>
                  </a:lnTo>
                  <a:lnTo>
                    <a:pt x="736" y="857"/>
                  </a:lnTo>
                  <a:lnTo>
                    <a:pt x="750" y="852"/>
                  </a:lnTo>
                  <a:lnTo>
                    <a:pt x="765" y="846"/>
                  </a:lnTo>
                  <a:lnTo>
                    <a:pt x="782" y="844"/>
                  </a:lnTo>
                  <a:lnTo>
                    <a:pt x="801" y="844"/>
                  </a:lnTo>
                  <a:lnTo>
                    <a:pt x="809" y="844"/>
                  </a:lnTo>
                  <a:lnTo>
                    <a:pt x="817" y="846"/>
                  </a:lnTo>
                  <a:lnTo>
                    <a:pt x="823" y="850"/>
                  </a:lnTo>
                  <a:lnTo>
                    <a:pt x="830" y="854"/>
                  </a:lnTo>
                  <a:lnTo>
                    <a:pt x="841" y="866"/>
                  </a:lnTo>
                  <a:lnTo>
                    <a:pt x="850" y="881"/>
                  </a:lnTo>
                  <a:lnTo>
                    <a:pt x="861" y="896"/>
                  </a:lnTo>
                  <a:lnTo>
                    <a:pt x="870" y="909"/>
                  </a:lnTo>
                  <a:lnTo>
                    <a:pt x="877" y="916"/>
                  </a:lnTo>
                  <a:lnTo>
                    <a:pt x="882" y="921"/>
                  </a:lnTo>
                  <a:lnTo>
                    <a:pt x="889" y="925"/>
                  </a:lnTo>
                  <a:lnTo>
                    <a:pt x="897" y="928"/>
                  </a:lnTo>
                  <a:lnTo>
                    <a:pt x="897" y="942"/>
                  </a:lnTo>
                  <a:lnTo>
                    <a:pt x="897" y="950"/>
                  </a:lnTo>
                  <a:lnTo>
                    <a:pt x="897" y="958"/>
                  </a:lnTo>
                  <a:lnTo>
                    <a:pt x="897" y="970"/>
                  </a:lnTo>
                  <a:lnTo>
                    <a:pt x="898" y="974"/>
                  </a:lnTo>
                  <a:lnTo>
                    <a:pt x="899" y="981"/>
                  </a:lnTo>
                  <a:lnTo>
                    <a:pt x="903" y="988"/>
                  </a:lnTo>
                  <a:lnTo>
                    <a:pt x="909" y="994"/>
                  </a:lnTo>
                  <a:lnTo>
                    <a:pt x="921" y="1009"/>
                  </a:lnTo>
                  <a:lnTo>
                    <a:pt x="935" y="1024"/>
                  </a:lnTo>
                  <a:lnTo>
                    <a:pt x="951" y="1038"/>
                  </a:lnTo>
                  <a:lnTo>
                    <a:pt x="967" y="1049"/>
                  </a:lnTo>
                  <a:lnTo>
                    <a:pt x="975" y="1054"/>
                  </a:lnTo>
                  <a:lnTo>
                    <a:pt x="982" y="1057"/>
                  </a:lnTo>
                  <a:lnTo>
                    <a:pt x="987" y="1060"/>
                  </a:lnTo>
                  <a:lnTo>
                    <a:pt x="993" y="1060"/>
                  </a:lnTo>
                  <a:lnTo>
                    <a:pt x="1002" y="1058"/>
                  </a:lnTo>
                  <a:lnTo>
                    <a:pt x="1010" y="1056"/>
                  </a:lnTo>
                  <a:lnTo>
                    <a:pt x="1019" y="1049"/>
                  </a:lnTo>
                  <a:lnTo>
                    <a:pt x="1027" y="1041"/>
                  </a:lnTo>
                  <a:lnTo>
                    <a:pt x="1035" y="1032"/>
                  </a:lnTo>
                  <a:lnTo>
                    <a:pt x="1043" y="1022"/>
                  </a:lnTo>
                  <a:lnTo>
                    <a:pt x="1050" y="1012"/>
                  </a:lnTo>
                  <a:lnTo>
                    <a:pt x="1057" y="1000"/>
                  </a:lnTo>
                  <a:lnTo>
                    <a:pt x="1075" y="958"/>
                  </a:lnTo>
                  <a:lnTo>
                    <a:pt x="1083" y="940"/>
                  </a:lnTo>
                  <a:lnTo>
                    <a:pt x="1103" y="940"/>
                  </a:lnTo>
                  <a:lnTo>
                    <a:pt x="1118" y="940"/>
                  </a:lnTo>
                  <a:lnTo>
                    <a:pt x="1131" y="940"/>
                  </a:lnTo>
                  <a:lnTo>
                    <a:pt x="1143" y="940"/>
                  </a:lnTo>
                  <a:lnTo>
                    <a:pt x="1149" y="938"/>
                  </a:lnTo>
                  <a:lnTo>
                    <a:pt x="1153" y="936"/>
                  </a:lnTo>
                  <a:lnTo>
                    <a:pt x="1157" y="932"/>
                  </a:lnTo>
                  <a:lnTo>
                    <a:pt x="1161" y="928"/>
                  </a:lnTo>
                  <a:lnTo>
                    <a:pt x="1169" y="920"/>
                  </a:lnTo>
                  <a:lnTo>
                    <a:pt x="1174" y="916"/>
                  </a:lnTo>
                  <a:lnTo>
                    <a:pt x="1182" y="913"/>
                  </a:lnTo>
                  <a:lnTo>
                    <a:pt x="1191" y="910"/>
                  </a:lnTo>
                  <a:lnTo>
                    <a:pt x="1201" y="909"/>
                  </a:lnTo>
                  <a:lnTo>
                    <a:pt x="1209" y="909"/>
                  </a:lnTo>
                  <a:lnTo>
                    <a:pt x="1225" y="909"/>
                  </a:lnTo>
                  <a:lnTo>
                    <a:pt x="1242" y="912"/>
                  </a:lnTo>
                  <a:lnTo>
                    <a:pt x="1257" y="913"/>
                  </a:lnTo>
                  <a:lnTo>
                    <a:pt x="1271" y="916"/>
                  </a:lnTo>
                  <a:lnTo>
                    <a:pt x="1286" y="917"/>
                  </a:lnTo>
                  <a:lnTo>
                    <a:pt x="1301" y="916"/>
                  </a:lnTo>
                  <a:lnTo>
                    <a:pt x="1307" y="914"/>
                  </a:lnTo>
                  <a:lnTo>
                    <a:pt x="1314" y="912"/>
                  </a:lnTo>
                  <a:lnTo>
                    <a:pt x="1319" y="908"/>
                  </a:lnTo>
                  <a:lnTo>
                    <a:pt x="1323" y="904"/>
                  </a:lnTo>
                  <a:lnTo>
                    <a:pt x="1330" y="894"/>
                  </a:lnTo>
                  <a:lnTo>
                    <a:pt x="1337" y="884"/>
                  </a:lnTo>
                  <a:lnTo>
                    <a:pt x="1342" y="873"/>
                  </a:lnTo>
                  <a:lnTo>
                    <a:pt x="1349" y="861"/>
                  </a:lnTo>
                  <a:lnTo>
                    <a:pt x="1354" y="856"/>
                  </a:lnTo>
                  <a:lnTo>
                    <a:pt x="1359" y="852"/>
                  </a:lnTo>
                  <a:lnTo>
                    <a:pt x="1365" y="848"/>
                  </a:lnTo>
                  <a:lnTo>
                    <a:pt x="1373" y="844"/>
                  </a:lnTo>
                  <a:lnTo>
                    <a:pt x="1369" y="830"/>
                  </a:lnTo>
                  <a:lnTo>
                    <a:pt x="1365" y="816"/>
                  </a:lnTo>
                  <a:lnTo>
                    <a:pt x="1362" y="802"/>
                  </a:lnTo>
                  <a:lnTo>
                    <a:pt x="1361" y="789"/>
                  </a:lnTo>
                  <a:lnTo>
                    <a:pt x="1361" y="784"/>
                  </a:lnTo>
                  <a:lnTo>
                    <a:pt x="1363" y="778"/>
                  </a:lnTo>
                  <a:lnTo>
                    <a:pt x="1366" y="774"/>
                  </a:lnTo>
                  <a:lnTo>
                    <a:pt x="1370" y="770"/>
                  </a:lnTo>
                  <a:lnTo>
                    <a:pt x="1373" y="766"/>
                  </a:lnTo>
                  <a:lnTo>
                    <a:pt x="1375" y="761"/>
                  </a:lnTo>
                  <a:lnTo>
                    <a:pt x="1378" y="754"/>
                  </a:lnTo>
                  <a:lnTo>
                    <a:pt x="1378" y="747"/>
                  </a:lnTo>
                  <a:lnTo>
                    <a:pt x="1377" y="731"/>
                  </a:lnTo>
                  <a:lnTo>
                    <a:pt x="1373" y="713"/>
                  </a:lnTo>
                  <a:lnTo>
                    <a:pt x="1367" y="695"/>
                  </a:lnTo>
                  <a:lnTo>
                    <a:pt x="1361" y="676"/>
                  </a:lnTo>
                  <a:lnTo>
                    <a:pt x="1354" y="659"/>
                  </a:lnTo>
                  <a:lnTo>
                    <a:pt x="1347" y="643"/>
                  </a:lnTo>
                  <a:lnTo>
                    <a:pt x="1343" y="628"/>
                  </a:lnTo>
                  <a:lnTo>
                    <a:pt x="1342" y="615"/>
                  </a:lnTo>
                  <a:lnTo>
                    <a:pt x="1342" y="607"/>
                  </a:lnTo>
                  <a:lnTo>
                    <a:pt x="1342" y="584"/>
                  </a:lnTo>
                  <a:lnTo>
                    <a:pt x="1342" y="572"/>
                  </a:lnTo>
                  <a:lnTo>
                    <a:pt x="1341" y="560"/>
                  </a:lnTo>
                  <a:lnTo>
                    <a:pt x="1339" y="551"/>
                  </a:lnTo>
                  <a:lnTo>
                    <a:pt x="1338" y="541"/>
                  </a:lnTo>
                  <a:lnTo>
                    <a:pt x="1333" y="524"/>
                  </a:lnTo>
                  <a:lnTo>
                    <a:pt x="1325" y="507"/>
                  </a:lnTo>
                  <a:lnTo>
                    <a:pt x="1325" y="440"/>
                  </a:lnTo>
                  <a:lnTo>
                    <a:pt x="1325" y="452"/>
                  </a:lnTo>
                  <a:lnTo>
                    <a:pt x="1301" y="453"/>
                  </a:lnTo>
                  <a:lnTo>
                    <a:pt x="1278" y="457"/>
                  </a:lnTo>
                  <a:lnTo>
                    <a:pt x="1267" y="460"/>
                  </a:lnTo>
                  <a:lnTo>
                    <a:pt x="1257" y="463"/>
                  </a:lnTo>
                  <a:lnTo>
                    <a:pt x="1247" y="467"/>
                  </a:lnTo>
                  <a:lnTo>
                    <a:pt x="1238" y="472"/>
                  </a:lnTo>
                  <a:lnTo>
                    <a:pt x="1230" y="477"/>
                  </a:lnTo>
                  <a:lnTo>
                    <a:pt x="1223" y="483"/>
                  </a:lnTo>
                  <a:lnTo>
                    <a:pt x="1217" y="491"/>
                  </a:lnTo>
                  <a:lnTo>
                    <a:pt x="1211" y="497"/>
                  </a:lnTo>
                  <a:lnTo>
                    <a:pt x="1206" y="507"/>
                  </a:lnTo>
                  <a:lnTo>
                    <a:pt x="1202" y="516"/>
                  </a:lnTo>
                  <a:lnTo>
                    <a:pt x="1199" y="525"/>
                  </a:lnTo>
                  <a:lnTo>
                    <a:pt x="1198" y="536"/>
                  </a:lnTo>
                  <a:lnTo>
                    <a:pt x="1162" y="536"/>
                  </a:lnTo>
                  <a:lnTo>
                    <a:pt x="1163" y="519"/>
                  </a:lnTo>
                  <a:lnTo>
                    <a:pt x="1167" y="503"/>
                  </a:lnTo>
                  <a:lnTo>
                    <a:pt x="1171" y="487"/>
                  </a:lnTo>
                  <a:lnTo>
                    <a:pt x="1174" y="471"/>
                  </a:lnTo>
                  <a:lnTo>
                    <a:pt x="1173" y="460"/>
                  </a:lnTo>
                  <a:lnTo>
                    <a:pt x="1169" y="452"/>
                  </a:lnTo>
                  <a:lnTo>
                    <a:pt x="1165" y="444"/>
                  </a:lnTo>
                  <a:lnTo>
                    <a:pt x="1158" y="437"/>
                  </a:lnTo>
                  <a:lnTo>
                    <a:pt x="1153" y="432"/>
                  </a:lnTo>
                  <a:lnTo>
                    <a:pt x="1149" y="425"/>
                  </a:lnTo>
                  <a:lnTo>
                    <a:pt x="1145" y="419"/>
                  </a:lnTo>
                  <a:lnTo>
                    <a:pt x="1143" y="409"/>
                  </a:lnTo>
                  <a:lnTo>
                    <a:pt x="1145" y="401"/>
                  </a:lnTo>
                  <a:lnTo>
                    <a:pt x="1146" y="393"/>
                  </a:lnTo>
                  <a:lnTo>
                    <a:pt x="1149" y="387"/>
                  </a:lnTo>
                  <a:lnTo>
                    <a:pt x="1153" y="380"/>
                  </a:lnTo>
                  <a:lnTo>
                    <a:pt x="1155" y="375"/>
                  </a:lnTo>
                  <a:lnTo>
                    <a:pt x="1159" y="368"/>
                  </a:lnTo>
                  <a:lnTo>
                    <a:pt x="1161" y="363"/>
                  </a:lnTo>
                  <a:lnTo>
                    <a:pt x="1162" y="356"/>
                  </a:lnTo>
                  <a:lnTo>
                    <a:pt x="1161" y="349"/>
                  </a:lnTo>
                  <a:lnTo>
                    <a:pt x="1161" y="343"/>
                  </a:lnTo>
                  <a:lnTo>
                    <a:pt x="1158" y="336"/>
                  </a:lnTo>
                  <a:lnTo>
                    <a:pt x="1155" y="331"/>
                  </a:lnTo>
                  <a:lnTo>
                    <a:pt x="1151" y="327"/>
                  </a:lnTo>
                  <a:lnTo>
                    <a:pt x="1146" y="323"/>
                  </a:lnTo>
                  <a:lnTo>
                    <a:pt x="1139" y="320"/>
                  </a:lnTo>
                  <a:lnTo>
                    <a:pt x="1131" y="320"/>
                  </a:lnTo>
                  <a:lnTo>
                    <a:pt x="1117" y="321"/>
                  </a:lnTo>
                  <a:lnTo>
                    <a:pt x="1103" y="324"/>
                  </a:lnTo>
                  <a:lnTo>
                    <a:pt x="1090" y="329"/>
                  </a:lnTo>
                  <a:lnTo>
                    <a:pt x="1077" y="335"/>
                  </a:lnTo>
                  <a:lnTo>
                    <a:pt x="1065" y="340"/>
                  </a:lnTo>
                  <a:lnTo>
                    <a:pt x="1051" y="345"/>
                  </a:lnTo>
                  <a:lnTo>
                    <a:pt x="1038" y="348"/>
                  </a:lnTo>
                  <a:lnTo>
                    <a:pt x="1023" y="349"/>
                  </a:lnTo>
                  <a:lnTo>
                    <a:pt x="1010" y="349"/>
                  </a:lnTo>
                  <a:lnTo>
                    <a:pt x="998" y="347"/>
                  </a:lnTo>
                  <a:lnTo>
                    <a:pt x="986" y="344"/>
                  </a:lnTo>
                  <a:lnTo>
                    <a:pt x="975" y="340"/>
                  </a:lnTo>
                  <a:lnTo>
                    <a:pt x="954" y="331"/>
                  </a:lnTo>
                  <a:lnTo>
                    <a:pt x="935" y="319"/>
                  </a:lnTo>
                  <a:lnTo>
                    <a:pt x="918" y="307"/>
                  </a:lnTo>
                  <a:lnTo>
                    <a:pt x="901" y="296"/>
                  </a:lnTo>
                  <a:lnTo>
                    <a:pt x="893" y="292"/>
                  </a:lnTo>
                  <a:lnTo>
                    <a:pt x="885" y="288"/>
                  </a:lnTo>
                  <a:lnTo>
                    <a:pt x="875" y="285"/>
                  </a:lnTo>
                  <a:lnTo>
                    <a:pt x="866" y="284"/>
                  </a:lnTo>
                  <a:lnTo>
                    <a:pt x="839" y="284"/>
                  </a:lnTo>
                  <a:lnTo>
                    <a:pt x="808" y="285"/>
                  </a:lnTo>
                  <a:lnTo>
                    <a:pt x="793" y="284"/>
                  </a:lnTo>
                  <a:lnTo>
                    <a:pt x="778" y="284"/>
                  </a:lnTo>
                  <a:lnTo>
                    <a:pt x="766" y="281"/>
                  </a:lnTo>
                  <a:lnTo>
                    <a:pt x="758" y="277"/>
                  </a:lnTo>
                  <a:lnTo>
                    <a:pt x="752" y="271"/>
                  </a:lnTo>
                  <a:lnTo>
                    <a:pt x="748" y="263"/>
                  </a:lnTo>
                  <a:lnTo>
                    <a:pt x="742" y="255"/>
                  </a:lnTo>
                  <a:lnTo>
                    <a:pt x="740" y="247"/>
                  </a:lnTo>
                  <a:lnTo>
                    <a:pt x="734" y="229"/>
                  </a:lnTo>
                  <a:lnTo>
                    <a:pt x="730" y="212"/>
                  </a:lnTo>
                  <a:lnTo>
                    <a:pt x="725" y="195"/>
                  </a:lnTo>
                  <a:lnTo>
                    <a:pt x="717" y="179"/>
                  </a:lnTo>
                  <a:lnTo>
                    <a:pt x="713" y="171"/>
                  </a:lnTo>
                  <a:lnTo>
                    <a:pt x="708" y="164"/>
                  </a:lnTo>
                  <a:lnTo>
                    <a:pt x="701" y="158"/>
                  </a:lnTo>
                  <a:lnTo>
                    <a:pt x="692" y="151"/>
                  </a:lnTo>
                  <a:lnTo>
                    <a:pt x="649" y="127"/>
                  </a:lnTo>
                  <a:lnTo>
                    <a:pt x="602" y="102"/>
                  </a:lnTo>
                  <a:lnTo>
                    <a:pt x="576" y="91"/>
                  </a:lnTo>
                  <a:lnTo>
                    <a:pt x="550" y="80"/>
                  </a:lnTo>
                  <a:lnTo>
                    <a:pt x="522" y="72"/>
                  </a:lnTo>
                  <a:lnTo>
                    <a:pt x="493" y="67"/>
                  </a:lnTo>
                  <a:lnTo>
                    <a:pt x="457" y="60"/>
                  </a:lnTo>
                  <a:lnTo>
                    <a:pt x="400" y="50"/>
                  </a:lnTo>
                  <a:lnTo>
                    <a:pt x="370" y="43"/>
                  </a:lnTo>
                  <a:lnTo>
                    <a:pt x="345" y="35"/>
                  </a:lnTo>
                  <a:lnTo>
                    <a:pt x="334" y="31"/>
                  </a:lnTo>
                  <a:lnTo>
                    <a:pt x="326" y="27"/>
                  </a:lnTo>
                  <a:lnTo>
                    <a:pt x="321" y="23"/>
                  </a:lnTo>
                  <a:lnTo>
                    <a:pt x="318" y="19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Freeform 44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4271963" y="4116388"/>
              <a:ext cx="287337" cy="422275"/>
            </a:xfrm>
            <a:custGeom>
              <a:avLst/>
              <a:gdLst/>
              <a:ahLst/>
              <a:cxnLst>
                <a:cxn ang="0">
                  <a:pos x="591" y="1089"/>
                </a:cxn>
                <a:cxn ang="0">
                  <a:pos x="621" y="1045"/>
                </a:cxn>
                <a:cxn ang="0">
                  <a:pos x="623" y="993"/>
                </a:cxn>
                <a:cxn ang="0">
                  <a:pos x="597" y="915"/>
                </a:cxn>
                <a:cxn ang="0">
                  <a:pos x="583" y="849"/>
                </a:cxn>
                <a:cxn ang="0">
                  <a:pos x="610" y="779"/>
                </a:cxn>
                <a:cxn ang="0">
                  <a:pos x="663" y="704"/>
                </a:cxn>
                <a:cxn ang="0">
                  <a:pos x="665" y="657"/>
                </a:cxn>
                <a:cxn ang="0">
                  <a:pos x="645" y="633"/>
                </a:cxn>
                <a:cxn ang="0">
                  <a:pos x="598" y="625"/>
                </a:cxn>
                <a:cxn ang="0">
                  <a:pos x="539" y="624"/>
                </a:cxn>
                <a:cxn ang="0">
                  <a:pos x="537" y="593"/>
                </a:cxn>
                <a:cxn ang="0">
                  <a:pos x="566" y="511"/>
                </a:cxn>
                <a:cxn ang="0">
                  <a:pos x="567" y="458"/>
                </a:cxn>
                <a:cxn ang="0">
                  <a:pos x="541" y="408"/>
                </a:cxn>
                <a:cxn ang="0">
                  <a:pos x="535" y="376"/>
                </a:cxn>
                <a:cxn ang="0">
                  <a:pos x="553" y="358"/>
                </a:cxn>
                <a:cxn ang="0">
                  <a:pos x="590" y="320"/>
                </a:cxn>
                <a:cxn ang="0">
                  <a:pos x="633" y="292"/>
                </a:cxn>
                <a:cxn ang="0">
                  <a:pos x="655" y="259"/>
                </a:cxn>
                <a:cxn ang="0">
                  <a:pos x="642" y="186"/>
                </a:cxn>
                <a:cxn ang="0">
                  <a:pos x="598" y="122"/>
                </a:cxn>
                <a:cxn ang="0">
                  <a:pos x="571" y="67"/>
                </a:cxn>
                <a:cxn ang="0">
                  <a:pos x="553" y="2"/>
                </a:cxn>
                <a:cxn ang="0">
                  <a:pos x="511" y="19"/>
                </a:cxn>
                <a:cxn ang="0">
                  <a:pos x="475" y="55"/>
                </a:cxn>
                <a:cxn ang="0">
                  <a:pos x="435" y="58"/>
                </a:cxn>
                <a:cxn ang="0">
                  <a:pos x="366" y="36"/>
                </a:cxn>
                <a:cxn ang="0">
                  <a:pos x="313" y="39"/>
                </a:cxn>
                <a:cxn ang="0">
                  <a:pos x="271" y="34"/>
                </a:cxn>
                <a:cxn ang="0">
                  <a:pos x="226" y="48"/>
                </a:cxn>
                <a:cxn ang="0">
                  <a:pos x="188" y="60"/>
                </a:cxn>
                <a:cxn ang="0">
                  <a:pos x="125" y="120"/>
                </a:cxn>
                <a:cxn ang="0">
                  <a:pos x="70" y="130"/>
                </a:cxn>
                <a:cxn ang="0">
                  <a:pos x="0" y="218"/>
                </a:cxn>
                <a:cxn ang="0">
                  <a:pos x="17" y="283"/>
                </a:cxn>
                <a:cxn ang="0">
                  <a:pos x="22" y="354"/>
                </a:cxn>
                <a:cxn ang="0">
                  <a:pos x="52" y="442"/>
                </a:cxn>
                <a:cxn ang="0">
                  <a:pos x="45" y="481"/>
                </a:cxn>
                <a:cxn ang="0">
                  <a:pos x="37" y="517"/>
                </a:cxn>
                <a:cxn ang="0">
                  <a:pos x="65" y="588"/>
                </a:cxn>
                <a:cxn ang="0">
                  <a:pos x="153" y="661"/>
                </a:cxn>
                <a:cxn ang="0">
                  <a:pos x="202" y="713"/>
                </a:cxn>
                <a:cxn ang="0">
                  <a:pos x="244" y="797"/>
                </a:cxn>
                <a:cxn ang="0">
                  <a:pos x="285" y="824"/>
                </a:cxn>
                <a:cxn ang="0">
                  <a:pos x="290" y="848"/>
                </a:cxn>
                <a:cxn ang="0">
                  <a:pos x="270" y="880"/>
                </a:cxn>
                <a:cxn ang="0">
                  <a:pos x="283" y="905"/>
                </a:cxn>
                <a:cxn ang="0">
                  <a:pos x="310" y="936"/>
                </a:cxn>
                <a:cxn ang="0">
                  <a:pos x="309" y="964"/>
                </a:cxn>
                <a:cxn ang="0">
                  <a:pos x="301" y="988"/>
                </a:cxn>
                <a:cxn ang="0">
                  <a:pos x="315" y="1031"/>
                </a:cxn>
                <a:cxn ang="0">
                  <a:pos x="373" y="1056"/>
                </a:cxn>
                <a:cxn ang="0">
                  <a:pos x="473" y="1072"/>
                </a:cxn>
                <a:cxn ang="0">
                  <a:pos x="509" y="1098"/>
                </a:cxn>
                <a:cxn ang="0">
                  <a:pos x="517" y="1138"/>
                </a:cxn>
              </a:cxnLst>
              <a:rect l="0" t="0" r="r" b="b"/>
              <a:pathLst>
                <a:path w="667" h="1138">
                  <a:moveTo>
                    <a:pt x="517" y="1138"/>
                  </a:moveTo>
                  <a:lnTo>
                    <a:pt x="537" y="1126"/>
                  </a:lnTo>
                  <a:lnTo>
                    <a:pt x="557" y="1116"/>
                  </a:lnTo>
                  <a:lnTo>
                    <a:pt x="575" y="1102"/>
                  </a:lnTo>
                  <a:lnTo>
                    <a:pt x="591" y="1089"/>
                  </a:lnTo>
                  <a:lnTo>
                    <a:pt x="599" y="1081"/>
                  </a:lnTo>
                  <a:lnTo>
                    <a:pt x="606" y="1073"/>
                  </a:lnTo>
                  <a:lnTo>
                    <a:pt x="611" y="1065"/>
                  </a:lnTo>
                  <a:lnTo>
                    <a:pt x="617" y="1056"/>
                  </a:lnTo>
                  <a:lnTo>
                    <a:pt x="621" y="1045"/>
                  </a:lnTo>
                  <a:lnTo>
                    <a:pt x="623" y="1036"/>
                  </a:lnTo>
                  <a:lnTo>
                    <a:pt x="625" y="1024"/>
                  </a:lnTo>
                  <a:lnTo>
                    <a:pt x="626" y="1012"/>
                  </a:lnTo>
                  <a:lnTo>
                    <a:pt x="625" y="1003"/>
                  </a:lnTo>
                  <a:lnTo>
                    <a:pt x="623" y="993"/>
                  </a:lnTo>
                  <a:lnTo>
                    <a:pt x="622" y="984"/>
                  </a:lnTo>
                  <a:lnTo>
                    <a:pt x="619" y="975"/>
                  </a:lnTo>
                  <a:lnTo>
                    <a:pt x="613" y="956"/>
                  </a:lnTo>
                  <a:lnTo>
                    <a:pt x="605" y="936"/>
                  </a:lnTo>
                  <a:lnTo>
                    <a:pt x="597" y="915"/>
                  </a:lnTo>
                  <a:lnTo>
                    <a:pt x="590" y="893"/>
                  </a:lnTo>
                  <a:lnTo>
                    <a:pt x="587" y="883"/>
                  </a:lnTo>
                  <a:lnTo>
                    <a:pt x="585" y="872"/>
                  </a:lnTo>
                  <a:lnTo>
                    <a:pt x="583" y="861"/>
                  </a:lnTo>
                  <a:lnTo>
                    <a:pt x="583" y="849"/>
                  </a:lnTo>
                  <a:lnTo>
                    <a:pt x="585" y="836"/>
                  </a:lnTo>
                  <a:lnTo>
                    <a:pt x="587" y="823"/>
                  </a:lnTo>
                  <a:lnTo>
                    <a:pt x="591" y="811"/>
                  </a:lnTo>
                  <a:lnTo>
                    <a:pt x="597" y="800"/>
                  </a:lnTo>
                  <a:lnTo>
                    <a:pt x="610" y="779"/>
                  </a:lnTo>
                  <a:lnTo>
                    <a:pt x="626" y="760"/>
                  </a:lnTo>
                  <a:lnTo>
                    <a:pt x="641" y="743"/>
                  </a:lnTo>
                  <a:lnTo>
                    <a:pt x="654" y="724"/>
                  </a:lnTo>
                  <a:lnTo>
                    <a:pt x="659" y="715"/>
                  </a:lnTo>
                  <a:lnTo>
                    <a:pt x="663" y="704"/>
                  </a:lnTo>
                  <a:lnTo>
                    <a:pt x="666" y="693"/>
                  </a:lnTo>
                  <a:lnTo>
                    <a:pt x="667" y="681"/>
                  </a:lnTo>
                  <a:lnTo>
                    <a:pt x="667" y="672"/>
                  </a:lnTo>
                  <a:lnTo>
                    <a:pt x="666" y="664"/>
                  </a:lnTo>
                  <a:lnTo>
                    <a:pt x="665" y="657"/>
                  </a:lnTo>
                  <a:lnTo>
                    <a:pt x="662" y="651"/>
                  </a:lnTo>
                  <a:lnTo>
                    <a:pt x="659" y="645"/>
                  </a:lnTo>
                  <a:lnTo>
                    <a:pt x="655" y="641"/>
                  </a:lnTo>
                  <a:lnTo>
                    <a:pt x="650" y="637"/>
                  </a:lnTo>
                  <a:lnTo>
                    <a:pt x="645" y="633"/>
                  </a:lnTo>
                  <a:lnTo>
                    <a:pt x="639" y="631"/>
                  </a:lnTo>
                  <a:lnTo>
                    <a:pt x="633" y="628"/>
                  </a:lnTo>
                  <a:lnTo>
                    <a:pt x="625" y="627"/>
                  </a:lnTo>
                  <a:lnTo>
                    <a:pt x="617" y="625"/>
                  </a:lnTo>
                  <a:lnTo>
                    <a:pt x="598" y="625"/>
                  </a:lnTo>
                  <a:lnTo>
                    <a:pt x="577" y="627"/>
                  </a:lnTo>
                  <a:lnTo>
                    <a:pt x="563" y="628"/>
                  </a:lnTo>
                  <a:lnTo>
                    <a:pt x="550" y="629"/>
                  </a:lnTo>
                  <a:lnTo>
                    <a:pt x="543" y="628"/>
                  </a:lnTo>
                  <a:lnTo>
                    <a:pt x="539" y="624"/>
                  </a:lnTo>
                  <a:lnTo>
                    <a:pt x="538" y="621"/>
                  </a:lnTo>
                  <a:lnTo>
                    <a:pt x="537" y="617"/>
                  </a:lnTo>
                  <a:lnTo>
                    <a:pt x="535" y="613"/>
                  </a:lnTo>
                  <a:lnTo>
                    <a:pt x="535" y="608"/>
                  </a:lnTo>
                  <a:lnTo>
                    <a:pt x="537" y="593"/>
                  </a:lnTo>
                  <a:lnTo>
                    <a:pt x="541" y="577"/>
                  </a:lnTo>
                  <a:lnTo>
                    <a:pt x="546" y="561"/>
                  </a:lnTo>
                  <a:lnTo>
                    <a:pt x="553" y="544"/>
                  </a:lnTo>
                  <a:lnTo>
                    <a:pt x="559" y="528"/>
                  </a:lnTo>
                  <a:lnTo>
                    <a:pt x="566" y="511"/>
                  </a:lnTo>
                  <a:lnTo>
                    <a:pt x="570" y="493"/>
                  </a:lnTo>
                  <a:lnTo>
                    <a:pt x="571" y="476"/>
                  </a:lnTo>
                  <a:lnTo>
                    <a:pt x="571" y="469"/>
                  </a:lnTo>
                  <a:lnTo>
                    <a:pt x="570" y="463"/>
                  </a:lnTo>
                  <a:lnTo>
                    <a:pt x="567" y="458"/>
                  </a:lnTo>
                  <a:lnTo>
                    <a:pt x="566" y="452"/>
                  </a:lnTo>
                  <a:lnTo>
                    <a:pt x="559" y="442"/>
                  </a:lnTo>
                  <a:lnTo>
                    <a:pt x="553" y="431"/>
                  </a:lnTo>
                  <a:lnTo>
                    <a:pt x="546" y="419"/>
                  </a:lnTo>
                  <a:lnTo>
                    <a:pt x="541" y="408"/>
                  </a:lnTo>
                  <a:lnTo>
                    <a:pt x="538" y="402"/>
                  </a:lnTo>
                  <a:lnTo>
                    <a:pt x="537" y="395"/>
                  </a:lnTo>
                  <a:lnTo>
                    <a:pt x="535" y="387"/>
                  </a:lnTo>
                  <a:lnTo>
                    <a:pt x="535" y="380"/>
                  </a:lnTo>
                  <a:lnTo>
                    <a:pt x="535" y="376"/>
                  </a:lnTo>
                  <a:lnTo>
                    <a:pt x="537" y="372"/>
                  </a:lnTo>
                  <a:lnTo>
                    <a:pt x="538" y="368"/>
                  </a:lnTo>
                  <a:lnTo>
                    <a:pt x="541" y="366"/>
                  </a:lnTo>
                  <a:lnTo>
                    <a:pt x="546" y="362"/>
                  </a:lnTo>
                  <a:lnTo>
                    <a:pt x="553" y="358"/>
                  </a:lnTo>
                  <a:lnTo>
                    <a:pt x="569" y="351"/>
                  </a:lnTo>
                  <a:lnTo>
                    <a:pt x="583" y="344"/>
                  </a:lnTo>
                  <a:lnTo>
                    <a:pt x="585" y="335"/>
                  </a:lnTo>
                  <a:lnTo>
                    <a:pt x="586" y="327"/>
                  </a:lnTo>
                  <a:lnTo>
                    <a:pt x="590" y="320"/>
                  </a:lnTo>
                  <a:lnTo>
                    <a:pt x="594" y="315"/>
                  </a:lnTo>
                  <a:lnTo>
                    <a:pt x="606" y="307"/>
                  </a:lnTo>
                  <a:lnTo>
                    <a:pt x="619" y="300"/>
                  </a:lnTo>
                  <a:lnTo>
                    <a:pt x="626" y="296"/>
                  </a:lnTo>
                  <a:lnTo>
                    <a:pt x="633" y="292"/>
                  </a:lnTo>
                  <a:lnTo>
                    <a:pt x="639" y="288"/>
                  </a:lnTo>
                  <a:lnTo>
                    <a:pt x="645" y="283"/>
                  </a:lnTo>
                  <a:lnTo>
                    <a:pt x="649" y="276"/>
                  </a:lnTo>
                  <a:lnTo>
                    <a:pt x="653" y="268"/>
                  </a:lnTo>
                  <a:lnTo>
                    <a:pt x="655" y="259"/>
                  </a:lnTo>
                  <a:lnTo>
                    <a:pt x="655" y="247"/>
                  </a:lnTo>
                  <a:lnTo>
                    <a:pt x="654" y="230"/>
                  </a:lnTo>
                  <a:lnTo>
                    <a:pt x="651" y="214"/>
                  </a:lnTo>
                  <a:lnTo>
                    <a:pt x="647" y="199"/>
                  </a:lnTo>
                  <a:lnTo>
                    <a:pt x="642" y="186"/>
                  </a:lnTo>
                  <a:lnTo>
                    <a:pt x="635" y="174"/>
                  </a:lnTo>
                  <a:lnTo>
                    <a:pt x="629" y="162"/>
                  </a:lnTo>
                  <a:lnTo>
                    <a:pt x="621" y="151"/>
                  </a:lnTo>
                  <a:lnTo>
                    <a:pt x="614" y="142"/>
                  </a:lnTo>
                  <a:lnTo>
                    <a:pt x="598" y="122"/>
                  </a:lnTo>
                  <a:lnTo>
                    <a:pt x="585" y="104"/>
                  </a:lnTo>
                  <a:lnTo>
                    <a:pt x="579" y="95"/>
                  </a:lnTo>
                  <a:lnTo>
                    <a:pt x="575" y="86"/>
                  </a:lnTo>
                  <a:lnTo>
                    <a:pt x="573" y="76"/>
                  </a:lnTo>
                  <a:lnTo>
                    <a:pt x="571" y="67"/>
                  </a:lnTo>
                  <a:lnTo>
                    <a:pt x="570" y="55"/>
                  </a:lnTo>
                  <a:lnTo>
                    <a:pt x="569" y="38"/>
                  </a:lnTo>
                  <a:lnTo>
                    <a:pt x="566" y="19"/>
                  </a:lnTo>
                  <a:lnTo>
                    <a:pt x="565" y="0"/>
                  </a:lnTo>
                  <a:lnTo>
                    <a:pt x="553" y="2"/>
                  </a:lnTo>
                  <a:lnTo>
                    <a:pt x="542" y="3"/>
                  </a:lnTo>
                  <a:lnTo>
                    <a:pt x="533" y="6"/>
                  </a:lnTo>
                  <a:lnTo>
                    <a:pt x="525" y="10"/>
                  </a:lnTo>
                  <a:lnTo>
                    <a:pt x="518" y="15"/>
                  </a:lnTo>
                  <a:lnTo>
                    <a:pt x="511" y="19"/>
                  </a:lnTo>
                  <a:lnTo>
                    <a:pt x="506" y="24"/>
                  </a:lnTo>
                  <a:lnTo>
                    <a:pt x="501" y="31"/>
                  </a:lnTo>
                  <a:lnTo>
                    <a:pt x="491" y="42"/>
                  </a:lnTo>
                  <a:lnTo>
                    <a:pt x="481" y="51"/>
                  </a:lnTo>
                  <a:lnTo>
                    <a:pt x="475" y="55"/>
                  </a:lnTo>
                  <a:lnTo>
                    <a:pt x="469" y="58"/>
                  </a:lnTo>
                  <a:lnTo>
                    <a:pt x="461" y="60"/>
                  </a:lnTo>
                  <a:lnTo>
                    <a:pt x="451" y="60"/>
                  </a:lnTo>
                  <a:lnTo>
                    <a:pt x="442" y="60"/>
                  </a:lnTo>
                  <a:lnTo>
                    <a:pt x="435" y="58"/>
                  </a:lnTo>
                  <a:lnTo>
                    <a:pt x="430" y="55"/>
                  </a:lnTo>
                  <a:lnTo>
                    <a:pt x="425" y="51"/>
                  </a:lnTo>
                  <a:lnTo>
                    <a:pt x="417" y="43"/>
                  </a:lnTo>
                  <a:lnTo>
                    <a:pt x="409" y="36"/>
                  </a:lnTo>
                  <a:lnTo>
                    <a:pt x="366" y="36"/>
                  </a:lnTo>
                  <a:lnTo>
                    <a:pt x="366" y="60"/>
                  </a:lnTo>
                  <a:lnTo>
                    <a:pt x="337" y="60"/>
                  </a:lnTo>
                  <a:lnTo>
                    <a:pt x="327" y="54"/>
                  </a:lnTo>
                  <a:lnTo>
                    <a:pt x="318" y="43"/>
                  </a:lnTo>
                  <a:lnTo>
                    <a:pt x="313" y="39"/>
                  </a:lnTo>
                  <a:lnTo>
                    <a:pt x="306" y="35"/>
                  </a:lnTo>
                  <a:lnTo>
                    <a:pt x="301" y="31"/>
                  </a:lnTo>
                  <a:lnTo>
                    <a:pt x="294" y="31"/>
                  </a:lnTo>
                  <a:lnTo>
                    <a:pt x="282" y="31"/>
                  </a:lnTo>
                  <a:lnTo>
                    <a:pt x="271" y="34"/>
                  </a:lnTo>
                  <a:lnTo>
                    <a:pt x="262" y="36"/>
                  </a:lnTo>
                  <a:lnTo>
                    <a:pt x="253" y="39"/>
                  </a:lnTo>
                  <a:lnTo>
                    <a:pt x="245" y="43"/>
                  </a:lnTo>
                  <a:lnTo>
                    <a:pt x="236" y="46"/>
                  </a:lnTo>
                  <a:lnTo>
                    <a:pt x="226" y="48"/>
                  </a:lnTo>
                  <a:lnTo>
                    <a:pt x="216" y="48"/>
                  </a:lnTo>
                  <a:lnTo>
                    <a:pt x="209" y="50"/>
                  </a:lnTo>
                  <a:lnTo>
                    <a:pt x="201" y="52"/>
                  </a:lnTo>
                  <a:lnTo>
                    <a:pt x="194" y="56"/>
                  </a:lnTo>
                  <a:lnTo>
                    <a:pt x="188" y="60"/>
                  </a:lnTo>
                  <a:lnTo>
                    <a:pt x="176" y="74"/>
                  </a:lnTo>
                  <a:lnTo>
                    <a:pt x="162" y="88"/>
                  </a:lnTo>
                  <a:lnTo>
                    <a:pt x="149" y="102"/>
                  </a:lnTo>
                  <a:lnTo>
                    <a:pt x="134" y="115"/>
                  </a:lnTo>
                  <a:lnTo>
                    <a:pt x="125" y="120"/>
                  </a:lnTo>
                  <a:lnTo>
                    <a:pt x="117" y="123"/>
                  </a:lnTo>
                  <a:lnTo>
                    <a:pt x="106" y="126"/>
                  </a:lnTo>
                  <a:lnTo>
                    <a:pt x="96" y="127"/>
                  </a:lnTo>
                  <a:lnTo>
                    <a:pt x="82" y="128"/>
                  </a:lnTo>
                  <a:lnTo>
                    <a:pt x="70" y="130"/>
                  </a:lnTo>
                  <a:lnTo>
                    <a:pt x="58" y="132"/>
                  </a:lnTo>
                  <a:lnTo>
                    <a:pt x="48" y="136"/>
                  </a:lnTo>
                  <a:lnTo>
                    <a:pt x="25" y="144"/>
                  </a:lnTo>
                  <a:lnTo>
                    <a:pt x="0" y="151"/>
                  </a:lnTo>
                  <a:lnTo>
                    <a:pt x="0" y="218"/>
                  </a:lnTo>
                  <a:lnTo>
                    <a:pt x="8" y="235"/>
                  </a:lnTo>
                  <a:lnTo>
                    <a:pt x="13" y="252"/>
                  </a:lnTo>
                  <a:lnTo>
                    <a:pt x="14" y="262"/>
                  </a:lnTo>
                  <a:lnTo>
                    <a:pt x="16" y="271"/>
                  </a:lnTo>
                  <a:lnTo>
                    <a:pt x="17" y="283"/>
                  </a:lnTo>
                  <a:lnTo>
                    <a:pt x="17" y="295"/>
                  </a:lnTo>
                  <a:lnTo>
                    <a:pt x="17" y="318"/>
                  </a:lnTo>
                  <a:lnTo>
                    <a:pt x="17" y="326"/>
                  </a:lnTo>
                  <a:lnTo>
                    <a:pt x="18" y="339"/>
                  </a:lnTo>
                  <a:lnTo>
                    <a:pt x="22" y="354"/>
                  </a:lnTo>
                  <a:lnTo>
                    <a:pt x="29" y="370"/>
                  </a:lnTo>
                  <a:lnTo>
                    <a:pt x="36" y="387"/>
                  </a:lnTo>
                  <a:lnTo>
                    <a:pt x="42" y="406"/>
                  </a:lnTo>
                  <a:lnTo>
                    <a:pt x="48" y="424"/>
                  </a:lnTo>
                  <a:lnTo>
                    <a:pt x="52" y="442"/>
                  </a:lnTo>
                  <a:lnTo>
                    <a:pt x="53" y="458"/>
                  </a:lnTo>
                  <a:lnTo>
                    <a:pt x="53" y="465"/>
                  </a:lnTo>
                  <a:lnTo>
                    <a:pt x="50" y="472"/>
                  </a:lnTo>
                  <a:lnTo>
                    <a:pt x="48" y="477"/>
                  </a:lnTo>
                  <a:lnTo>
                    <a:pt x="45" y="481"/>
                  </a:lnTo>
                  <a:lnTo>
                    <a:pt x="41" y="485"/>
                  </a:lnTo>
                  <a:lnTo>
                    <a:pt x="38" y="489"/>
                  </a:lnTo>
                  <a:lnTo>
                    <a:pt x="36" y="495"/>
                  </a:lnTo>
                  <a:lnTo>
                    <a:pt x="36" y="500"/>
                  </a:lnTo>
                  <a:lnTo>
                    <a:pt x="37" y="517"/>
                  </a:lnTo>
                  <a:lnTo>
                    <a:pt x="40" y="533"/>
                  </a:lnTo>
                  <a:lnTo>
                    <a:pt x="44" y="549"/>
                  </a:lnTo>
                  <a:lnTo>
                    <a:pt x="49" y="563"/>
                  </a:lnTo>
                  <a:lnTo>
                    <a:pt x="57" y="576"/>
                  </a:lnTo>
                  <a:lnTo>
                    <a:pt x="65" y="588"/>
                  </a:lnTo>
                  <a:lnTo>
                    <a:pt x="74" y="600"/>
                  </a:lnTo>
                  <a:lnTo>
                    <a:pt x="85" y="611"/>
                  </a:lnTo>
                  <a:lnTo>
                    <a:pt x="106" y="629"/>
                  </a:lnTo>
                  <a:lnTo>
                    <a:pt x="129" y="645"/>
                  </a:lnTo>
                  <a:lnTo>
                    <a:pt x="153" y="661"/>
                  </a:lnTo>
                  <a:lnTo>
                    <a:pt x="174" y="675"/>
                  </a:lnTo>
                  <a:lnTo>
                    <a:pt x="182" y="683"/>
                  </a:lnTo>
                  <a:lnTo>
                    <a:pt x="190" y="692"/>
                  </a:lnTo>
                  <a:lnTo>
                    <a:pt x="196" y="703"/>
                  </a:lnTo>
                  <a:lnTo>
                    <a:pt x="202" y="713"/>
                  </a:lnTo>
                  <a:lnTo>
                    <a:pt x="213" y="739"/>
                  </a:lnTo>
                  <a:lnTo>
                    <a:pt x="224" y="764"/>
                  </a:lnTo>
                  <a:lnTo>
                    <a:pt x="229" y="776"/>
                  </a:lnTo>
                  <a:lnTo>
                    <a:pt x="236" y="787"/>
                  </a:lnTo>
                  <a:lnTo>
                    <a:pt x="244" y="797"/>
                  </a:lnTo>
                  <a:lnTo>
                    <a:pt x="252" y="807"/>
                  </a:lnTo>
                  <a:lnTo>
                    <a:pt x="261" y="815"/>
                  </a:lnTo>
                  <a:lnTo>
                    <a:pt x="273" y="820"/>
                  </a:lnTo>
                  <a:lnTo>
                    <a:pt x="278" y="823"/>
                  </a:lnTo>
                  <a:lnTo>
                    <a:pt x="285" y="824"/>
                  </a:lnTo>
                  <a:lnTo>
                    <a:pt x="293" y="825"/>
                  </a:lnTo>
                  <a:lnTo>
                    <a:pt x="301" y="825"/>
                  </a:lnTo>
                  <a:lnTo>
                    <a:pt x="299" y="833"/>
                  </a:lnTo>
                  <a:lnTo>
                    <a:pt x="295" y="841"/>
                  </a:lnTo>
                  <a:lnTo>
                    <a:pt x="290" y="848"/>
                  </a:lnTo>
                  <a:lnTo>
                    <a:pt x="285" y="855"/>
                  </a:lnTo>
                  <a:lnTo>
                    <a:pt x="279" y="861"/>
                  </a:lnTo>
                  <a:lnTo>
                    <a:pt x="275" y="867"/>
                  </a:lnTo>
                  <a:lnTo>
                    <a:pt x="271" y="873"/>
                  </a:lnTo>
                  <a:lnTo>
                    <a:pt x="270" y="880"/>
                  </a:lnTo>
                  <a:lnTo>
                    <a:pt x="270" y="885"/>
                  </a:lnTo>
                  <a:lnTo>
                    <a:pt x="271" y="889"/>
                  </a:lnTo>
                  <a:lnTo>
                    <a:pt x="274" y="895"/>
                  </a:lnTo>
                  <a:lnTo>
                    <a:pt x="277" y="899"/>
                  </a:lnTo>
                  <a:lnTo>
                    <a:pt x="283" y="905"/>
                  </a:lnTo>
                  <a:lnTo>
                    <a:pt x="291" y="913"/>
                  </a:lnTo>
                  <a:lnTo>
                    <a:pt x="299" y="920"/>
                  </a:lnTo>
                  <a:lnTo>
                    <a:pt x="306" y="927"/>
                  </a:lnTo>
                  <a:lnTo>
                    <a:pt x="309" y="931"/>
                  </a:lnTo>
                  <a:lnTo>
                    <a:pt x="310" y="936"/>
                  </a:lnTo>
                  <a:lnTo>
                    <a:pt x="311" y="940"/>
                  </a:lnTo>
                  <a:lnTo>
                    <a:pt x="313" y="945"/>
                  </a:lnTo>
                  <a:lnTo>
                    <a:pt x="311" y="953"/>
                  </a:lnTo>
                  <a:lnTo>
                    <a:pt x="310" y="959"/>
                  </a:lnTo>
                  <a:lnTo>
                    <a:pt x="309" y="964"/>
                  </a:lnTo>
                  <a:lnTo>
                    <a:pt x="306" y="967"/>
                  </a:lnTo>
                  <a:lnTo>
                    <a:pt x="303" y="971"/>
                  </a:lnTo>
                  <a:lnTo>
                    <a:pt x="302" y="975"/>
                  </a:lnTo>
                  <a:lnTo>
                    <a:pt x="301" y="980"/>
                  </a:lnTo>
                  <a:lnTo>
                    <a:pt x="301" y="988"/>
                  </a:lnTo>
                  <a:lnTo>
                    <a:pt x="301" y="999"/>
                  </a:lnTo>
                  <a:lnTo>
                    <a:pt x="303" y="1008"/>
                  </a:lnTo>
                  <a:lnTo>
                    <a:pt x="306" y="1017"/>
                  </a:lnTo>
                  <a:lnTo>
                    <a:pt x="310" y="1024"/>
                  </a:lnTo>
                  <a:lnTo>
                    <a:pt x="315" y="1031"/>
                  </a:lnTo>
                  <a:lnTo>
                    <a:pt x="322" y="1036"/>
                  </a:lnTo>
                  <a:lnTo>
                    <a:pt x="329" y="1041"/>
                  </a:lnTo>
                  <a:lnTo>
                    <a:pt x="337" y="1045"/>
                  </a:lnTo>
                  <a:lnTo>
                    <a:pt x="354" y="1052"/>
                  </a:lnTo>
                  <a:lnTo>
                    <a:pt x="373" y="1056"/>
                  </a:lnTo>
                  <a:lnTo>
                    <a:pt x="394" y="1060"/>
                  </a:lnTo>
                  <a:lnTo>
                    <a:pt x="414" y="1062"/>
                  </a:lnTo>
                  <a:lnTo>
                    <a:pt x="435" y="1065"/>
                  </a:lnTo>
                  <a:lnTo>
                    <a:pt x="455" y="1068"/>
                  </a:lnTo>
                  <a:lnTo>
                    <a:pt x="473" y="1072"/>
                  </a:lnTo>
                  <a:lnTo>
                    <a:pt x="489" y="1078"/>
                  </a:lnTo>
                  <a:lnTo>
                    <a:pt x="495" y="1082"/>
                  </a:lnTo>
                  <a:lnTo>
                    <a:pt x="501" y="1086"/>
                  </a:lnTo>
                  <a:lnTo>
                    <a:pt x="505" y="1092"/>
                  </a:lnTo>
                  <a:lnTo>
                    <a:pt x="509" y="1098"/>
                  </a:lnTo>
                  <a:lnTo>
                    <a:pt x="511" y="1105"/>
                  </a:lnTo>
                  <a:lnTo>
                    <a:pt x="513" y="1113"/>
                  </a:lnTo>
                  <a:lnTo>
                    <a:pt x="513" y="1122"/>
                  </a:lnTo>
                  <a:lnTo>
                    <a:pt x="511" y="1132"/>
                  </a:lnTo>
                  <a:lnTo>
                    <a:pt x="517" y="113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Freeform 46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687638" y="3817938"/>
              <a:ext cx="336550" cy="384175"/>
            </a:xfrm>
            <a:custGeom>
              <a:avLst/>
              <a:gdLst/>
              <a:ahLst/>
              <a:cxnLst>
                <a:cxn ang="0">
                  <a:pos x="121" y="1004"/>
                </a:cxn>
                <a:cxn ang="0">
                  <a:pos x="225" y="1011"/>
                </a:cxn>
                <a:cxn ang="0">
                  <a:pos x="263" y="944"/>
                </a:cxn>
                <a:cxn ang="0">
                  <a:pos x="294" y="871"/>
                </a:cxn>
                <a:cxn ang="0">
                  <a:pos x="354" y="866"/>
                </a:cxn>
                <a:cxn ang="0">
                  <a:pos x="438" y="910"/>
                </a:cxn>
                <a:cxn ang="0">
                  <a:pos x="485" y="910"/>
                </a:cxn>
                <a:cxn ang="0">
                  <a:pos x="491" y="880"/>
                </a:cxn>
                <a:cxn ang="0">
                  <a:pos x="437" y="831"/>
                </a:cxn>
                <a:cxn ang="0">
                  <a:pos x="402" y="771"/>
                </a:cxn>
                <a:cxn ang="0">
                  <a:pos x="457" y="758"/>
                </a:cxn>
                <a:cxn ang="0">
                  <a:pos x="409" y="726"/>
                </a:cxn>
                <a:cxn ang="0">
                  <a:pos x="407" y="687"/>
                </a:cxn>
                <a:cxn ang="0">
                  <a:pos x="455" y="646"/>
                </a:cxn>
                <a:cxn ang="0">
                  <a:pos x="538" y="674"/>
                </a:cxn>
                <a:cxn ang="0">
                  <a:pos x="693" y="716"/>
                </a:cxn>
                <a:cxn ang="0">
                  <a:pos x="766" y="630"/>
                </a:cxn>
                <a:cxn ang="0">
                  <a:pos x="754" y="573"/>
                </a:cxn>
                <a:cxn ang="0">
                  <a:pos x="701" y="561"/>
                </a:cxn>
                <a:cxn ang="0">
                  <a:pos x="679" y="533"/>
                </a:cxn>
                <a:cxn ang="0">
                  <a:pos x="658" y="481"/>
                </a:cxn>
                <a:cxn ang="0">
                  <a:pos x="753" y="373"/>
                </a:cxn>
                <a:cxn ang="0">
                  <a:pos x="782" y="299"/>
                </a:cxn>
                <a:cxn ang="0">
                  <a:pos x="769" y="177"/>
                </a:cxn>
                <a:cxn ang="0">
                  <a:pos x="731" y="129"/>
                </a:cxn>
                <a:cxn ang="0">
                  <a:pos x="658" y="106"/>
                </a:cxn>
                <a:cxn ang="0">
                  <a:pos x="590" y="95"/>
                </a:cxn>
                <a:cxn ang="0">
                  <a:pos x="513" y="26"/>
                </a:cxn>
                <a:cxn ang="0">
                  <a:pos x="450" y="1"/>
                </a:cxn>
                <a:cxn ang="0">
                  <a:pos x="425" y="25"/>
                </a:cxn>
                <a:cxn ang="0">
                  <a:pos x="398" y="107"/>
                </a:cxn>
                <a:cxn ang="0">
                  <a:pos x="406" y="179"/>
                </a:cxn>
                <a:cxn ang="0">
                  <a:pos x="370" y="211"/>
                </a:cxn>
                <a:cxn ang="0">
                  <a:pos x="274" y="239"/>
                </a:cxn>
                <a:cxn ang="0">
                  <a:pos x="241" y="258"/>
                </a:cxn>
                <a:cxn ang="0">
                  <a:pos x="209" y="223"/>
                </a:cxn>
                <a:cxn ang="0">
                  <a:pos x="158" y="214"/>
                </a:cxn>
                <a:cxn ang="0">
                  <a:pos x="177" y="174"/>
                </a:cxn>
                <a:cxn ang="0">
                  <a:pos x="182" y="137"/>
                </a:cxn>
                <a:cxn ang="0">
                  <a:pos x="136" y="121"/>
                </a:cxn>
                <a:cxn ang="0">
                  <a:pos x="72" y="134"/>
                </a:cxn>
                <a:cxn ang="0">
                  <a:pos x="50" y="171"/>
                </a:cxn>
                <a:cxn ang="0">
                  <a:pos x="50" y="247"/>
                </a:cxn>
                <a:cxn ang="0">
                  <a:pos x="74" y="315"/>
                </a:cxn>
                <a:cxn ang="0">
                  <a:pos x="130" y="342"/>
                </a:cxn>
                <a:cxn ang="0">
                  <a:pos x="197" y="359"/>
                </a:cxn>
                <a:cxn ang="0">
                  <a:pos x="285" y="362"/>
                </a:cxn>
                <a:cxn ang="0">
                  <a:pos x="373" y="343"/>
                </a:cxn>
                <a:cxn ang="0">
                  <a:pos x="309" y="487"/>
                </a:cxn>
                <a:cxn ang="0">
                  <a:pos x="274" y="509"/>
                </a:cxn>
                <a:cxn ang="0">
                  <a:pos x="234" y="494"/>
                </a:cxn>
                <a:cxn ang="0">
                  <a:pos x="173" y="525"/>
                </a:cxn>
                <a:cxn ang="0">
                  <a:pos x="112" y="586"/>
                </a:cxn>
                <a:cxn ang="0">
                  <a:pos x="93" y="668"/>
                </a:cxn>
                <a:cxn ang="0">
                  <a:pos x="24" y="763"/>
                </a:cxn>
                <a:cxn ang="0">
                  <a:pos x="0" y="824"/>
                </a:cxn>
                <a:cxn ang="0">
                  <a:pos x="22" y="859"/>
                </a:cxn>
                <a:cxn ang="0">
                  <a:pos x="77" y="860"/>
                </a:cxn>
                <a:cxn ang="0">
                  <a:pos x="144" y="887"/>
                </a:cxn>
                <a:cxn ang="0">
                  <a:pos x="167" y="927"/>
                </a:cxn>
                <a:cxn ang="0">
                  <a:pos x="108" y="1023"/>
                </a:cxn>
              </a:cxnLst>
              <a:rect l="0" t="0" r="r" b="b"/>
              <a:pathLst>
                <a:path w="782" h="1023">
                  <a:moveTo>
                    <a:pt x="108" y="1023"/>
                  </a:moveTo>
                  <a:lnTo>
                    <a:pt x="108" y="1019"/>
                  </a:lnTo>
                  <a:lnTo>
                    <a:pt x="109" y="1015"/>
                  </a:lnTo>
                  <a:lnTo>
                    <a:pt x="110" y="1012"/>
                  </a:lnTo>
                  <a:lnTo>
                    <a:pt x="113" y="1010"/>
                  </a:lnTo>
                  <a:lnTo>
                    <a:pt x="121" y="1004"/>
                  </a:lnTo>
                  <a:lnTo>
                    <a:pt x="129" y="1002"/>
                  </a:lnTo>
                  <a:lnTo>
                    <a:pt x="140" y="1000"/>
                  </a:lnTo>
                  <a:lnTo>
                    <a:pt x="151" y="1000"/>
                  </a:lnTo>
                  <a:lnTo>
                    <a:pt x="163" y="1000"/>
                  </a:lnTo>
                  <a:lnTo>
                    <a:pt x="177" y="1002"/>
                  </a:lnTo>
                  <a:lnTo>
                    <a:pt x="225" y="1011"/>
                  </a:lnTo>
                  <a:lnTo>
                    <a:pt x="246" y="1018"/>
                  </a:lnTo>
                  <a:lnTo>
                    <a:pt x="250" y="1007"/>
                  </a:lnTo>
                  <a:lnTo>
                    <a:pt x="254" y="995"/>
                  </a:lnTo>
                  <a:lnTo>
                    <a:pt x="257" y="983"/>
                  </a:lnTo>
                  <a:lnTo>
                    <a:pt x="259" y="970"/>
                  </a:lnTo>
                  <a:lnTo>
                    <a:pt x="263" y="944"/>
                  </a:lnTo>
                  <a:lnTo>
                    <a:pt x="269" y="919"/>
                  </a:lnTo>
                  <a:lnTo>
                    <a:pt x="273" y="907"/>
                  </a:lnTo>
                  <a:lnTo>
                    <a:pt x="277" y="896"/>
                  </a:lnTo>
                  <a:lnTo>
                    <a:pt x="282" y="886"/>
                  </a:lnTo>
                  <a:lnTo>
                    <a:pt x="287" y="878"/>
                  </a:lnTo>
                  <a:lnTo>
                    <a:pt x="294" y="871"/>
                  </a:lnTo>
                  <a:lnTo>
                    <a:pt x="303" y="866"/>
                  </a:lnTo>
                  <a:lnTo>
                    <a:pt x="313" y="862"/>
                  </a:lnTo>
                  <a:lnTo>
                    <a:pt x="325" y="860"/>
                  </a:lnTo>
                  <a:lnTo>
                    <a:pt x="335" y="862"/>
                  </a:lnTo>
                  <a:lnTo>
                    <a:pt x="345" y="863"/>
                  </a:lnTo>
                  <a:lnTo>
                    <a:pt x="354" y="866"/>
                  </a:lnTo>
                  <a:lnTo>
                    <a:pt x="363" y="870"/>
                  </a:lnTo>
                  <a:lnTo>
                    <a:pt x="381" y="878"/>
                  </a:lnTo>
                  <a:lnTo>
                    <a:pt x="397" y="888"/>
                  </a:lnTo>
                  <a:lnTo>
                    <a:pt x="413" y="898"/>
                  </a:lnTo>
                  <a:lnTo>
                    <a:pt x="429" y="907"/>
                  </a:lnTo>
                  <a:lnTo>
                    <a:pt x="438" y="910"/>
                  </a:lnTo>
                  <a:lnTo>
                    <a:pt x="447" y="912"/>
                  </a:lnTo>
                  <a:lnTo>
                    <a:pt x="458" y="914"/>
                  </a:lnTo>
                  <a:lnTo>
                    <a:pt x="469" y="915"/>
                  </a:lnTo>
                  <a:lnTo>
                    <a:pt x="475" y="915"/>
                  </a:lnTo>
                  <a:lnTo>
                    <a:pt x="481" y="912"/>
                  </a:lnTo>
                  <a:lnTo>
                    <a:pt x="485" y="910"/>
                  </a:lnTo>
                  <a:lnTo>
                    <a:pt x="487" y="907"/>
                  </a:lnTo>
                  <a:lnTo>
                    <a:pt x="490" y="902"/>
                  </a:lnTo>
                  <a:lnTo>
                    <a:pt x="491" y="898"/>
                  </a:lnTo>
                  <a:lnTo>
                    <a:pt x="493" y="891"/>
                  </a:lnTo>
                  <a:lnTo>
                    <a:pt x="493" y="884"/>
                  </a:lnTo>
                  <a:lnTo>
                    <a:pt x="491" y="880"/>
                  </a:lnTo>
                  <a:lnTo>
                    <a:pt x="490" y="875"/>
                  </a:lnTo>
                  <a:lnTo>
                    <a:pt x="486" y="870"/>
                  </a:lnTo>
                  <a:lnTo>
                    <a:pt x="481" y="864"/>
                  </a:lnTo>
                  <a:lnTo>
                    <a:pt x="467" y="854"/>
                  </a:lnTo>
                  <a:lnTo>
                    <a:pt x="453" y="843"/>
                  </a:lnTo>
                  <a:lnTo>
                    <a:pt x="437" y="831"/>
                  </a:lnTo>
                  <a:lnTo>
                    <a:pt x="422" y="820"/>
                  </a:lnTo>
                  <a:lnTo>
                    <a:pt x="415" y="815"/>
                  </a:lnTo>
                  <a:lnTo>
                    <a:pt x="410" y="810"/>
                  </a:lnTo>
                  <a:lnTo>
                    <a:pt x="406" y="806"/>
                  </a:lnTo>
                  <a:lnTo>
                    <a:pt x="402" y="800"/>
                  </a:lnTo>
                  <a:lnTo>
                    <a:pt x="402" y="771"/>
                  </a:lnTo>
                  <a:lnTo>
                    <a:pt x="422" y="770"/>
                  </a:lnTo>
                  <a:lnTo>
                    <a:pt x="437" y="768"/>
                  </a:lnTo>
                  <a:lnTo>
                    <a:pt x="442" y="767"/>
                  </a:lnTo>
                  <a:lnTo>
                    <a:pt x="447" y="766"/>
                  </a:lnTo>
                  <a:lnTo>
                    <a:pt x="453" y="762"/>
                  </a:lnTo>
                  <a:lnTo>
                    <a:pt x="457" y="758"/>
                  </a:lnTo>
                  <a:lnTo>
                    <a:pt x="451" y="752"/>
                  </a:lnTo>
                  <a:lnTo>
                    <a:pt x="443" y="747"/>
                  </a:lnTo>
                  <a:lnTo>
                    <a:pt x="434" y="742"/>
                  </a:lnTo>
                  <a:lnTo>
                    <a:pt x="425" y="736"/>
                  </a:lnTo>
                  <a:lnTo>
                    <a:pt x="417" y="731"/>
                  </a:lnTo>
                  <a:lnTo>
                    <a:pt x="409" y="726"/>
                  </a:lnTo>
                  <a:lnTo>
                    <a:pt x="406" y="722"/>
                  </a:lnTo>
                  <a:lnTo>
                    <a:pt x="405" y="719"/>
                  </a:lnTo>
                  <a:lnTo>
                    <a:pt x="403" y="715"/>
                  </a:lnTo>
                  <a:lnTo>
                    <a:pt x="402" y="710"/>
                  </a:lnTo>
                  <a:lnTo>
                    <a:pt x="403" y="699"/>
                  </a:lnTo>
                  <a:lnTo>
                    <a:pt x="407" y="687"/>
                  </a:lnTo>
                  <a:lnTo>
                    <a:pt x="414" y="676"/>
                  </a:lnTo>
                  <a:lnTo>
                    <a:pt x="422" y="666"/>
                  </a:lnTo>
                  <a:lnTo>
                    <a:pt x="431" y="657"/>
                  </a:lnTo>
                  <a:lnTo>
                    <a:pt x="443" y="650"/>
                  </a:lnTo>
                  <a:lnTo>
                    <a:pt x="449" y="647"/>
                  </a:lnTo>
                  <a:lnTo>
                    <a:pt x="455" y="646"/>
                  </a:lnTo>
                  <a:lnTo>
                    <a:pt x="462" y="645"/>
                  </a:lnTo>
                  <a:lnTo>
                    <a:pt x="469" y="645"/>
                  </a:lnTo>
                  <a:lnTo>
                    <a:pt x="479" y="646"/>
                  </a:lnTo>
                  <a:lnTo>
                    <a:pt x="495" y="653"/>
                  </a:lnTo>
                  <a:lnTo>
                    <a:pt x="515" y="662"/>
                  </a:lnTo>
                  <a:lnTo>
                    <a:pt x="538" y="674"/>
                  </a:lnTo>
                  <a:lnTo>
                    <a:pt x="561" y="686"/>
                  </a:lnTo>
                  <a:lnTo>
                    <a:pt x="581" y="698"/>
                  </a:lnTo>
                  <a:lnTo>
                    <a:pt x="597" y="708"/>
                  </a:lnTo>
                  <a:lnTo>
                    <a:pt x="607" y="716"/>
                  </a:lnTo>
                  <a:lnTo>
                    <a:pt x="657" y="716"/>
                  </a:lnTo>
                  <a:lnTo>
                    <a:pt x="693" y="716"/>
                  </a:lnTo>
                  <a:lnTo>
                    <a:pt x="722" y="716"/>
                  </a:lnTo>
                  <a:lnTo>
                    <a:pt x="751" y="716"/>
                  </a:lnTo>
                  <a:lnTo>
                    <a:pt x="746" y="674"/>
                  </a:lnTo>
                  <a:lnTo>
                    <a:pt x="754" y="654"/>
                  </a:lnTo>
                  <a:lnTo>
                    <a:pt x="762" y="638"/>
                  </a:lnTo>
                  <a:lnTo>
                    <a:pt x="766" y="630"/>
                  </a:lnTo>
                  <a:lnTo>
                    <a:pt x="767" y="622"/>
                  </a:lnTo>
                  <a:lnTo>
                    <a:pt x="770" y="613"/>
                  </a:lnTo>
                  <a:lnTo>
                    <a:pt x="770" y="602"/>
                  </a:lnTo>
                  <a:lnTo>
                    <a:pt x="770" y="585"/>
                  </a:lnTo>
                  <a:lnTo>
                    <a:pt x="770" y="571"/>
                  </a:lnTo>
                  <a:lnTo>
                    <a:pt x="754" y="573"/>
                  </a:lnTo>
                  <a:lnTo>
                    <a:pt x="739" y="573"/>
                  </a:lnTo>
                  <a:lnTo>
                    <a:pt x="726" y="571"/>
                  </a:lnTo>
                  <a:lnTo>
                    <a:pt x="715" y="569"/>
                  </a:lnTo>
                  <a:lnTo>
                    <a:pt x="710" y="567"/>
                  </a:lnTo>
                  <a:lnTo>
                    <a:pt x="705" y="565"/>
                  </a:lnTo>
                  <a:lnTo>
                    <a:pt x="701" y="561"/>
                  </a:lnTo>
                  <a:lnTo>
                    <a:pt x="698" y="557"/>
                  </a:lnTo>
                  <a:lnTo>
                    <a:pt x="695" y="551"/>
                  </a:lnTo>
                  <a:lnTo>
                    <a:pt x="693" y="546"/>
                  </a:lnTo>
                  <a:lnTo>
                    <a:pt x="691" y="538"/>
                  </a:lnTo>
                  <a:lnTo>
                    <a:pt x="691" y="530"/>
                  </a:lnTo>
                  <a:lnTo>
                    <a:pt x="679" y="533"/>
                  </a:lnTo>
                  <a:lnTo>
                    <a:pt x="667" y="534"/>
                  </a:lnTo>
                  <a:lnTo>
                    <a:pt x="654" y="533"/>
                  </a:lnTo>
                  <a:lnTo>
                    <a:pt x="638" y="530"/>
                  </a:lnTo>
                  <a:lnTo>
                    <a:pt x="642" y="513"/>
                  </a:lnTo>
                  <a:lnTo>
                    <a:pt x="649" y="497"/>
                  </a:lnTo>
                  <a:lnTo>
                    <a:pt x="658" y="481"/>
                  </a:lnTo>
                  <a:lnTo>
                    <a:pt x="667" y="466"/>
                  </a:lnTo>
                  <a:lnTo>
                    <a:pt x="691" y="439"/>
                  </a:lnTo>
                  <a:lnTo>
                    <a:pt x="717" y="414"/>
                  </a:lnTo>
                  <a:lnTo>
                    <a:pt x="729" y="401"/>
                  </a:lnTo>
                  <a:lnTo>
                    <a:pt x="741" y="387"/>
                  </a:lnTo>
                  <a:lnTo>
                    <a:pt x="753" y="373"/>
                  </a:lnTo>
                  <a:lnTo>
                    <a:pt x="762" y="358"/>
                  </a:lnTo>
                  <a:lnTo>
                    <a:pt x="770" y="343"/>
                  </a:lnTo>
                  <a:lnTo>
                    <a:pt x="777" y="326"/>
                  </a:lnTo>
                  <a:lnTo>
                    <a:pt x="779" y="318"/>
                  </a:lnTo>
                  <a:lnTo>
                    <a:pt x="781" y="309"/>
                  </a:lnTo>
                  <a:lnTo>
                    <a:pt x="782" y="299"/>
                  </a:lnTo>
                  <a:lnTo>
                    <a:pt x="782" y="289"/>
                  </a:lnTo>
                  <a:lnTo>
                    <a:pt x="781" y="259"/>
                  </a:lnTo>
                  <a:lnTo>
                    <a:pt x="778" y="226"/>
                  </a:lnTo>
                  <a:lnTo>
                    <a:pt x="775" y="209"/>
                  </a:lnTo>
                  <a:lnTo>
                    <a:pt x="771" y="193"/>
                  </a:lnTo>
                  <a:lnTo>
                    <a:pt x="769" y="177"/>
                  </a:lnTo>
                  <a:lnTo>
                    <a:pt x="763" y="162"/>
                  </a:lnTo>
                  <a:lnTo>
                    <a:pt x="755" y="157"/>
                  </a:lnTo>
                  <a:lnTo>
                    <a:pt x="749" y="150"/>
                  </a:lnTo>
                  <a:lnTo>
                    <a:pt x="742" y="143"/>
                  </a:lnTo>
                  <a:lnTo>
                    <a:pt x="737" y="135"/>
                  </a:lnTo>
                  <a:lnTo>
                    <a:pt x="731" y="129"/>
                  </a:lnTo>
                  <a:lnTo>
                    <a:pt x="725" y="122"/>
                  </a:lnTo>
                  <a:lnTo>
                    <a:pt x="718" y="118"/>
                  </a:lnTo>
                  <a:lnTo>
                    <a:pt x="710" y="114"/>
                  </a:lnTo>
                  <a:lnTo>
                    <a:pt x="691" y="109"/>
                  </a:lnTo>
                  <a:lnTo>
                    <a:pt x="674" y="107"/>
                  </a:lnTo>
                  <a:lnTo>
                    <a:pt x="658" y="106"/>
                  </a:lnTo>
                  <a:lnTo>
                    <a:pt x="642" y="106"/>
                  </a:lnTo>
                  <a:lnTo>
                    <a:pt x="626" y="106"/>
                  </a:lnTo>
                  <a:lnTo>
                    <a:pt x="611" y="103"/>
                  </a:lnTo>
                  <a:lnTo>
                    <a:pt x="605" y="102"/>
                  </a:lnTo>
                  <a:lnTo>
                    <a:pt x="597" y="99"/>
                  </a:lnTo>
                  <a:lnTo>
                    <a:pt x="590" y="95"/>
                  </a:lnTo>
                  <a:lnTo>
                    <a:pt x="583" y="90"/>
                  </a:lnTo>
                  <a:lnTo>
                    <a:pt x="571" y="78"/>
                  </a:lnTo>
                  <a:lnTo>
                    <a:pt x="557" y="64"/>
                  </a:lnTo>
                  <a:lnTo>
                    <a:pt x="541" y="49"/>
                  </a:lnTo>
                  <a:lnTo>
                    <a:pt x="522" y="34"/>
                  </a:lnTo>
                  <a:lnTo>
                    <a:pt x="513" y="26"/>
                  </a:lnTo>
                  <a:lnTo>
                    <a:pt x="503" y="21"/>
                  </a:lnTo>
                  <a:lnTo>
                    <a:pt x="493" y="14"/>
                  </a:lnTo>
                  <a:lnTo>
                    <a:pt x="482" y="10"/>
                  </a:lnTo>
                  <a:lnTo>
                    <a:pt x="471" y="6"/>
                  </a:lnTo>
                  <a:lnTo>
                    <a:pt x="461" y="2"/>
                  </a:lnTo>
                  <a:lnTo>
                    <a:pt x="450" y="1"/>
                  </a:lnTo>
                  <a:lnTo>
                    <a:pt x="438" y="0"/>
                  </a:lnTo>
                  <a:lnTo>
                    <a:pt x="435" y="0"/>
                  </a:lnTo>
                  <a:lnTo>
                    <a:pt x="433" y="1"/>
                  </a:lnTo>
                  <a:lnTo>
                    <a:pt x="430" y="2"/>
                  </a:lnTo>
                  <a:lnTo>
                    <a:pt x="426" y="6"/>
                  </a:lnTo>
                  <a:lnTo>
                    <a:pt x="425" y="25"/>
                  </a:lnTo>
                  <a:lnTo>
                    <a:pt x="422" y="40"/>
                  </a:lnTo>
                  <a:lnTo>
                    <a:pt x="417" y="53"/>
                  </a:lnTo>
                  <a:lnTo>
                    <a:pt x="411" y="66"/>
                  </a:lnTo>
                  <a:lnTo>
                    <a:pt x="406" y="78"/>
                  </a:lnTo>
                  <a:lnTo>
                    <a:pt x="401" y="93"/>
                  </a:lnTo>
                  <a:lnTo>
                    <a:pt x="398" y="107"/>
                  </a:lnTo>
                  <a:lnTo>
                    <a:pt x="397" y="126"/>
                  </a:lnTo>
                  <a:lnTo>
                    <a:pt x="397" y="138"/>
                  </a:lnTo>
                  <a:lnTo>
                    <a:pt x="398" y="149"/>
                  </a:lnTo>
                  <a:lnTo>
                    <a:pt x="399" y="158"/>
                  </a:lnTo>
                  <a:lnTo>
                    <a:pt x="401" y="166"/>
                  </a:lnTo>
                  <a:lnTo>
                    <a:pt x="406" y="179"/>
                  </a:lnTo>
                  <a:lnTo>
                    <a:pt x="414" y="193"/>
                  </a:lnTo>
                  <a:lnTo>
                    <a:pt x="409" y="198"/>
                  </a:lnTo>
                  <a:lnTo>
                    <a:pt x="403" y="202"/>
                  </a:lnTo>
                  <a:lnTo>
                    <a:pt x="395" y="205"/>
                  </a:lnTo>
                  <a:lnTo>
                    <a:pt x="387" y="207"/>
                  </a:lnTo>
                  <a:lnTo>
                    <a:pt x="370" y="211"/>
                  </a:lnTo>
                  <a:lnTo>
                    <a:pt x="350" y="213"/>
                  </a:lnTo>
                  <a:lnTo>
                    <a:pt x="311" y="211"/>
                  </a:lnTo>
                  <a:lnTo>
                    <a:pt x="282" y="210"/>
                  </a:lnTo>
                  <a:lnTo>
                    <a:pt x="279" y="221"/>
                  </a:lnTo>
                  <a:lnTo>
                    <a:pt x="277" y="231"/>
                  </a:lnTo>
                  <a:lnTo>
                    <a:pt x="274" y="239"/>
                  </a:lnTo>
                  <a:lnTo>
                    <a:pt x="270" y="246"/>
                  </a:lnTo>
                  <a:lnTo>
                    <a:pt x="266" y="251"/>
                  </a:lnTo>
                  <a:lnTo>
                    <a:pt x="261" y="255"/>
                  </a:lnTo>
                  <a:lnTo>
                    <a:pt x="254" y="258"/>
                  </a:lnTo>
                  <a:lnTo>
                    <a:pt x="246" y="258"/>
                  </a:lnTo>
                  <a:lnTo>
                    <a:pt x="241" y="258"/>
                  </a:lnTo>
                  <a:lnTo>
                    <a:pt x="235" y="257"/>
                  </a:lnTo>
                  <a:lnTo>
                    <a:pt x="231" y="255"/>
                  </a:lnTo>
                  <a:lnTo>
                    <a:pt x="227" y="253"/>
                  </a:lnTo>
                  <a:lnTo>
                    <a:pt x="221" y="246"/>
                  </a:lnTo>
                  <a:lnTo>
                    <a:pt x="215" y="239"/>
                  </a:lnTo>
                  <a:lnTo>
                    <a:pt x="209" y="223"/>
                  </a:lnTo>
                  <a:lnTo>
                    <a:pt x="203" y="210"/>
                  </a:lnTo>
                  <a:lnTo>
                    <a:pt x="189" y="213"/>
                  </a:lnTo>
                  <a:lnTo>
                    <a:pt x="177" y="215"/>
                  </a:lnTo>
                  <a:lnTo>
                    <a:pt x="171" y="215"/>
                  </a:lnTo>
                  <a:lnTo>
                    <a:pt x="165" y="215"/>
                  </a:lnTo>
                  <a:lnTo>
                    <a:pt x="158" y="214"/>
                  </a:lnTo>
                  <a:lnTo>
                    <a:pt x="150" y="210"/>
                  </a:lnTo>
                  <a:lnTo>
                    <a:pt x="154" y="201"/>
                  </a:lnTo>
                  <a:lnTo>
                    <a:pt x="161" y="193"/>
                  </a:lnTo>
                  <a:lnTo>
                    <a:pt x="166" y="186"/>
                  </a:lnTo>
                  <a:lnTo>
                    <a:pt x="171" y="181"/>
                  </a:lnTo>
                  <a:lnTo>
                    <a:pt x="177" y="174"/>
                  </a:lnTo>
                  <a:lnTo>
                    <a:pt x="182" y="169"/>
                  </a:lnTo>
                  <a:lnTo>
                    <a:pt x="185" y="161"/>
                  </a:lnTo>
                  <a:lnTo>
                    <a:pt x="186" y="150"/>
                  </a:lnTo>
                  <a:lnTo>
                    <a:pt x="185" y="145"/>
                  </a:lnTo>
                  <a:lnTo>
                    <a:pt x="183" y="141"/>
                  </a:lnTo>
                  <a:lnTo>
                    <a:pt x="182" y="137"/>
                  </a:lnTo>
                  <a:lnTo>
                    <a:pt x="179" y="133"/>
                  </a:lnTo>
                  <a:lnTo>
                    <a:pt x="173" y="127"/>
                  </a:lnTo>
                  <a:lnTo>
                    <a:pt x="165" y="123"/>
                  </a:lnTo>
                  <a:lnTo>
                    <a:pt x="155" y="122"/>
                  </a:lnTo>
                  <a:lnTo>
                    <a:pt x="145" y="121"/>
                  </a:lnTo>
                  <a:lnTo>
                    <a:pt x="136" y="121"/>
                  </a:lnTo>
                  <a:lnTo>
                    <a:pt x="125" y="121"/>
                  </a:lnTo>
                  <a:lnTo>
                    <a:pt x="106" y="121"/>
                  </a:lnTo>
                  <a:lnTo>
                    <a:pt x="90" y="125"/>
                  </a:lnTo>
                  <a:lnTo>
                    <a:pt x="84" y="127"/>
                  </a:lnTo>
                  <a:lnTo>
                    <a:pt x="77" y="130"/>
                  </a:lnTo>
                  <a:lnTo>
                    <a:pt x="72" y="134"/>
                  </a:lnTo>
                  <a:lnTo>
                    <a:pt x="66" y="139"/>
                  </a:lnTo>
                  <a:lnTo>
                    <a:pt x="61" y="145"/>
                  </a:lnTo>
                  <a:lnTo>
                    <a:pt x="58" y="150"/>
                  </a:lnTo>
                  <a:lnTo>
                    <a:pt x="54" y="157"/>
                  </a:lnTo>
                  <a:lnTo>
                    <a:pt x="52" y="163"/>
                  </a:lnTo>
                  <a:lnTo>
                    <a:pt x="50" y="171"/>
                  </a:lnTo>
                  <a:lnTo>
                    <a:pt x="49" y="179"/>
                  </a:lnTo>
                  <a:lnTo>
                    <a:pt x="48" y="189"/>
                  </a:lnTo>
                  <a:lnTo>
                    <a:pt x="48" y="198"/>
                  </a:lnTo>
                  <a:lnTo>
                    <a:pt x="48" y="215"/>
                  </a:lnTo>
                  <a:lnTo>
                    <a:pt x="49" y="233"/>
                  </a:lnTo>
                  <a:lnTo>
                    <a:pt x="50" y="247"/>
                  </a:lnTo>
                  <a:lnTo>
                    <a:pt x="52" y="262"/>
                  </a:lnTo>
                  <a:lnTo>
                    <a:pt x="56" y="274"/>
                  </a:lnTo>
                  <a:lnTo>
                    <a:pt x="58" y="286"/>
                  </a:lnTo>
                  <a:lnTo>
                    <a:pt x="64" y="297"/>
                  </a:lnTo>
                  <a:lnTo>
                    <a:pt x="69" y="307"/>
                  </a:lnTo>
                  <a:lnTo>
                    <a:pt x="74" y="315"/>
                  </a:lnTo>
                  <a:lnTo>
                    <a:pt x="81" y="322"/>
                  </a:lnTo>
                  <a:lnTo>
                    <a:pt x="89" y="329"/>
                  </a:lnTo>
                  <a:lnTo>
                    <a:pt x="98" y="334"/>
                  </a:lnTo>
                  <a:lnTo>
                    <a:pt x="108" y="338"/>
                  </a:lnTo>
                  <a:lnTo>
                    <a:pt x="118" y="341"/>
                  </a:lnTo>
                  <a:lnTo>
                    <a:pt x="130" y="342"/>
                  </a:lnTo>
                  <a:lnTo>
                    <a:pt x="144" y="343"/>
                  </a:lnTo>
                  <a:lnTo>
                    <a:pt x="155" y="345"/>
                  </a:lnTo>
                  <a:lnTo>
                    <a:pt x="167" y="347"/>
                  </a:lnTo>
                  <a:lnTo>
                    <a:pt x="177" y="350"/>
                  </a:lnTo>
                  <a:lnTo>
                    <a:pt x="186" y="355"/>
                  </a:lnTo>
                  <a:lnTo>
                    <a:pt x="197" y="359"/>
                  </a:lnTo>
                  <a:lnTo>
                    <a:pt x="207" y="363"/>
                  </a:lnTo>
                  <a:lnTo>
                    <a:pt x="219" y="366"/>
                  </a:lnTo>
                  <a:lnTo>
                    <a:pt x="234" y="367"/>
                  </a:lnTo>
                  <a:lnTo>
                    <a:pt x="251" y="366"/>
                  </a:lnTo>
                  <a:lnTo>
                    <a:pt x="269" y="365"/>
                  </a:lnTo>
                  <a:lnTo>
                    <a:pt x="285" y="362"/>
                  </a:lnTo>
                  <a:lnTo>
                    <a:pt x="299" y="359"/>
                  </a:lnTo>
                  <a:lnTo>
                    <a:pt x="313" y="355"/>
                  </a:lnTo>
                  <a:lnTo>
                    <a:pt x="325" y="351"/>
                  </a:lnTo>
                  <a:lnTo>
                    <a:pt x="334" y="347"/>
                  </a:lnTo>
                  <a:lnTo>
                    <a:pt x="342" y="343"/>
                  </a:lnTo>
                  <a:lnTo>
                    <a:pt x="373" y="343"/>
                  </a:lnTo>
                  <a:lnTo>
                    <a:pt x="370" y="355"/>
                  </a:lnTo>
                  <a:lnTo>
                    <a:pt x="362" y="377"/>
                  </a:lnTo>
                  <a:lnTo>
                    <a:pt x="350" y="405"/>
                  </a:lnTo>
                  <a:lnTo>
                    <a:pt x="337" y="434"/>
                  </a:lnTo>
                  <a:lnTo>
                    <a:pt x="322" y="463"/>
                  </a:lnTo>
                  <a:lnTo>
                    <a:pt x="309" y="487"/>
                  </a:lnTo>
                  <a:lnTo>
                    <a:pt x="302" y="498"/>
                  </a:lnTo>
                  <a:lnTo>
                    <a:pt x="297" y="505"/>
                  </a:lnTo>
                  <a:lnTo>
                    <a:pt x="291" y="510"/>
                  </a:lnTo>
                  <a:lnTo>
                    <a:pt x="287" y="511"/>
                  </a:lnTo>
                  <a:lnTo>
                    <a:pt x="281" y="511"/>
                  </a:lnTo>
                  <a:lnTo>
                    <a:pt x="274" y="509"/>
                  </a:lnTo>
                  <a:lnTo>
                    <a:pt x="267" y="506"/>
                  </a:lnTo>
                  <a:lnTo>
                    <a:pt x="261" y="502"/>
                  </a:lnTo>
                  <a:lnTo>
                    <a:pt x="254" y="499"/>
                  </a:lnTo>
                  <a:lnTo>
                    <a:pt x="247" y="497"/>
                  </a:lnTo>
                  <a:lnTo>
                    <a:pt x="241" y="494"/>
                  </a:lnTo>
                  <a:lnTo>
                    <a:pt x="234" y="494"/>
                  </a:lnTo>
                  <a:lnTo>
                    <a:pt x="229" y="494"/>
                  </a:lnTo>
                  <a:lnTo>
                    <a:pt x="222" y="497"/>
                  </a:lnTo>
                  <a:lnTo>
                    <a:pt x="215" y="499"/>
                  </a:lnTo>
                  <a:lnTo>
                    <a:pt x="207" y="503"/>
                  </a:lnTo>
                  <a:lnTo>
                    <a:pt x="190" y="513"/>
                  </a:lnTo>
                  <a:lnTo>
                    <a:pt x="173" y="525"/>
                  </a:lnTo>
                  <a:lnTo>
                    <a:pt x="155" y="538"/>
                  </a:lnTo>
                  <a:lnTo>
                    <a:pt x="142" y="550"/>
                  </a:lnTo>
                  <a:lnTo>
                    <a:pt x="132" y="559"/>
                  </a:lnTo>
                  <a:lnTo>
                    <a:pt x="125" y="566"/>
                  </a:lnTo>
                  <a:lnTo>
                    <a:pt x="117" y="577"/>
                  </a:lnTo>
                  <a:lnTo>
                    <a:pt x="112" y="586"/>
                  </a:lnTo>
                  <a:lnTo>
                    <a:pt x="106" y="595"/>
                  </a:lnTo>
                  <a:lnTo>
                    <a:pt x="104" y="605"/>
                  </a:lnTo>
                  <a:lnTo>
                    <a:pt x="100" y="621"/>
                  </a:lnTo>
                  <a:lnTo>
                    <a:pt x="98" y="635"/>
                  </a:lnTo>
                  <a:lnTo>
                    <a:pt x="97" y="651"/>
                  </a:lnTo>
                  <a:lnTo>
                    <a:pt x="93" y="668"/>
                  </a:lnTo>
                  <a:lnTo>
                    <a:pt x="90" y="678"/>
                  </a:lnTo>
                  <a:lnTo>
                    <a:pt x="85" y="687"/>
                  </a:lnTo>
                  <a:lnTo>
                    <a:pt x="80" y="698"/>
                  </a:lnTo>
                  <a:lnTo>
                    <a:pt x="72" y="710"/>
                  </a:lnTo>
                  <a:lnTo>
                    <a:pt x="48" y="738"/>
                  </a:lnTo>
                  <a:lnTo>
                    <a:pt x="24" y="763"/>
                  </a:lnTo>
                  <a:lnTo>
                    <a:pt x="14" y="775"/>
                  </a:lnTo>
                  <a:lnTo>
                    <a:pt x="6" y="790"/>
                  </a:lnTo>
                  <a:lnTo>
                    <a:pt x="4" y="798"/>
                  </a:lnTo>
                  <a:lnTo>
                    <a:pt x="1" y="806"/>
                  </a:lnTo>
                  <a:lnTo>
                    <a:pt x="0" y="815"/>
                  </a:lnTo>
                  <a:lnTo>
                    <a:pt x="0" y="824"/>
                  </a:lnTo>
                  <a:lnTo>
                    <a:pt x="0" y="834"/>
                  </a:lnTo>
                  <a:lnTo>
                    <a:pt x="2" y="840"/>
                  </a:lnTo>
                  <a:lnTo>
                    <a:pt x="6" y="847"/>
                  </a:lnTo>
                  <a:lnTo>
                    <a:pt x="10" y="852"/>
                  </a:lnTo>
                  <a:lnTo>
                    <a:pt x="16" y="855"/>
                  </a:lnTo>
                  <a:lnTo>
                    <a:pt x="22" y="859"/>
                  </a:lnTo>
                  <a:lnTo>
                    <a:pt x="29" y="860"/>
                  </a:lnTo>
                  <a:lnTo>
                    <a:pt x="36" y="860"/>
                  </a:lnTo>
                  <a:lnTo>
                    <a:pt x="45" y="860"/>
                  </a:lnTo>
                  <a:lnTo>
                    <a:pt x="54" y="860"/>
                  </a:lnTo>
                  <a:lnTo>
                    <a:pt x="65" y="860"/>
                  </a:lnTo>
                  <a:lnTo>
                    <a:pt x="77" y="860"/>
                  </a:lnTo>
                  <a:lnTo>
                    <a:pt x="86" y="862"/>
                  </a:lnTo>
                  <a:lnTo>
                    <a:pt x="100" y="866"/>
                  </a:lnTo>
                  <a:lnTo>
                    <a:pt x="114" y="871"/>
                  </a:lnTo>
                  <a:lnTo>
                    <a:pt x="129" y="878"/>
                  </a:lnTo>
                  <a:lnTo>
                    <a:pt x="137" y="883"/>
                  </a:lnTo>
                  <a:lnTo>
                    <a:pt x="144" y="887"/>
                  </a:lnTo>
                  <a:lnTo>
                    <a:pt x="150" y="892"/>
                  </a:lnTo>
                  <a:lnTo>
                    <a:pt x="155" y="899"/>
                  </a:lnTo>
                  <a:lnTo>
                    <a:pt x="161" y="906"/>
                  </a:lnTo>
                  <a:lnTo>
                    <a:pt x="165" y="912"/>
                  </a:lnTo>
                  <a:lnTo>
                    <a:pt x="166" y="919"/>
                  </a:lnTo>
                  <a:lnTo>
                    <a:pt x="167" y="927"/>
                  </a:lnTo>
                  <a:lnTo>
                    <a:pt x="161" y="936"/>
                  </a:lnTo>
                  <a:lnTo>
                    <a:pt x="145" y="952"/>
                  </a:lnTo>
                  <a:lnTo>
                    <a:pt x="128" y="968"/>
                  </a:lnTo>
                  <a:lnTo>
                    <a:pt x="113" y="982"/>
                  </a:lnTo>
                  <a:lnTo>
                    <a:pt x="113" y="1006"/>
                  </a:lnTo>
                  <a:lnTo>
                    <a:pt x="108" y="102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2" name="Freeform 48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1951038" y="3303588"/>
              <a:ext cx="439737" cy="269875"/>
            </a:xfrm>
            <a:custGeom>
              <a:avLst/>
              <a:gdLst/>
              <a:ahLst/>
              <a:cxnLst>
                <a:cxn ang="0">
                  <a:pos x="465" y="681"/>
                </a:cxn>
                <a:cxn ang="0">
                  <a:pos x="534" y="641"/>
                </a:cxn>
                <a:cxn ang="0">
                  <a:pos x="556" y="603"/>
                </a:cxn>
                <a:cxn ang="0">
                  <a:pos x="568" y="538"/>
                </a:cxn>
                <a:cxn ang="0">
                  <a:pos x="602" y="513"/>
                </a:cxn>
                <a:cxn ang="0">
                  <a:pos x="612" y="446"/>
                </a:cxn>
                <a:cxn ang="0">
                  <a:pos x="618" y="389"/>
                </a:cxn>
                <a:cxn ang="0">
                  <a:pos x="654" y="350"/>
                </a:cxn>
                <a:cxn ang="0">
                  <a:pos x="706" y="331"/>
                </a:cxn>
                <a:cxn ang="0">
                  <a:pos x="758" y="338"/>
                </a:cxn>
                <a:cxn ang="0">
                  <a:pos x="801" y="354"/>
                </a:cxn>
                <a:cxn ang="0">
                  <a:pos x="833" y="303"/>
                </a:cxn>
                <a:cxn ang="0">
                  <a:pos x="873" y="276"/>
                </a:cxn>
                <a:cxn ang="0">
                  <a:pos x="913" y="274"/>
                </a:cxn>
                <a:cxn ang="0">
                  <a:pos x="944" y="293"/>
                </a:cxn>
                <a:cxn ang="0">
                  <a:pos x="984" y="280"/>
                </a:cxn>
                <a:cxn ang="0">
                  <a:pos x="1024" y="234"/>
                </a:cxn>
                <a:cxn ang="0">
                  <a:pos x="925" y="110"/>
                </a:cxn>
                <a:cxn ang="0">
                  <a:pos x="844" y="86"/>
                </a:cxn>
                <a:cxn ang="0">
                  <a:pos x="816" y="66"/>
                </a:cxn>
                <a:cxn ang="0">
                  <a:pos x="802" y="21"/>
                </a:cxn>
                <a:cxn ang="0">
                  <a:pos x="778" y="0"/>
                </a:cxn>
                <a:cxn ang="0">
                  <a:pos x="746" y="9"/>
                </a:cxn>
                <a:cxn ang="0">
                  <a:pos x="689" y="54"/>
                </a:cxn>
                <a:cxn ang="0">
                  <a:pos x="609" y="56"/>
                </a:cxn>
                <a:cxn ang="0">
                  <a:pos x="489" y="82"/>
                </a:cxn>
                <a:cxn ang="0">
                  <a:pos x="470" y="112"/>
                </a:cxn>
                <a:cxn ang="0">
                  <a:pos x="421" y="125"/>
                </a:cxn>
                <a:cxn ang="0">
                  <a:pos x="400" y="112"/>
                </a:cxn>
                <a:cxn ang="0">
                  <a:pos x="376" y="85"/>
                </a:cxn>
                <a:cxn ang="0">
                  <a:pos x="354" y="88"/>
                </a:cxn>
                <a:cxn ang="0">
                  <a:pos x="319" y="124"/>
                </a:cxn>
                <a:cxn ang="0">
                  <a:pos x="293" y="145"/>
                </a:cxn>
                <a:cxn ang="0">
                  <a:pos x="261" y="197"/>
                </a:cxn>
                <a:cxn ang="0">
                  <a:pos x="207" y="225"/>
                </a:cxn>
                <a:cxn ang="0">
                  <a:pos x="88" y="250"/>
                </a:cxn>
                <a:cxn ang="0">
                  <a:pos x="19" y="282"/>
                </a:cxn>
                <a:cxn ang="0">
                  <a:pos x="0" y="330"/>
                </a:cxn>
                <a:cxn ang="0">
                  <a:pos x="20" y="375"/>
                </a:cxn>
                <a:cxn ang="0">
                  <a:pos x="43" y="417"/>
                </a:cxn>
                <a:cxn ang="0">
                  <a:pos x="31" y="438"/>
                </a:cxn>
                <a:cxn ang="0">
                  <a:pos x="48" y="470"/>
                </a:cxn>
                <a:cxn ang="0">
                  <a:pos x="101" y="490"/>
                </a:cxn>
                <a:cxn ang="0">
                  <a:pos x="152" y="503"/>
                </a:cxn>
                <a:cxn ang="0">
                  <a:pos x="173" y="551"/>
                </a:cxn>
                <a:cxn ang="0">
                  <a:pos x="183" y="653"/>
                </a:cxn>
                <a:cxn ang="0">
                  <a:pos x="211" y="706"/>
                </a:cxn>
                <a:cxn ang="0">
                  <a:pos x="240" y="721"/>
                </a:cxn>
                <a:cxn ang="0">
                  <a:pos x="281" y="711"/>
                </a:cxn>
                <a:cxn ang="0">
                  <a:pos x="372" y="662"/>
                </a:cxn>
                <a:cxn ang="0">
                  <a:pos x="410" y="669"/>
                </a:cxn>
                <a:cxn ang="0">
                  <a:pos x="452" y="703"/>
                </a:cxn>
              </a:cxnLst>
              <a:rect l="0" t="0" r="r" b="b"/>
              <a:pathLst>
                <a:path w="1024" h="722">
                  <a:moveTo>
                    <a:pt x="452" y="703"/>
                  </a:moveTo>
                  <a:lnTo>
                    <a:pt x="453" y="697"/>
                  </a:lnTo>
                  <a:lnTo>
                    <a:pt x="456" y="691"/>
                  </a:lnTo>
                  <a:lnTo>
                    <a:pt x="460" y="686"/>
                  </a:lnTo>
                  <a:lnTo>
                    <a:pt x="465" y="681"/>
                  </a:lnTo>
                  <a:lnTo>
                    <a:pt x="478" y="671"/>
                  </a:lnTo>
                  <a:lnTo>
                    <a:pt x="496" y="662"/>
                  </a:lnTo>
                  <a:lnTo>
                    <a:pt x="512" y="654"/>
                  </a:lnTo>
                  <a:lnTo>
                    <a:pt x="528" y="645"/>
                  </a:lnTo>
                  <a:lnTo>
                    <a:pt x="534" y="641"/>
                  </a:lnTo>
                  <a:lnTo>
                    <a:pt x="540" y="635"/>
                  </a:lnTo>
                  <a:lnTo>
                    <a:pt x="545" y="631"/>
                  </a:lnTo>
                  <a:lnTo>
                    <a:pt x="548" y="625"/>
                  </a:lnTo>
                  <a:lnTo>
                    <a:pt x="553" y="614"/>
                  </a:lnTo>
                  <a:lnTo>
                    <a:pt x="556" y="603"/>
                  </a:lnTo>
                  <a:lnTo>
                    <a:pt x="558" y="593"/>
                  </a:lnTo>
                  <a:lnTo>
                    <a:pt x="560" y="582"/>
                  </a:lnTo>
                  <a:lnTo>
                    <a:pt x="562" y="562"/>
                  </a:lnTo>
                  <a:lnTo>
                    <a:pt x="565" y="546"/>
                  </a:lnTo>
                  <a:lnTo>
                    <a:pt x="568" y="538"/>
                  </a:lnTo>
                  <a:lnTo>
                    <a:pt x="572" y="531"/>
                  </a:lnTo>
                  <a:lnTo>
                    <a:pt x="576" y="525"/>
                  </a:lnTo>
                  <a:lnTo>
                    <a:pt x="582" y="521"/>
                  </a:lnTo>
                  <a:lnTo>
                    <a:pt x="592" y="517"/>
                  </a:lnTo>
                  <a:lnTo>
                    <a:pt x="602" y="513"/>
                  </a:lnTo>
                  <a:lnTo>
                    <a:pt x="616" y="511"/>
                  </a:lnTo>
                  <a:lnTo>
                    <a:pt x="632" y="511"/>
                  </a:lnTo>
                  <a:lnTo>
                    <a:pt x="629" y="497"/>
                  </a:lnTo>
                  <a:lnTo>
                    <a:pt x="620" y="471"/>
                  </a:lnTo>
                  <a:lnTo>
                    <a:pt x="612" y="446"/>
                  </a:lnTo>
                  <a:lnTo>
                    <a:pt x="608" y="433"/>
                  </a:lnTo>
                  <a:lnTo>
                    <a:pt x="609" y="421"/>
                  </a:lnTo>
                  <a:lnTo>
                    <a:pt x="610" y="409"/>
                  </a:lnTo>
                  <a:lnTo>
                    <a:pt x="614" y="398"/>
                  </a:lnTo>
                  <a:lnTo>
                    <a:pt x="618" y="389"/>
                  </a:lnTo>
                  <a:lnTo>
                    <a:pt x="624" y="379"/>
                  </a:lnTo>
                  <a:lnTo>
                    <a:pt x="630" y="371"/>
                  </a:lnTo>
                  <a:lnTo>
                    <a:pt x="637" y="363"/>
                  </a:lnTo>
                  <a:lnTo>
                    <a:pt x="646" y="357"/>
                  </a:lnTo>
                  <a:lnTo>
                    <a:pt x="654" y="350"/>
                  </a:lnTo>
                  <a:lnTo>
                    <a:pt x="664" y="345"/>
                  </a:lnTo>
                  <a:lnTo>
                    <a:pt x="674" y="341"/>
                  </a:lnTo>
                  <a:lnTo>
                    <a:pt x="684" y="337"/>
                  </a:lnTo>
                  <a:lnTo>
                    <a:pt x="696" y="334"/>
                  </a:lnTo>
                  <a:lnTo>
                    <a:pt x="706" y="331"/>
                  </a:lnTo>
                  <a:lnTo>
                    <a:pt x="717" y="330"/>
                  </a:lnTo>
                  <a:lnTo>
                    <a:pt x="729" y="330"/>
                  </a:lnTo>
                  <a:lnTo>
                    <a:pt x="740" y="331"/>
                  </a:lnTo>
                  <a:lnTo>
                    <a:pt x="749" y="334"/>
                  </a:lnTo>
                  <a:lnTo>
                    <a:pt x="758" y="338"/>
                  </a:lnTo>
                  <a:lnTo>
                    <a:pt x="766" y="343"/>
                  </a:lnTo>
                  <a:lnTo>
                    <a:pt x="784" y="355"/>
                  </a:lnTo>
                  <a:lnTo>
                    <a:pt x="801" y="366"/>
                  </a:lnTo>
                  <a:lnTo>
                    <a:pt x="801" y="361"/>
                  </a:lnTo>
                  <a:lnTo>
                    <a:pt x="801" y="354"/>
                  </a:lnTo>
                  <a:lnTo>
                    <a:pt x="804" y="347"/>
                  </a:lnTo>
                  <a:lnTo>
                    <a:pt x="806" y="341"/>
                  </a:lnTo>
                  <a:lnTo>
                    <a:pt x="810" y="334"/>
                  </a:lnTo>
                  <a:lnTo>
                    <a:pt x="820" y="318"/>
                  </a:lnTo>
                  <a:lnTo>
                    <a:pt x="833" y="303"/>
                  </a:lnTo>
                  <a:lnTo>
                    <a:pt x="841" y="297"/>
                  </a:lnTo>
                  <a:lnTo>
                    <a:pt x="848" y="290"/>
                  </a:lnTo>
                  <a:lnTo>
                    <a:pt x="856" y="285"/>
                  </a:lnTo>
                  <a:lnTo>
                    <a:pt x="865" y="280"/>
                  </a:lnTo>
                  <a:lnTo>
                    <a:pt x="873" y="276"/>
                  </a:lnTo>
                  <a:lnTo>
                    <a:pt x="881" y="273"/>
                  </a:lnTo>
                  <a:lnTo>
                    <a:pt x="889" y="270"/>
                  </a:lnTo>
                  <a:lnTo>
                    <a:pt x="897" y="270"/>
                  </a:lnTo>
                  <a:lnTo>
                    <a:pt x="905" y="272"/>
                  </a:lnTo>
                  <a:lnTo>
                    <a:pt x="913" y="274"/>
                  </a:lnTo>
                  <a:lnTo>
                    <a:pt x="918" y="278"/>
                  </a:lnTo>
                  <a:lnTo>
                    <a:pt x="924" y="282"/>
                  </a:lnTo>
                  <a:lnTo>
                    <a:pt x="930" y="286"/>
                  </a:lnTo>
                  <a:lnTo>
                    <a:pt x="936" y="290"/>
                  </a:lnTo>
                  <a:lnTo>
                    <a:pt x="944" y="293"/>
                  </a:lnTo>
                  <a:lnTo>
                    <a:pt x="952" y="294"/>
                  </a:lnTo>
                  <a:lnTo>
                    <a:pt x="960" y="293"/>
                  </a:lnTo>
                  <a:lnTo>
                    <a:pt x="968" y="289"/>
                  </a:lnTo>
                  <a:lnTo>
                    <a:pt x="976" y="285"/>
                  </a:lnTo>
                  <a:lnTo>
                    <a:pt x="984" y="280"/>
                  </a:lnTo>
                  <a:lnTo>
                    <a:pt x="992" y="273"/>
                  </a:lnTo>
                  <a:lnTo>
                    <a:pt x="1001" y="269"/>
                  </a:lnTo>
                  <a:lnTo>
                    <a:pt x="1012" y="265"/>
                  </a:lnTo>
                  <a:lnTo>
                    <a:pt x="1024" y="264"/>
                  </a:lnTo>
                  <a:lnTo>
                    <a:pt x="1024" y="234"/>
                  </a:lnTo>
                  <a:lnTo>
                    <a:pt x="1000" y="208"/>
                  </a:lnTo>
                  <a:lnTo>
                    <a:pt x="966" y="165"/>
                  </a:lnTo>
                  <a:lnTo>
                    <a:pt x="949" y="144"/>
                  </a:lnTo>
                  <a:lnTo>
                    <a:pt x="934" y="125"/>
                  </a:lnTo>
                  <a:lnTo>
                    <a:pt x="925" y="110"/>
                  </a:lnTo>
                  <a:lnTo>
                    <a:pt x="921" y="101"/>
                  </a:lnTo>
                  <a:lnTo>
                    <a:pt x="898" y="100"/>
                  </a:lnTo>
                  <a:lnTo>
                    <a:pt x="870" y="94"/>
                  </a:lnTo>
                  <a:lnTo>
                    <a:pt x="857" y="90"/>
                  </a:lnTo>
                  <a:lnTo>
                    <a:pt x="844" y="86"/>
                  </a:lnTo>
                  <a:lnTo>
                    <a:pt x="833" y="82"/>
                  </a:lnTo>
                  <a:lnTo>
                    <a:pt x="825" y="77"/>
                  </a:lnTo>
                  <a:lnTo>
                    <a:pt x="821" y="74"/>
                  </a:lnTo>
                  <a:lnTo>
                    <a:pt x="817" y="70"/>
                  </a:lnTo>
                  <a:lnTo>
                    <a:pt x="816" y="66"/>
                  </a:lnTo>
                  <a:lnTo>
                    <a:pt x="813" y="60"/>
                  </a:lnTo>
                  <a:lnTo>
                    <a:pt x="810" y="48"/>
                  </a:lnTo>
                  <a:lnTo>
                    <a:pt x="806" y="34"/>
                  </a:lnTo>
                  <a:lnTo>
                    <a:pt x="805" y="28"/>
                  </a:lnTo>
                  <a:lnTo>
                    <a:pt x="802" y="21"/>
                  </a:lnTo>
                  <a:lnTo>
                    <a:pt x="800" y="14"/>
                  </a:lnTo>
                  <a:lnTo>
                    <a:pt x="796" y="9"/>
                  </a:lnTo>
                  <a:lnTo>
                    <a:pt x="792" y="5"/>
                  </a:lnTo>
                  <a:lnTo>
                    <a:pt x="786" y="2"/>
                  </a:lnTo>
                  <a:lnTo>
                    <a:pt x="778" y="0"/>
                  </a:lnTo>
                  <a:lnTo>
                    <a:pt x="770" y="0"/>
                  </a:lnTo>
                  <a:lnTo>
                    <a:pt x="764" y="0"/>
                  </a:lnTo>
                  <a:lnTo>
                    <a:pt x="758" y="1"/>
                  </a:lnTo>
                  <a:lnTo>
                    <a:pt x="752" y="5"/>
                  </a:lnTo>
                  <a:lnTo>
                    <a:pt x="746" y="9"/>
                  </a:lnTo>
                  <a:lnTo>
                    <a:pt x="734" y="18"/>
                  </a:lnTo>
                  <a:lnTo>
                    <a:pt x="724" y="29"/>
                  </a:lnTo>
                  <a:lnTo>
                    <a:pt x="710" y="40"/>
                  </a:lnTo>
                  <a:lnTo>
                    <a:pt x="697" y="50"/>
                  </a:lnTo>
                  <a:lnTo>
                    <a:pt x="689" y="54"/>
                  </a:lnTo>
                  <a:lnTo>
                    <a:pt x="681" y="57"/>
                  </a:lnTo>
                  <a:lnTo>
                    <a:pt x="672" y="58"/>
                  </a:lnTo>
                  <a:lnTo>
                    <a:pt x="662" y="60"/>
                  </a:lnTo>
                  <a:lnTo>
                    <a:pt x="637" y="58"/>
                  </a:lnTo>
                  <a:lnTo>
                    <a:pt x="609" y="56"/>
                  </a:lnTo>
                  <a:lnTo>
                    <a:pt x="582" y="52"/>
                  </a:lnTo>
                  <a:lnTo>
                    <a:pt x="560" y="48"/>
                  </a:lnTo>
                  <a:lnTo>
                    <a:pt x="493" y="48"/>
                  </a:lnTo>
                  <a:lnTo>
                    <a:pt x="493" y="66"/>
                  </a:lnTo>
                  <a:lnTo>
                    <a:pt x="489" y="82"/>
                  </a:lnTo>
                  <a:lnTo>
                    <a:pt x="486" y="89"/>
                  </a:lnTo>
                  <a:lnTo>
                    <a:pt x="484" y="96"/>
                  </a:lnTo>
                  <a:lnTo>
                    <a:pt x="480" y="101"/>
                  </a:lnTo>
                  <a:lnTo>
                    <a:pt x="476" y="106"/>
                  </a:lnTo>
                  <a:lnTo>
                    <a:pt x="470" y="112"/>
                  </a:lnTo>
                  <a:lnTo>
                    <a:pt x="465" y="116"/>
                  </a:lnTo>
                  <a:lnTo>
                    <a:pt x="460" y="118"/>
                  </a:lnTo>
                  <a:lnTo>
                    <a:pt x="453" y="121"/>
                  </a:lnTo>
                  <a:lnTo>
                    <a:pt x="438" y="125"/>
                  </a:lnTo>
                  <a:lnTo>
                    <a:pt x="421" y="125"/>
                  </a:lnTo>
                  <a:lnTo>
                    <a:pt x="417" y="125"/>
                  </a:lnTo>
                  <a:lnTo>
                    <a:pt x="413" y="124"/>
                  </a:lnTo>
                  <a:lnTo>
                    <a:pt x="409" y="122"/>
                  </a:lnTo>
                  <a:lnTo>
                    <a:pt x="406" y="118"/>
                  </a:lnTo>
                  <a:lnTo>
                    <a:pt x="400" y="112"/>
                  </a:lnTo>
                  <a:lnTo>
                    <a:pt x="394" y="105"/>
                  </a:lnTo>
                  <a:lnTo>
                    <a:pt x="389" y="97"/>
                  </a:lnTo>
                  <a:lnTo>
                    <a:pt x="382" y="90"/>
                  </a:lnTo>
                  <a:lnTo>
                    <a:pt x="378" y="88"/>
                  </a:lnTo>
                  <a:lnTo>
                    <a:pt x="376" y="85"/>
                  </a:lnTo>
                  <a:lnTo>
                    <a:pt x="372" y="84"/>
                  </a:lnTo>
                  <a:lnTo>
                    <a:pt x="368" y="84"/>
                  </a:lnTo>
                  <a:lnTo>
                    <a:pt x="362" y="84"/>
                  </a:lnTo>
                  <a:lnTo>
                    <a:pt x="358" y="85"/>
                  </a:lnTo>
                  <a:lnTo>
                    <a:pt x="354" y="88"/>
                  </a:lnTo>
                  <a:lnTo>
                    <a:pt x="350" y="90"/>
                  </a:lnTo>
                  <a:lnTo>
                    <a:pt x="344" y="98"/>
                  </a:lnTo>
                  <a:lnTo>
                    <a:pt x="336" y="108"/>
                  </a:lnTo>
                  <a:lnTo>
                    <a:pt x="328" y="117"/>
                  </a:lnTo>
                  <a:lnTo>
                    <a:pt x="319" y="124"/>
                  </a:lnTo>
                  <a:lnTo>
                    <a:pt x="313" y="128"/>
                  </a:lnTo>
                  <a:lnTo>
                    <a:pt x="308" y="129"/>
                  </a:lnTo>
                  <a:lnTo>
                    <a:pt x="301" y="132"/>
                  </a:lnTo>
                  <a:lnTo>
                    <a:pt x="295" y="132"/>
                  </a:lnTo>
                  <a:lnTo>
                    <a:pt x="293" y="145"/>
                  </a:lnTo>
                  <a:lnTo>
                    <a:pt x="289" y="158"/>
                  </a:lnTo>
                  <a:lnTo>
                    <a:pt x="284" y="169"/>
                  </a:lnTo>
                  <a:lnTo>
                    <a:pt x="277" y="180"/>
                  </a:lnTo>
                  <a:lnTo>
                    <a:pt x="269" y="189"/>
                  </a:lnTo>
                  <a:lnTo>
                    <a:pt x="261" y="197"/>
                  </a:lnTo>
                  <a:lnTo>
                    <a:pt x="252" y="204"/>
                  </a:lnTo>
                  <a:lnTo>
                    <a:pt x="241" y="210"/>
                  </a:lnTo>
                  <a:lnTo>
                    <a:pt x="231" y="216"/>
                  </a:lnTo>
                  <a:lnTo>
                    <a:pt x="219" y="221"/>
                  </a:lnTo>
                  <a:lnTo>
                    <a:pt x="207" y="225"/>
                  </a:lnTo>
                  <a:lnTo>
                    <a:pt x="193" y="229"/>
                  </a:lnTo>
                  <a:lnTo>
                    <a:pt x="168" y="234"/>
                  </a:lnTo>
                  <a:lnTo>
                    <a:pt x="141" y="240"/>
                  </a:lnTo>
                  <a:lnTo>
                    <a:pt x="115" y="245"/>
                  </a:lnTo>
                  <a:lnTo>
                    <a:pt x="88" y="250"/>
                  </a:lnTo>
                  <a:lnTo>
                    <a:pt x="65" y="257"/>
                  </a:lnTo>
                  <a:lnTo>
                    <a:pt x="44" y="265"/>
                  </a:lnTo>
                  <a:lnTo>
                    <a:pt x="35" y="270"/>
                  </a:lnTo>
                  <a:lnTo>
                    <a:pt x="25" y="276"/>
                  </a:lnTo>
                  <a:lnTo>
                    <a:pt x="19" y="282"/>
                  </a:lnTo>
                  <a:lnTo>
                    <a:pt x="12" y="290"/>
                  </a:lnTo>
                  <a:lnTo>
                    <a:pt x="7" y="298"/>
                  </a:lnTo>
                  <a:lnTo>
                    <a:pt x="3" y="307"/>
                  </a:lnTo>
                  <a:lnTo>
                    <a:pt x="1" y="318"/>
                  </a:lnTo>
                  <a:lnTo>
                    <a:pt x="0" y="330"/>
                  </a:lnTo>
                  <a:lnTo>
                    <a:pt x="1" y="345"/>
                  </a:lnTo>
                  <a:lnTo>
                    <a:pt x="3" y="355"/>
                  </a:lnTo>
                  <a:lnTo>
                    <a:pt x="7" y="365"/>
                  </a:lnTo>
                  <a:lnTo>
                    <a:pt x="13" y="371"/>
                  </a:lnTo>
                  <a:lnTo>
                    <a:pt x="20" y="375"/>
                  </a:lnTo>
                  <a:lnTo>
                    <a:pt x="28" y="379"/>
                  </a:lnTo>
                  <a:lnTo>
                    <a:pt x="37" y="382"/>
                  </a:lnTo>
                  <a:lnTo>
                    <a:pt x="48" y="385"/>
                  </a:lnTo>
                  <a:lnTo>
                    <a:pt x="48" y="409"/>
                  </a:lnTo>
                  <a:lnTo>
                    <a:pt x="43" y="417"/>
                  </a:lnTo>
                  <a:lnTo>
                    <a:pt x="37" y="423"/>
                  </a:lnTo>
                  <a:lnTo>
                    <a:pt x="35" y="427"/>
                  </a:lnTo>
                  <a:lnTo>
                    <a:pt x="32" y="430"/>
                  </a:lnTo>
                  <a:lnTo>
                    <a:pt x="31" y="434"/>
                  </a:lnTo>
                  <a:lnTo>
                    <a:pt x="31" y="438"/>
                  </a:lnTo>
                  <a:lnTo>
                    <a:pt x="31" y="446"/>
                  </a:lnTo>
                  <a:lnTo>
                    <a:pt x="33" y="453"/>
                  </a:lnTo>
                  <a:lnTo>
                    <a:pt x="37" y="459"/>
                  </a:lnTo>
                  <a:lnTo>
                    <a:pt x="41" y="465"/>
                  </a:lnTo>
                  <a:lnTo>
                    <a:pt x="48" y="470"/>
                  </a:lnTo>
                  <a:lnTo>
                    <a:pt x="55" y="474"/>
                  </a:lnTo>
                  <a:lnTo>
                    <a:pt x="61" y="478"/>
                  </a:lnTo>
                  <a:lnTo>
                    <a:pt x="69" y="482"/>
                  </a:lnTo>
                  <a:lnTo>
                    <a:pt x="85" y="487"/>
                  </a:lnTo>
                  <a:lnTo>
                    <a:pt x="101" y="490"/>
                  </a:lnTo>
                  <a:lnTo>
                    <a:pt x="116" y="493"/>
                  </a:lnTo>
                  <a:lnTo>
                    <a:pt x="127" y="493"/>
                  </a:lnTo>
                  <a:lnTo>
                    <a:pt x="136" y="494"/>
                  </a:lnTo>
                  <a:lnTo>
                    <a:pt x="144" y="498"/>
                  </a:lnTo>
                  <a:lnTo>
                    <a:pt x="152" y="503"/>
                  </a:lnTo>
                  <a:lnTo>
                    <a:pt x="157" y="510"/>
                  </a:lnTo>
                  <a:lnTo>
                    <a:pt x="163" y="519"/>
                  </a:lnTo>
                  <a:lnTo>
                    <a:pt x="168" y="529"/>
                  </a:lnTo>
                  <a:lnTo>
                    <a:pt x="171" y="539"/>
                  </a:lnTo>
                  <a:lnTo>
                    <a:pt x="173" y="551"/>
                  </a:lnTo>
                  <a:lnTo>
                    <a:pt x="177" y="575"/>
                  </a:lnTo>
                  <a:lnTo>
                    <a:pt x="180" y="599"/>
                  </a:lnTo>
                  <a:lnTo>
                    <a:pt x="180" y="621"/>
                  </a:lnTo>
                  <a:lnTo>
                    <a:pt x="181" y="637"/>
                  </a:lnTo>
                  <a:lnTo>
                    <a:pt x="183" y="653"/>
                  </a:lnTo>
                  <a:lnTo>
                    <a:pt x="185" y="669"/>
                  </a:lnTo>
                  <a:lnTo>
                    <a:pt x="192" y="682"/>
                  </a:lnTo>
                  <a:lnTo>
                    <a:pt x="200" y="695"/>
                  </a:lnTo>
                  <a:lnTo>
                    <a:pt x="205" y="701"/>
                  </a:lnTo>
                  <a:lnTo>
                    <a:pt x="211" y="706"/>
                  </a:lnTo>
                  <a:lnTo>
                    <a:pt x="216" y="710"/>
                  </a:lnTo>
                  <a:lnTo>
                    <a:pt x="221" y="714"/>
                  </a:lnTo>
                  <a:lnTo>
                    <a:pt x="228" y="718"/>
                  </a:lnTo>
                  <a:lnTo>
                    <a:pt x="233" y="719"/>
                  </a:lnTo>
                  <a:lnTo>
                    <a:pt x="240" y="721"/>
                  </a:lnTo>
                  <a:lnTo>
                    <a:pt x="247" y="722"/>
                  </a:lnTo>
                  <a:lnTo>
                    <a:pt x="255" y="721"/>
                  </a:lnTo>
                  <a:lnTo>
                    <a:pt x="264" y="719"/>
                  </a:lnTo>
                  <a:lnTo>
                    <a:pt x="272" y="715"/>
                  </a:lnTo>
                  <a:lnTo>
                    <a:pt x="281" y="711"/>
                  </a:lnTo>
                  <a:lnTo>
                    <a:pt x="301" y="701"/>
                  </a:lnTo>
                  <a:lnTo>
                    <a:pt x="321" y="689"/>
                  </a:lnTo>
                  <a:lnTo>
                    <a:pt x="341" y="677"/>
                  </a:lnTo>
                  <a:lnTo>
                    <a:pt x="362" y="666"/>
                  </a:lnTo>
                  <a:lnTo>
                    <a:pt x="372" y="662"/>
                  </a:lnTo>
                  <a:lnTo>
                    <a:pt x="382" y="658"/>
                  </a:lnTo>
                  <a:lnTo>
                    <a:pt x="393" y="657"/>
                  </a:lnTo>
                  <a:lnTo>
                    <a:pt x="404" y="655"/>
                  </a:lnTo>
                  <a:lnTo>
                    <a:pt x="405" y="661"/>
                  </a:lnTo>
                  <a:lnTo>
                    <a:pt x="410" y="669"/>
                  </a:lnTo>
                  <a:lnTo>
                    <a:pt x="418" y="678"/>
                  </a:lnTo>
                  <a:lnTo>
                    <a:pt x="428" y="687"/>
                  </a:lnTo>
                  <a:lnTo>
                    <a:pt x="444" y="703"/>
                  </a:lnTo>
                  <a:lnTo>
                    <a:pt x="452" y="710"/>
                  </a:lnTo>
                  <a:lnTo>
                    <a:pt x="452" y="70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3" name="Freeform 49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036763" y="3124200"/>
              <a:ext cx="446087" cy="219075"/>
            </a:xfrm>
            <a:custGeom>
              <a:avLst/>
              <a:gdLst/>
              <a:ahLst/>
              <a:cxnLst>
                <a:cxn ang="0">
                  <a:pos x="982" y="273"/>
                </a:cxn>
                <a:cxn ang="0">
                  <a:pos x="920" y="316"/>
                </a:cxn>
                <a:cxn ang="0">
                  <a:pos x="877" y="328"/>
                </a:cxn>
                <a:cxn ang="0">
                  <a:pos x="819" y="324"/>
                </a:cxn>
                <a:cxn ang="0">
                  <a:pos x="763" y="300"/>
                </a:cxn>
                <a:cxn ang="0">
                  <a:pos x="719" y="265"/>
                </a:cxn>
                <a:cxn ang="0">
                  <a:pos x="674" y="212"/>
                </a:cxn>
                <a:cxn ang="0">
                  <a:pos x="575" y="142"/>
                </a:cxn>
                <a:cxn ang="0">
                  <a:pos x="517" y="87"/>
                </a:cxn>
                <a:cxn ang="0">
                  <a:pos x="494" y="46"/>
                </a:cxn>
                <a:cxn ang="0">
                  <a:pos x="483" y="10"/>
                </a:cxn>
                <a:cxn ang="0">
                  <a:pos x="461" y="22"/>
                </a:cxn>
                <a:cxn ang="0">
                  <a:pos x="445" y="46"/>
                </a:cxn>
                <a:cxn ang="0">
                  <a:pos x="422" y="47"/>
                </a:cxn>
                <a:cxn ang="0">
                  <a:pos x="381" y="28"/>
                </a:cxn>
                <a:cxn ang="0">
                  <a:pos x="341" y="19"/>
                </a:cxn>
                <a:cxn ang="0">
                  <a:pos x="313" y="30"/>
                </a:cxn>
                <a:cxn ang="0">
                  <a:pos x="275" y="51"/>
                </a:cxn>
                <a:cxn ang="0">
                  <a:pos x="249" y="66"/>
                </a:cxn>
                <a:cxn ang="0">
                  <a:pos x="225" y="104"/>
                </a:cxn>
                <a:cxn ang="0">
                  <a:pos x="187" y="131"/>
                </a:cxn>
                <a:cxn ang="0">
                  <a:pos x="141" y="147"/>
                </a:cxn>
                <a:cxn ang="0">
                  <a:pos x="100" y="166"/>
                </a:cxn>
                <a:cxn ang="0">
                  <a:pos x="76" y="200"/>
                </a:cxn>
                <a:cxn ang="0">
                  <a:pos x="30" y="216"/>
                </a:cxn>
                <a:cxn ang="0">
                  <a:pos x="1" y="243"/>
                </a:cxn>
                <a:cxn ang="0">
                  <a:pos x="8" y="268"/>
                </a:cxn>
                <a:cxn ang="0">
                  <a:pos x="65" y="301"/>
                </a:cxn>
                <a:cxn ang="0">
                  <a:pos x="122" y="313"/>
                </a:cxn>
                <a:cxn ang="0">
                  <a:pos x="149" y="303"/>
                </a:cxn>
                <a:cxn ang="0">
                  <a:pos x="187" y="285"/>
                </a:cxn>
                <a:cxn ang="0">
                  <a:pos x="201" y="336"/>
                </a:cxn>
                <a:cxn ang="0">
                  <a:pos x="238" y="368"/>
                </a:cxn>
                <a:cxn ang="0">
                  <a:pos x="282" y="393"/>
                </a:cxn>
                <a:cxn ang="0">
                  <a:pos x="286" y="415"/>
                </a:cxn>
                <a:cxn ang="0">
                  <a:pos x="269" y="413"/>
                </a:cxn>
                <a:cxn ang="0">
                  <a:pos x="281" y="460"/>
                </a:cxn>
                <a:cxn ang="0">
                  <a:pos x="337" y="477"/>
                </a:cxn>
                <a:cxn ang="0">
                  <a:pos x="367" y="491"/>
                </a:cxn>
                <a:cxn ang="0">
                  <a:pos x="385" y="531"/>
                </a:cxn>
                <a:cxn ang="0">
                  <a:pos x="463" y="543"/>
                </a:cxn>
                <a:cxn ang="0">
                  <a:pos x="498" y="533"/>
                </a:cxn>
                <a:cxn ang="0">
                  <a:pos x="547" y="492"/>
                </a:cxn>
                <a:cxn ang="0">
                  <a:pos x="571" y="483"/>
                </a:cxn>
                <a:cxn ang="0">
                  <a:pos x="597" y="492"/>
                </a:cxn>
                <a:cxn ang="0">
                  <a:pos x="607" y="517"/>
                </a:cxn>
                <a:cxn ang="0">
                  <a:pos x="618" y="553"/>
                </a:cxn>
                <a:cxn ang="0">
                  <a:pos x="645" y="569"/>
                </a:cxn>
                <a:cxn ang="0">
                  <a:pos x="722" y="584"/>
                </a:cxn>
                <a:cxn ang="0">
                  <a:pos x="753" y="560"/>
                </a:cxn>
                <a:cxn ang="0">
                  <a:pos x="771" y="535"/>
                </a:cxn>
                <a:cxn ang="0">
                  <a:pos x="794" y="512"/>
                </a:cxn>
                <a:cxn ang="0">
                  <a:pos x="931" y="517"/>
                </a:cxn>
                <a:cxn ang="0">
                  <a:pos x="967" y="505"/>
                </a:cxn>
                <a:cxn ang="0">
                  <a:pos x="979" y="488"/>
                </a:cxn>
                <a:cxn ang="0">
                  <a:pos x="983" y="437"/>
                </a:cxn>
                <a:cxn ang="0">
                  <a:pos x="1003" y="344"/>
                </a:cxn>
                <a:cxn ang="0">
                  <a:pos x="1030" y="249"/>
                </a:cxn>
              </a:cxnLst>
              <a:rect l="0" t="0" r="r" b="b"/>
              <a:pathLst>
                <a:path w="1035" h="584">
                  <a:moveTo>
                    <a:pt x="1030" y="223"/>
                  </a:moveTo>
                  <a:lnTo>
                    <a:pt x="1014" y="241"/>
                  </a:lnTo>
                  <a:lnTo>
                    <a:pt x="998" y="257"/>
                  </a:lnTo>
                  <a:lnTo>
                    <a:pt x="982" y="273"/>
                  </a:lnTo>
                  <a:lnTo>
                    <a:pt x="964" y="288"/>
                  </a:lnTo>
                  <a:lnTo>
                    <a:pt x="947" y="300"/>
                  </a:lnTo>
                  <a:lnTo>
                    <a:pt x="930" y="311"/>
                  </a:lnTo>
                  <a:lnTo>
                    <a:pt x="920" y="316"/>
                  </a:lnTo>
                  <a:lnTo>
                    <a:pt x="911" y="320"/>
                  </a:lnTo>
                  <a:lnTo>
                    <a:pt x="901" y="323"/>
                  </a:lnTo>
                  <a:lnTo>
                    <a:pt x="891" y="325"/>
                  </a:lnTo>
                  <a:lnTo>
                    <a:pt x="877" y="328"/>
                  </a:lnTo>
                  <a:lnTo>
                    <a:pt x="863" y="329"/>
                  </a:lnTo>
                  <a:lnTo>
                    <a:pt x="849" y="328"/>
                  </a:lnTo>
                  <a:lnTo>
                    <a:pt x="834" y="327"/>
                  </a:lnTo>
                  <a:lnTo>
                    <a:pt x="819" y="324"/>
                  </a:lnTo>
                  <a:lnTo>
                    <a:pt x="805" y="319"/>
                  </a:lnTo>
                  <a:lnTo>
                    <a:pt x="790" y="313"/>
                  </a:lnTo>
                  <a:lnTo>
                    <a:pt x="777" y="308"/>
                  </a:lnTo>
                  <a:lnTo>
                    <a:pt x="763" y="300"/>
                  </a:lnTo>
                  <a:lnTo>
                    <a:pt x="751" y="292"/>
                  </a:lnTo>
                  <a:lnTo>
                    <a:pt x="739" y="284"/>
                  </a:lnTo>
                  <a:lnTo>
                    <a:pt x="729" y="275"/>
                  </a:lnTo>
                  <a:lnTo>
                    <a:pt x="719" y="265"/>
                  </a:lnTo>
                  <a:lnTo>
                    <a:pt x="710" y="255"/>
                  </a:lnTo>
                  <a:lnTo>
                    <a:pt x="703" y="245"/>
                  </a:lnTo>
                  <a:lnTo>
                    <a:pt x="698" y="235"/>
                  </a:lnTo>
                  <a:lnTo>
                    <a:pt x="674" y="212"/>
                  </a:lnTo>
                  <a:lnTo>
                    <a:pt x="649" y="193"/>
                  </a:lnTo>
                  <a:lnTo>
                    <a:pt x="623" y="175"/>
                  </a:lnTo>
                  <a:lnTo>
                    <a:pt x="599" y="159"/>
                  </a:lnTo>
                  <a:lnTo>
                    <a:pt x="575" y="142"/>
                  </a:lnTo>
                  <a:lnTo>
                    <a:pt x="551" y="122"/>
                  </a:lnTo>
                  <a:lnTo>
                    <a:pt x="539" y="111"/>
                  </a:lnTo>
                  <a:lnTo>
                    <a:pt x="529" y="99"/>
                  </a:lnTo>
                  <a:lnTo>
                    <a:pt x="517" y="87"/>
                  </a:lnTo>
                  <a:lnTo>
                    <a:pt x="506" y="72"/>
                  </a:lnTo>
                  <a:lnTo>
                    <a:pt x="499" y="64"/>
                  </a:lnTo>
                  <a:lnTo>
                    <a:pt x="497" y="55"/>
                  </a:lnTo>
                  <a:lnTo>
                    <a:pt x="494" y="46"/>
                  </a:lnTo>
                  <a:lnTo>
                    <a:pt x="493" y="36"/>
                  </a:lnTo>
                  <a:lnTo>
                    <a:pt x="490" y="27"/>
                  </a:lnTo>
                  <a:lnTo>
                    <a:pt x="487" y="19"/>
                  </a:lnTo>
                  <a:lnTo>
                    <a:pt x="483" y="10"/>
                  </a:lnTo>
                  <a:lnTo>
                    <a:pt x="475" y="0"/>
                  </a:lnTo>
                  <a:lnTo>
                    <a:pt x="469" y="6"/>
                  </a:lnTo>
                  <a:lnTo>
                    <a:pt x="465" y="14"/>
                  </a:lnTo>
                  <a:lnTo>
                    <a:pt x="461" y="22"/>
                  </a:lnTo>
                  <a:lnTo>
                    <a:pt x="457" y="30"/>
                  </a:lnTo>
                  <a:lnTo>
                    <a:pt x="453" y="36"/>
                  </a:lnTo>
                  <a:lnTo>
                    <a:pt x="447" y="43"/>
                  </a:lnTo>
                  <a:lnTo>
                    <a:pt x="445" y="46"/>
                  </a:lnTo>
                  <a:lnTo>
                    <a:pt x="441" y="47"/>
                  </a:lnTo>
                  <a:lnTo>
                    <a:pt x="438" y="48"/>
                  </a:lnTo>
                  <a:lnTo>
                    <a:pt x="433" y="48"/>
                  </a:lnTo>
                  <a:lnTo>
                    <a:pt x="422" y="47"/>
                  </a:lnTo>
                  <a:lnTo>
                    <a:pt x="411" y="44"/>
                  </a:lnTo>
                  <a:lnTo>
                    <a:pt x="401" y="39"/>
                  </a:lnTo>
                  <a:lnTo>
                    <a:pt x="391" y="34"/>
                  </a:lnTo>
                  <a:lnTo>
                    <a:pt x="381" y="28"/>
                  </a:lnTo>
                  <a:lnTo>
                    <a:pt x="370" y="23"/>
                  </a:lnTo>
                  <a:lnTo>
                    <a:pt x="359" y="20"/>
                  </a:lnTo>
                  <a:lnTo>
                    <a:pt x="349" y="19"/>
                  </a:lnTo>
                  <a:lnTo>
                    <a:pt x="341" y="19"/>
                  </a:lnTo>
                  <a:lnTo>
                    <a:pt x="334" y="20"/>
                  </a:lnTo>
                  <a:lnTo>
                    <a:pt x="329" y="22"/>
                  </a:lnTo>
                  <a:lnTo>
                    <a:pt x="323" y="24"/>
                  </a:lnTo>
                  <a:lnTo>
                    <a:pt x="313" y="30"/>
                  </a:lnTo>
                  <a:lnTo>
                    <a:pt x="303" y="36"/>
                  </a:lnTo>
                  <a:lnTo>
                    <a:pt x="293" y="43"/>
                  </a:lnTo>
                  <a:lnTo>
                    <a:pt x="282" y="50"/>
                  </a:lnTo>
                  <a:lnTo>
                    <a:pt x="275" y="51"/>
                  </a:lnTo>
                  <a:lnTo>
                    <a:pt x="269" y="54"/>
                  </a:lnTo>
                  <a:lnTo>
                    <a:pt x="261" y="54"/>
                  </a:lnTo>
                  <a:lnTo>
                    <a:pt x="253" y="55"/>
                  </a:lnTo>
                  <a:lnTo>
                    <a:pt x="249" y="66"/>
                  </a:lnTo>
                  <a:lnTo>
                    <a:pt x="243" y="76"/>
                  </a:lnTo>
                  <a:lnTo>
                    <a:pt x="238" y="86"/>
                  </a:lnTo>
                  <a:lnTo>
                    <a:pt x="231" y="95"/>
                  </a:lnTo>
                  <a:lnTo>
                    <a:pt x="225" y="104"/>
                  </a:lnTo>
                  <a:lnTo>
                    <a:pt x="215" y="111"/>
                  </a:lnTo>
                  <a:lnTo>
                    <a:pt x="207" y="119"/>
                  </a:lnTo>
                  <a:lnTo>
                    <a:pt x="198" y="126"/>
                  </a:lnTo>
                  <a:lnTo>
                    <a:pt x="187" y="131"/>
                  </a:lnTo>
                  <a:lnTo>
                    <a:pt x="177" y="136"/>
                  </a:lnTo>
                  <a:lnTo>
                    <a:pt x="165" y="140"/>
                  </a:lnTo>
                  <a:lnTo>
                    <a:pt x="153" y="144"/>
                  </a:lnTo>
                  <a:lnTo>
                    <a:pt x="141" y="147"/>
                  </a:lnTo>
                  <a:lnTo>
                    <a:pt x="129" y="150"/>
                  </a:lnTo>
                  <a:lnTo>
                    <a:pt x="116" y="151"/>
                  </a:lnTo>
                  <a:lnTo>
                    <a:pt x="102" y="151"/>
                  </a:lnTo>
                  <a:lnTo>
                    <a:pt x="100" y="166"/>
                  </a:lnTo>
                  <a:lnTo>
                    <a:pt x="96" y="178"/>
                  </a:lnTo>
                  <a:lnTo>
                    <a:pt x="90" y="187"/>
                  </a:lnTo>
                  <a:lnTo>
                    <a:pt x="84" y="193"/>
                  </a:lnTo>
                  <a:lnTo>
                    <a:pt x="76" y="200"/>
                  </a:lnTo>
                  <a:lnTo>
                    <a:pt x="68" y="204"/>
                  </a:lnTo>
                  <a:lnTo>
                    <a:pt x="58" y="208"/>
                  </a:lnTo>
                  <a:lnTo>
                    <a:pt x="49" y="211"/>
                  </a:lnTo>
                  <a:lnTo>
                    <a:pt x="30" y="216"/>
                  </a:lnTo>
                  <a:lnTo>
                    <a:pt x="14" y="224"/>
                  </a:lnTo>
                  <a:lnTo>
                    <a:pt x="9" y="228"/>
                  </a:lnTo>
                  <a:lnTo>
                    <a:pt x="4" y="235"/>
                  </a:lnTo>
                  <a:lnTo>
                    <a:pt x="1" y="243"/>
                  </a:lnTo>
                  <a:lnTo>
                    <a:pt x="0" y="253"/>
                  </a:lnTo>
                  <a:lnTo>
                    <a:pt x="1" y="257"/>
                  </a:lnTo>
                  <a:lnTo>
                    <a:pt x="4" y="263"/>
                  </a:lnTo>
                  <a:lnTo>
                    <a:pt x="8" y="268"/>
                  </a:lnTo>
                  <a:lnTo>
                    <a:pt x="13" y="273"/>
                  </a:lnTo>
                  <a:lnTo>
                    <a:pt x="28" y="283"/>
                  </a:lnTo>
                  <a:lnTo>
                    <a:pt x="46" y="292"/>
                  </a:lnTo>
                  <a:lnTo>
                    <a:pt x="65" y="301"/>
                  </a:lnTo>
                  <a:lnTo>
                    <a:pt x="84" y="308"/>
                  </a:lnTo>
                  <a:lnTo>
                    <a:pt x="101" y="312"/>
                  </a:lnTo>
                  <a:lnTo>
                    <a:pt x="114" y="313"/>
                  </a:lnTo>
                  <a:lnTo>
                    <a:pt x="122" y="313"/>
                  </a:lnTo>
                  <a:lnTo>
                    <a:pt x="129" y="312"/>
                  </a:lnTo>
                  <a:lnTo>
                    <a:pt x="134" y="311"/>
                  </a:lnTo>
                  <a:lnTo>
                    <a:pt x="140" y="308"/>
                  </a:lnTo>
                  <a:lnTo>
                    <a:pt x="149" y="303"/>
                  </a:lnTo>
                  <a:lnTo>
                    <a:pt x="157" y="296"/>
                  </a:lnTo>
                  <a:lnTo>
                    <a:pt x="169" y="280"/>
                  </a:lnTo>
                  <a:lnTo>
                    <a:pt x="181" y="265"/>
                  </a:lnTo>
                  <a:lnTo>
                    <a:pt x="187" y="285"/>
                  </a:lnTo>
                  <a:lnTo>
                    <a:pt x="193" y="307"/>
                  </a:lnTo>
                  <a:lnTo>
                    <a:pt x="194" y="317"/>
                  </a:lnTo>
                  <a:lnTo>
                    <a:pt x="197" y="327"/>
                  </a:lnTo>
                  <a:lnTo>
                    <a:pt x="201" y="336"/>
                  </a:lnTo>
                  <a:lnTo>
                    <a:pt x="205" y="344"/>
                  </a:lnTo>
                  <a:lnTo>
                    <a:pt x="214" y="353"/>
                  </a:lnTo>
                  <a:lnTo>
                    <a:pt x="226" y="361"/>
                  </a:lnTo>
                  <a:lnTo>
                    <a:pt x="238" y="368"/>
                  </a:lnTo>
                  <a:lnTo>
                    <a:pt x="251" y="375"/>
                  </a:lnTo>
                  <a:lnTo>
                    <a:pt x="265" y="381"/>
                  </a:lnTo>
                  <a:lnTo>
                    <a:pt x="277" y="388"/>
                  </a:lnTo>
                  <a:lnTo>
                    <a:pt x="282" y="393"/>
                  </a:lnTo>
                  <a:lnTo>
                    <a:pt x="286" y="397"/>
                  </a:lnTo>
                  <a:lnTo>
                    <a:pt x="291" y="404"/>
                  </a:lnTo>
                  <a:lnTo>
                    <a:pt x="294" y="409"/>
                  </a:lnTo>
                  <a:lnTo>
                    <a:pt x="286" y="415"/>
                  </a:lnTo>
                  <a:lnTo>
                    <a:pt x="279" y="416"/>
                  </a:lnTo>
                  <a:lnTo>
                    <a:pt x="277" y="416"/>
                  </a:lnTo>
                  <a:lnTo>
                    <a:pt x="273" y="416"/>
                  </a:lnTo>
                  <a:lnTo>
                    <a:pt x="269" y="413"/>
                  </a:lnTo>
                  <a:lnTo>
                    <a:pt x="265" y="409"/>
                  </a:lnTo>
                  <a:lnTo>
                    <a:pt x="265" y="445"/>
                  </a:lnTo>
                  <a:lnTo>
                    <a:pt x="273" y="453"/>
                  </a:lnTo>
                  <a:lnTo>
                    <a:pt x="281" y="460"/>
                  </a:lnTo>
                  <a:lnTo>
                    <a:pt x="290" y="465"/>
                  </a:lnTo>
                  <a:lnTo>
                    <a:pt x="299" y="468"/>
                  </a:lnTo>
                  <a:lnTo>
                    <a:pt x="318" y="473"/>
                  </a:lnTo>
                  <a:lnTo>
                    <a:pt x="337" y="477"/>
                  </a:lnTo>
                  <a:lnTo>
                    <a:pt x="345" y="479"/>
                  </a:lnTo>
                  <a:lnTo>
                    <a:pt x="353" y="481"/>
                  </a:lnTo>
                  <a:lnTo>
                    <a:pt x="361" y="485"/>
                  </a:lnTo>
                  <a:lnTo>
                    <a:pt x="367" y="491"/>
                  </a:lnTo>
                  <a:lnTo>
                    <a:pt x="373" y="497"/>
                  </a:lnTo>
                  <a:lnTo>
                    <a:pt x="378" y="507"/>
                  </a:lnTo>
                  <a:lnTo>
                    <a:pt x="382" y="517"/>
                  </a:lnTo>
                  <a:lnTo>
                    <a:pt x="385" y="531"/>
                  </a:lnTo>
                  <a:lnTo>
                    <a:pt x="403" y="535"/>
                  </a:lnTo>
                  <a:lnTo>
                    <a:pt x="425" y="539"/>
                  </a:lnTo>
                  <a:lnTo>
                    <a:pt x="445" y="541"/>
                  </a:lnTo>
                  <a:lnTo>
                    <a:pt x="463" y="543"/>
                  </a:lnTo>
                  <a:lnTo>
                    <a:pt x="473" y="541"/>
                  </a:lnTo>
                  <a:lnTo>
                    <a:pt x="482" y="540"/>
                  </a:lnTo>
                  <a:lnTo>
                    <a:pt x="490" y="537"/>
                  </a:lnTo>
                  <a:lnTo>
                    <a:pt x="498" y="533"/>
                  </a:lnTo>
                  <a:lnTo>
                    <a:pt x="511" y="523"/>
                  </a:lnTo>
                  <a:lnTo>
                    <a:pt x="525" y="512"/>
                  </a:lnTo>
                  <a:lnTo>
                    <a:pt x="535" y="501"/>
                  </a:lnTo>
                  <a:lnTo>
                    <a:pt x="547" y="492"/>
                  </a:lnTo>
                  <a:lnTo>
                    <a:pt x="553" y="488"/>
                  </a:lnTo>
                  <a:lnTo>
                    <a:pt x="559" y="484"/>
                  </a:lnTo>
                  <a:lnTo>
                    <a:pt x="565" y="483"/>
                  </a:lnTo>
                  <a:lnTo>
                    <a:pt x="571" y="483"/>
                  </a:lnTo>
                  <a:lnTo>
                    <a:pt x="579" y="483"/>
                  </a:lnTo>
                  <a:lnTo>
                    <a:pt x="587" y="485"/>
                  </a:lnTo>
                  <a:lnTo>
                    <a:pt x="593" y="488"/>
                  </a:lnTo>
                  <a:lnTo>
                    <a:pt x="597" y="492"/>
                  </a:lnTo>
                  <a:lnTo>
                    <a:pt x="601" y="497"/>
                  </a:lnTo>
                  <a:lnTo>
                    <a:pt x="603" y="504"/>
                  </a:lnTo>
                  <a:lnTo>
                    <a:pt x="606" y="511"/>
                  </a:lnTo>
                  <a:lnTo>
                    <a:pt x="607" y="517"/>
                  </a:lnTo>
                  <a:lnTo>
                    <a:pt x="611" y="531"/>
                  </a:lnTo>
                  <a:lnTo>
                    <a:pt x="614" y="543"/>
                  </a:lnTo>
                  <a:lnTo>
                    <a:pt x="617" y="549"/>
                  </a:lnTo>
                  <a:lnTo>
                    <a:pt x="618" y="553"/>
                  </a:lnTo>
                  <a:lnTo>
                    <a:pt x="622" y="557"/>
                  </a:lnTo>
                  <a:lnTo>
                    <a:pt x="626" y="560"/>
                  </a:lnTo>
                  <a:lnTo>
                    <a:pt x="634" y="565"/>
                  </a:lnTo>
                  <a:lnTo>
                    <a:pt x="645" y="569"/>
                  </a:lnTo>
                  <a:lnTo>
                    <a:pt x="658" y="573"/>
                  </a:lnTo>
                  <a:lnTo>
                    <a:pt x="671" y="577"/>
                  </a:lnTo>
                  <a:lnTo>
                    <a:pt x="699" y="583"/>
                  </a:lnTo>
                  <a:lnTo>
                    <a:pt x="722" y="584"/>
                  </a:lnTo>
                  <a:lnTo>
                    <a:pt x="725" y="579"/>
                  </a:lnTo>
                  <a:lnTo>
                    <a:pt x="733" y="572"/>
                  </a:lnTo>
                  <a:lnTo>
                    <a:pt x="742" y="565"/>
                  </a:lnTo>
                  <a:lnTo>
                    <a:pt x="753" y="560"/>
                  </a:lnTo>
                  <a:lnTo>
                    <a:pt x="758" y="555"/>
                  </a:lnTo>
                  <a:lnTo>
                    <a:pt x="763" y="548"/>
                  </a:lnTo>
                  <a:lnTo>
                    <a:pt x="767" y="541"/>
                  </a:lnTo>
                  <a:lnTo>
                    <a:pt x="771" y="535"/>
                  </a:lnTo>
                  <a:lnTo>
                    <a:pt x="775" y="527"/>
                  </a:lnTo>
                  <a:lnTo>
                    <a:pt x="781" y="520"/>
                  </a:lnTo>
                  <a:lnTo>
                    <a:pt x="786" y="516"/>
                  </a:lnTo>
                  <a:lnTo>
                    <a:pt x="794" y="512"/>
                  </a:lnTo>
                  <a:lnTo>
                    <a:pt x="839" y="515"/>
                  </a:lnTo>
                  <a:lnTo>
                    <a:pt x="902" y="519"/>
                  </a:lnTo>
                  <a:lnTo>
                    <a:pt x="916" y="519"/>
                  </a:lnTo>
                  <a:lnTo>
                    <a:pt x="931" y="517"/>
                  </a:lnTo>
                  <a:lnTo>
                    <a:pt x="944" y="515"/>
                  </a:lnTo>
                  <a:lnTo>
                    <a:pt x="956" y="511"/>
                  </a:lnTo>
                  <a:lnTo>
                    <a:pt x="962" y="509"/>
                  </a:lnTo>
                  <a:lnTo>
                    <a:pt x="967" y="505"/>
                  </a:lnTo>
                  <a:lnTo>
                    <a:pt x="971" y="503"/>
                  </a:lnTo>
                  <a:lnTo>
                    <a:pt x="975" y="499"/>
                  </a:lnTo>
                  <a:lnTo>
                    <a:pt x="978" y="493"/>
                  </a:lnTo>
                  <a:lnTo>
                    <a:pt x="979" y="488"/>
                  </a:lnTo>
                  <a:lnTo>
                    <a:pt x="980" y="483"/>
                  </a:lnTo>
                  <a:lnTo>
                    <a:pt x="982" y="476"/>
                  </a:lnTo>
                  <a:lnTo>
                    <a:pt x="982" y="456"/>
                  </a:lnTo>
                  <a:lnTo>
                    <a:pt x="983" y="437"/>
                  </a:lnTo>
                  <a:lnTo>
                    <a:pt x="984" y="420"/>
                  </a:lnTo>
                  <a:lnTo>
                    <a:pt x="988" y="404"/>
                  </a:lnTo>
                  <a:lnTo>
                    <a:pt x="995" y="373"/>
                  </a:lnTo>
                  <a:lnTo>
                    <a:pt x="1003" y="344"/>
                  </a:lnTo>
                  <a:lnTo>
                    <a:pt x="1012" y="313"/>
                  </a:lnTo>
                  <a:lnTo>
                    <a:pt x="1022" y="283"/>
                  </a:lnTo>
                  <a:lnTo>
                    <a:pt x="1026" y="267"/>
                  </a:lnTo>
                  <a:lnTo>
                    <a:pt x="1030" y="249"/>
                  </a:lnTo>
                  <a:lnTo>
                    <a:pt x="1032" y="231"/>
                  </a:lnTo>
                  <a:lnTo>
                    <a:pt x="1035" y="211"/>
                  </a:lnTo>
                  <a:lnTo>
                    <a:pt x="1030" y="22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4" name="Freeform 50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1905000" y="3041650"/>
              <a:ext cx="242888" cy="190500"/>
            </a:xfrm>
            <a:custGeom>
              <a:avLst/>
              <a:gdLst/>
              <a:ahLst/>
              <a:cxnLst>
                <a:cxn ang="0">
                  <a:pos x="311" y="452"/>
                </a:cxn>
                <a:cxn ang="0">
                  <a:pos x="337" y="433"/>
                </a:cxn>
                <a:cxn ang="0">
                  <a:pos x="375" y="421"/>
                </a:cxn>
                <a:cxn ang="0">
                  <a:pos x="397" y="404"/>
                </a:cxn>
                <a:cxn ang="0">
                  <a:pos x="409" y="368"/>
                </a:cxn>
                <a:cxn ang="0">
                  <a:pos x="448" y="364"/>
                </a:cxn>
                <a:cxn ang="0">
                  <a:pos x="484" y="353"/>
                </a:cxn>
                <a:cxn ang="0">
                  <a:pos x="514" y="336"/>
                </a:cxn>
                <a:cxn ang="0">
                  <a:pos x="538" y="312"/>
                </a:cxn>
                <a:cxn ang="0">
                  <a:pos x="556" y="283"/>
                </a:cxn>
                <a:cxn ang="0">
                  <a:pos x="541" y="269"/>
                </a:cxn>
                <a:cxn ang="0">
                  <a:pos x="520" y="256"/>
                </a:cxn>
                <a:cxn ang="0">
                  <a:pos x="504" y="236"/>
                </a:cxn>
                <a:cxn ang="0">
                  <a:pos x="484" y="179"/>
                </a:cxn>
                <a:cxn ang="0">
                  <a:pos x="469" y="115"/>
                </a:cxn>
                <a:cxn ang="0">
                  <a:pos x="450" y="71"/>
                </a:cxn>
                <a:cxn ang="0">
                  <a:pos x="435" y="52"/>
                </a:cxn>
                <a:cxn ang="0">
                  <a:pos x="412" y="44"/>
                </a:cxn>
                <a:cxn ang="0">
                  <a:pos x="395" y="47"/>
                </a:cxn>
                <a:cxn ang="0">
                  <a:pos x="384" y="63"/>
                </a:cxn>
                <a:cxn ang="0">
                  <a:pos x="363" y="64"/>
                </a:cxn>
                <a:cxn ang="0">
                  <a:pos x="339" y="45"/>
                </a:cxn>
                <a:cxn ang="0">
                  <a:pos x="307" y="11"/>
                </a:cxn>
                <a:cxn ang="0">
                  <a:pos x="285" y="1"/>
                </a:cxn>
                <a:cxn ang="0">
                  <a:pos x="251" y="5"/>
                </a:cxn>
                <a:cxn ang="0">
                  <a:pos x="237" y="4"/>
                </a:cxn>
                <a:cxn ang="0">
                  <a:pos x="217" y="15"/>
                </a:cxn>
                <a:cxn ang="0">
                  <a:pos x="191" y="19"/>
                </a:cxn>
                <a:cxn ang="0">
                  <a:pos x="156" y="19"/>
                </a:cxn>
                <a:cxn ang="0">
                  <a:pos x="151" y="56"/>
                </a:cxn>
                <a:cxn ang="0">
                  <a:pos x="137" y="80"/>
                </a:cxn>
                <a:cxn ang="0">
                  <a:pos x="115" y="101"/>
                </a:cxn>
                <a:cxn ang="0">
                  <a:pos x="99" y="125"/>
                </a:cxn>
                <a:cxn ang="0">
                  <a:pos x="97" y="156"/>
                </a:cxn>
                <a:cxn ang="0">
                  <a:pos x="108" y="177"/>
                </a:cxn>
                <a:cxn ang="0">
                  <a:pos x="129" y="187"/>
                </a:cxn>
                <a:cxn ang="0">
                  <a:pos x="139" y="217"/>
                </a:cxn>
                <a:cxn ang="0">
                  <a:pos x="135" y="239"/>
                </a:cxn>
                <a:cxn ang="0">
                  <a:pos x="116" y="268"/>
                </a:cxn>
                <a:cxn ang="0">
                  <a:pos x="81" y="296"/>
                </a:cxn>
                <a:cxn ang="0">
                  <a:pos x="44" y="324"/>
                </a:cxn>
                <a:cxn ang="0">
                  <a:pos x="12" y="360"/>
                </a:cxn>
                <a:cxn ang="0">
                  <a:pos x="1" y="391"/>
                </a:cxn>
                <a:cxn ang="0">
                  <a:pos x="1" y="425"/>
                </a:cxn>
                <a:cxn ang="0">
                  <a:pos x="19" y="472"/>
                </a:cxn>
                <a:cxn ang="0">
                  <a:pos x="35" y="492"/>
                </a:cxn>
                <a:cxn ang="0">
                  <a:pos x="52" y="504"/>
                </a:cxn>
                <a:cxn ang="0">
                  <a:pos x="75" y="506"/>
                </a:cxn>
                <a:cxn ang="0">
                  <a:pos x="96" y="498"/>
                </a:cxn>
                <a:cxn ang="0">
                  <a:pos x="129" y="469"/>
                </a:cxn>
                <a:cxn ang="0">
                  <a:pos x="153" y="454"/>
                </a:cxn>
                <a:cxn ang="0">
                  <a:pos x="185" y="453"/>
                </a:cxn>
                <a:cxn ang="0">
                  <a:pos x="235" y="461"/>
                </a:cxn>
                <a:cxn ang="0">
                  <a:pos x="283" y="469"/>
                </a:cxn>
              </a:cxnLst>
              <a:rect l="0" t="0" r="r" b="b"/>
              <a:pathLst>
                <a:path w="560" h="506">
                  <a:moveTo>
                    <a:pt x="307" y="470"/>
                  </a:moveTo>
                  <a:lnTo>
                    <a:pt x="308" y="460"/>
                  </a:lnTo>
                  <a:lnTo>
                    <a:pt x="311" y="452"/>
                  </a:lnTo>
                  <a:lnTo>
                    <a:pt x="316" y="445"/>
                  </a:lnTo>
                  <a:lnTo>
                    <a:pt x="321" y="441"/>
                  </a:lnTo>
                  <a:lnTo>
                    <a:pt x="337" y="433"/>
                  </a:lnTo>
                  <a:lnTo>
                    <a:pt x="356" y="428"/>
                  </a:lnTo>
                  <a:lnTo>
                    <a:pt x="365" y="425"/>
                  </a:lnTo>
                  <a:lnTo>
                    <a:pt x="375" y="421"/>
                  </a:lnTo>
                  <a:lnTo>
                    <a:pt x="383" y="417"/>
                  </a:lnTo>
                  <a:lnTo>
                    <a:pt x="391" y="410"/>
                  </a:lnTo>
                  <a:lnTo>
                    <a:pt x="397" y="404"/>
                  </a:lnTo>
                  <a:lnTo>
                    <a:pt x="403" y="395"/>
                  </a:lnTo>
                  <a:lnTo>
                    <a:pt x="407" y="383"/>
                  </a:lnTo>
                  <a:lnTo>
                    <a:pt x="409" y="368"/>
                  </a:lnTo>
                  <a:lnTo>
                    <a:pt x="423" y="368"/>
                  </a:lnTo>
                  <a:lnTo>
                    <a:pt x="436" y="367"/>
                  </a:lnTo>
                  <a:lnTo>
                    <a:pt x="448" y="364"/>
                  </a:lnTo>
                  <a:lnTo>
                    <a:pt x="460" y="361"/>
                  </a:lnTo>
                  <a:lnTo>
                    <a:pt x="472" y="357"/>
                  </a:lnTo>
                  <a:lnTo>
                    <a:pt x="484" y="353"/>
                  </a:lnTo>
                  <a:lnTo>
                    <a:pt x="494" y="348"/>
                  </a:lnTo>
                  <a:lnTo>
                    <a:pt x="505" y="343"/>
                  </a:lnTo>
                  <a:lnTo>
                    <a:pt x="514" y="336"/>
                  </a:lnTo>
                  <a:lnTo>
                    <a:pt x="522" y="328"/>
                  </a:lnTo>
                  <a:lnTo>
                    <a:pt x="532" y="321"/>
                  </a:lnTo>
                  <a:lnTo>
                    <a:pt x="538" y="312"/>
                  </a:lnTo>
                  <a:lnTo>
                    <a:pt x="545" y="303"/>
                  </a:lnTo>
                  <a:lnTo>
                    <a:pt x="550" y="293"/>
                  </a:lnTo>
                  <a:lnTo>
                    <a:pt x="556" y="283"/>
                  </a:lnTo>
                  <a:lnTo>
                    <a:pt x="560" y="272"/>
                  </a:lnTo>
                  <a:lnTo>
                    <a:pt x="550" y="271"/>
                  </a:lnTo>
                  <a:lnTo>
                    <a:pt x="541" y="269"/>
                  </a:lnTo>
                  <a:lnTo>
                    <a:pt x="533" y="267"/>
                  </a:lnTo>
                  <a:lnTo>
                    <a:pt x="526" y="261"/>
                  </a:lnTo>
                  <a:lnTo>
                    <a:pt x="520" y="256"/>
                  </a:lnTo>
                  <a:lnTo>
                    <a:pt x="513" y="251"/>
                  </a:lnTo>
                  <a:lnTo>
                    <a:pt x="508" y="244"/>
                  </a:lnTo>
                  <a:lnTo>
                    <a:pt x="504" y="236"/>
                  </a:lnTo>
                  <a:lnTo>
                    <a:pt x="496" y="219"/>
                  </a:lnTo>
                  <a:lnTo>
                    <a:pt x="489" y="199"/>
                  </a:lnTo>
                  <a:lnTo>
                    <a:pt x="484" y="179"/>
                  </a:lnTo>
                  <a:lnTo>
                    <a:pt x="478" y="157"/>
                  </a:lnTo>
                  <a:lnTo>
                    <a:pt x="474" y="136"/>
                  </a:lnTo>
                  <a:lnTo>
                    <a:pt x="469" y="115"/>
                  </a:lnTo>
                  <a:lnTo>
                    <a:pt x="462" y="96"/>
                  </a:lnTo>
                  <a:lnTo>
                    <a:pt x="456" y="79"/>
                  </a:lnTo>
                  <a:lnTo>
                    <a:pt x="450" y="71"/>
                  </a:lnTo>
                  <a:lnTo>
                    <a:pt x="447" y="64"/>
                  </a:lnTo>
                  <a:lnTo>
                    <a:pt x="441" y="57"/>
                  </a:lnTo>
                  <a:lnTo>
                    <a:pt x="435" y="52"/>
                  </a:lnTo>
                  <a:lnTo>
                    <a:pt x="428" y="48"/>
                  </a:lnTo>
                  <a:lnTo>
                    <a:pt x="420" y="45"/>
                  </a:lnTo>
                  <a:lnTo>
                    <a:pt x="412" y="44"/>
                  </a:lnTo>
                  <a:lnTo>
                    <a:pt x="403" y="43"/>
                  </a:lnTo>
                  <a:lnTo>
                    <a:pt x="399" y="44"/>
                  </a:lnTo>
                  <a:lnTo>
                    <a:pt x="395" y="47"/>
                  </a:lnTo>
                  <a:lnTo>
                    <a:pt x="392" y="51"/>
                  </a:lnTo>
                  <a:lnTo>
                    <a:pt x="389" y="55"/>
                  </a:lnTo>
                  <a:lnTo>
                    <a:pt x="384" y="63"/>
                  </a:lnTo>
                  <a:lnTo>
                    <a:pt x="379" y="67"/>
                  </a:lnTo>
                  <a:lnTo>
                    <a:pt x="371" y="67"/>
                  </a:lnTo>
                  <a:lnTo>
                    <a:pt x="363" y="64"/>
                  </a:lnTo>
                  <a:lnTo>
                    <a:pt x="356" y="61"/>
                  </a:lnTo>
                  <a:lnTo>
                    <a:pt x="349" y="56"/>
                  </a:lnTo>
                  <a:lnTo>
                    <a:pt x="339" y="45"/>
                  </a:lnTo>
                  <a:lnTo>
                    <a:pt x="328" y="33"/>
                  </a:lnTo>
                  <a:lnTo>
                    <a:pt x="317" y="21"/>
                  </a:lnTo>
                  <a:lnTo>
                    <a:pt x="307" y="11"/>
                  </a:lnTo>
                  <a:lnTo>
                    <a:pt x="300" y="7"/>
                  </a:lnTo>
                  <a:lnTo>
                    <a:pt x="293" y="4"/>
                  </a:lnTo>
                  <a:lnTo>
                    <a:pt x="285" y="1"/>
                  </a:lnTo>
                  <a:lnTo>
                    <a:pt x="276" y="0"/>
                  </a:lnTo>
                  <a:lnTo>
                    <a:pt x="263" y="3"/>
                  </a:lnTo>
                  <a:lnTo>
                    <a:pt x="251" y="5"/>
                  </a:lnTo>
                  <a:lnTo>
                    <a:pt x="245" y="5"/>
                  </a:lnTo>
                  <a:lnTo>
                    <a:pt x="241" y="5"/>
                  </a:lnTo>
                  <a:lnTo>
                    <a:pt x="237" y="4"/>
                  </a:lnTo>
                  <a:lnTo>
                    <a:pt x="235" y="0"/>
                  </a:lnTo>
                  <a:lnTo>
                    <a:pt x="225" y="8"/>
                  </a:lnTo>
                  <a:lnTo>
                    <a:pt x="217" y="15"/>
                  </a:lnTo>
                  <a:lnTo>
                    <a:pt x="209" y="17"/>
                  </a:lnTo>
                  <a:lnTo>
                    <a:pt x="204" y="19"/>
                  </a:lnTo>
                  <a:lnTo>
                    <a:pt x="191" y="19"/>
                  </a:lnTo>
                  <a:lnTo>
                    <a:pt x="177" y="19"/>
                  </a:lnTo>
                  <a:lnTo>
                    <a:pt x="167" y="19"/>
                  </a:lnTo>
                  <a:lnTo>
                    <a:pt x="156" y="19"/>
                  </a:lnTo>
                  <a:lnTo>
                    <a:pt x="156" y="33"/>
                  </a:lnTo>
                  <a:lnTo>
                    <a:pt x="153" y="45"/>
                  </a:lnTo>
                  <a:lnTo>
                    <a:pt x="151" y="56"/>
                  </a:lnTo>
                  <a:lnTo>
                    <a:pt x="147" y="65"/>
                  </a:lnTo>
                  <a:lnTo>
                    <a:pt x="143" y="73"/>
                  </a:lnTo>
                  <a:lnTo>
                    <a:pt x="137" y="80"/>
                  </a:lnTo>
                  <a:lnTo>
                    <a:pt x="132" y="85"/>
                  </a:lnTo>
                  <a:lnTo>
                    <a:pt x="127" y="91"/>
                  </a:lnTo>
                  <a:lnTo>
                    <a:pt x="115" y="101"/>
                  </a:lnTo>
                  <a:lnTo>
                    <a:pt x="105" y="112"/>
                  </a:lnTo>
                  <a:lnTo>
                    <a:pt x="101" y="119"/>
                  </a:lnTo>
                  <a:lnTo>
                    <a:pt x="99" y="125"/>
                  </a:lnTo>
                  <a:lnTo>
                    <a:pt x="96" y="135"/>
                  </a:lnTo>
                  <a:lnTo>
                    <a:pt x="96" y="145"/>
                  </a:lnTo>
                  <a:lnTo>
                    <a:pt x="97" y="156"/>
                  </a:lnTo>
                  <a:lnTo>
                    <a:pt x="99" y="164"/>
                  </a:lnTo>
                  <a:lnTo>
                    <a:pt x="103" y="172"/>
                  </a:lnTo>
                  <a:lnTo>
                    <a:pt x="108" y="177"/>
                  </a:lnTo>
                  <a:lnTo>
                    <a:pt x="115" y="181"/>
                  </a:lnTo>
                  <a:lnTo>
                    <a:pt x="121" y="185"/>
                  </a:lnTo>
                  <a:lnTo>
                    <a:pt x="129" y="187"/>
                  </a:lnTo>
                  <a:lnTo>
                    <a:pt x="139" y="187"/>
                  </a:lnTo>
                  <a:lnTo>
                    <a:pt x="139" y="207"/>
                  </a:lnTo>
                  <a:lnTo>
                    <a:pt x="139" y="217"/>
                  </a:lnTo>
                  <a:lnTo>
                    <a:pt x="137" y="225"/>
                  </a:lnTo>
                  <a:lnTo>
                    <a:pt x="136" y="232"/>
                  </a:lnTo>
                  <a:lnTo>
                    <a:pt x="135" y="239"/>
                  </a:lnTo>
                  <a:lnTo>
                    <a:pt x="132" y="245"/>
                  </a:lnTo>
                  <a:lnTo>
                    <a:pt x="125" y="257"/>
                  </a:lnTo>
                  <a:lnTo>
                    <a:pt x="116" y="268"/>
                  </a:lnTo>
                  <a:lnTo>
                    <a:pt x="105" y="277"/>
                  </a:lnTo>
                  <a:lnTo>
                    <a:pt x="95" y="287"/>
                  </a:lnTo>
                  <a:lnTo>
                    <a:pt x="81" y="296"/>
                  </a:lnTo>
                  <a:lnTo>
                    <a:pt x="69" y="305"/>
                  </a:lnTo>
                  <a:lnTo>
                    <a:pt x="56" y="315"/>
                  </a:lnTo>
                  <a:lnTo>
                    <a:pt x="44" y="324"/>
                  </a:lnTo>
                  <a:lnTo>
                    <a:pt x="32" y="335"/>
                  </a:lnTo>
                  <a:lnTo>
                    <a:pt x="21" y="347"/>
                  </a:lnTo>
                  <a:lnTo>
                    <a:pt x="12" y="360"/>
                  </a:lnTo>
                  <a:lnTo>
                    <a:pt x="5" y="375"/>
                  </a:lnTo>
                  <a:lnTo>
                    <a:pt x="3" y="383"/>
                  </a:lnTo>
                  <a:lnTo>
                    <a:pt x="1" y="391"/>
                  </a:lnTo>
                  <a:lnTo>
                    <a:pt x="0" y="400"/>
                  </a:lnTo>
                  <a:lnTo>
                    <a:pt x="0" y="410"/>
                  </a:lnTo>
                  <a:lnTo>
                    <a:pt x="1" y="425"/>
                  </a:lnTo>
                  <a:lnTo>
                    <a:pt x="5" y="440"/>
                  </a:lnTo>
                  <a:lnTo>
                    <a:pt x="11" y="456"/>
                  </a:lnTo>
                  <a:lnTo>
                    <a:pt x="19" y="472"/>
                  </a:lnTo>
                  <a:lnTo>
                    <a:pt x="24" y="478"/>
                  </a:lnTo>
                  <a:lnTo>
                    <a:pt x="29" y="485"/>
                  </a:lnTo>
                  <a:lnTo>
                    <a:pt x="35" y="492"/>
                  </a:lnTo>
                  <a:lnTo>
                    <a:pt x="40" y="496"/>
                  </a:lnTo>
                  <a:lnTo>
                    <a:pt x="47" y="501"/>
                  </a:lnTo>
                  <a:lnTo>
                    <a:pt x="52" y="504"/>
                  </a:lnTo>
                  <a:lnTo>
                    <a:pt x="59" y="505"/>
                  </a:lnTo>
                  <a:lnTo>
                    <a:pt x="65" y="506"/>
                  </a:lnTo>
                  <a:lnTo>
                    <a:pt x="75" y="506"/>
                  </a:lnTo>
                  <a:lnTo>
                    <a:pt x="83" y="504"/>
                  </a:lnTo>
                  <a:lnTo>
                    <a:pt x="89" y="501"/>
                  </a:lnTo>
                  <a:lnTo>
                    <a:pt x="96" y="498"/>
                  </a:lnTo>
                  <a:lnTo>
                    <a:pt x="108" y="489"/>
                  </a:lnTo>
                  <a:lnTo>
                    <a:pt x="119" y="480"/>
                  </a:lnTo>
                  <a:lnTo>
                    <a:pt x="129" y="469"/>
                  </a:lnTo>
                  <a:lnTo>
                    <a:pt x="141" y="461"/>
                  </a:lnTo>
                  <a:lnTo>
                    <a:pt x="147" y="457"/>
                  </a:lnTo>
                  <a:lnTo>
                    <a:pt x="153" y="454"/>
                  </a:lnTo>
                  <a:lnTo>
                    <a:pt x="160" y="453"/>
                  </a:lnTo>
                  <a:lnTo>
                    <a:pt x="168" y="452"/>
                  </a:lnTo>
                  <a:lnTo>
                    <a:pt x="185" y="453"/>
                  </a:lnTo>
                  <a:lnTo>
                    <a:pt x="203" y="454"/>
                  </a:lnTo>
                  <a:lnTo>
                    <a:pt x="219" y="458"/>
                  </a:lnTo>
                  <a:lnTo>
                    <a:pt x="235" y="461"/>
                  </a:lnTo>
                  <a:lnTo>
                    <a:pt x="251" y="465"/>
                  </a:lnTo>
                  <a:lnTo>
                    <a:pt x="267" y="468"/>
                  </a:lnTo>
                  <a:lnTo>
                    <a:pt x="283" y="469"/>
                  </a:lnTo>
                  <a:lnTo>
                    <a:pt x="301" y="470"/>
                  </a:lnTo>
                  <a:lnTo>
                    <a:pt x="307" y="47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5" name="Freeform 51" descr="Широкий диагональный 1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1552575" y="2911475"/>
              <a:ext cx="454025" cy="273050"/>
            </a:xfrm>
            <a:custGeom>
              <a:avLst/>
              <a:gdLst/>
              <a:ahLst/>
              <a:cxnLst>
                <a:cxn ang="0">
                  <a:pos x="31" y="221"/>
                </a:cxn>
                <a:cxn ang="0">
                  <a:pos x="107" y="156"/>
                </a:cxn>
                <a:cxn ang="0">
                  <a:pos x="115" y="115"/>
                </a:cxn>
                <a:cxn ang="0">
                  <a:pos x="127" y="30"/>
                </a:cxn>
                <a:cxn ang="0">
                  <a:pos x="159" y="0"/>
                </a:cxn>
                <a:cxn ang="0">
                  <a:pos x="184" y="12"/>
                </a:cxn>
                <a:cxn ang="0">
                  <a:pos x="209" y="48"/>
                </a:cxn>
                <a:cxn ang="0">
                  <a:pos x="256" y="67"/>
                </a:cxn>
                <a:cxn ang="0">
                  <a:pos x="371" y="80"/>
                </a:cxn>
                <a:cxn ang="0">
                  <a:pos x="429" y="99"/>
                </a:cxn>
                <a:cxn ang="0">
                  <a:pos x="460" y="131"/>
                </a:cxn>
                <a:cxn ang="0">
                  <a:pos x="511" y="131"/>
                </a:cxn>
                <a:cxn ang="0">
                  <a:pos x="598" y="86"/>
                </a:cxn>
                <a:cxn ang="0">
                  <a:pos x="644" y="76"/>
                </a:cxn>
                <a:cxn ang="0">
                  <a:pos x="681" y="104"/>
                </a:cxn>
                <a:cxn ang="0">
                  <a:pos x="701" y="158"/>
                </a:cxn>
                <a:cxn ang="0">
                  <a:pos x="726" y="163"/>
                </a:cxn>
                <a:cxn ang="0">
                  <a:pos x="761" y="156"/>
                </a:cxn>
                <a:cxn ang="0">
                  <a:pos x="782" y="187"/>
                </a:cxn>
                <a:cxn ang="0">
                  <a:pos x="830" y="172"/>
                </a:cxn>
                <a:cxn ang="0">
                  <a:pos x="869" y="196"/>
                </a:cxn>
                <a:cxn ang="0">
                  <a:pos x="918" y="220"/>
                </a:cxn>
                <a:cxn ang="0">
                  <a:pos x="936" y="249"/>
                </a:cxn>
                <a:cxn ang="0">
                  <a:pos x="952" y="263"/>
                </a:cxn>
                <a:cxn ang="0">
                  <a:pos x="993" y="241"/>
                </a:cxn>
                <a:cxn ang="0">
                  <a:pos x="1030" y="235"/>
                </a:cxn>
                <a:cxn ang="0">
                  <a:pos x="1045" y="261"/>
                </a:cxn>
                <a:cxn ang="0">
                  <a:pos x="1052" y="345"/>
                </a:cxn>
                <a:cxn ang="0">
                  <a:pos x="1050" y="360"/>
                </a:cxn>
                <a:cxn ang="0">
                  <a:pos x="1002" y="371"/>
                </a:cxn>
                <a:cxn ang="0">
                  <a:pos x="976" y="408"/>
                </a:cxn>
                <a:cxn ang="0">
                  <a:pos x="952" y="443"/>
                </a:cxn>
                <a:cxn ang="0">
                  <a:pos x="921" y="487"/>
                </a:cxn>
                <a:cxn ang="0">
                  <a:pos x="933" y="529"/>
                </a:cxn>
                <a:cxn ang="0">
                  <a:pos x="964" y="559"/>
                </a:cxn>
                <a:cxn ang="0">
                  <a:pos x="946" y="613"/>
                </a:cxn>
                <a:cxn ang="0">
                  <a:pos x="884" y="661"/>
                </a:cxn>
                <a:cxn ang="0">
                  <a:pos x="830" y="727"/>
                </a:cxn>
                <a:cxn ang="0">
                  <a:pos x="796" y="663"/>
                </a:cxn>
                <a:cxn ang="0">
                  <a:pos x="757" y="644"/>
                </a:cxn>
                <a:cxn ang="0">
                  <a:pos x="709" y="649"/>
                </a:cxn>
                <a:cxn ang="0">
                  <a:pos x="674" y="665"/>
                </a:cxn>
                <a:cxn ang="0">
                  <a:pos x="646" y="647"/>
                </a:cxn>
                <a:cxn ang="0">
                  <a:pos x="609" y="620"/>
                </a:cxn>
                <a:cxn ang="0">
                  <a:pos x="553" y="607"/>
                </a:cxn>
                <a:cxn ang="0">
                  <a:pos x="526" y="571"/>
                </a:cxn>
                <a:cxn ang="0">
                  <a:pos x="496" y="553"/>
                </a:cxn>
                <a:cxn ang="0">
                  <a:pos x="469" y="576"/>
                </a:cxn>
                <a:cxn ang="0">
                  <a:pos x="407" y="575"/>
                </a:cxn>
                <a:cxn ang="0">
                  <a:pos x="367" y="556"/>
                </a:cxn>
                <a:cxn ang="0">
                  <a:pos x="336" y="500"/>
                </a:cxn>
                <a:cxn ang="0">
                  <a:pos x="303" y="460"/>
                </a:cxn>
                <a:cxn ang="0">
                  <a:pos x="268" y="449"/>
                </a:cxn>
                <a:cxn ang="0">
                  <a:pos x="211" y="449"/>
                </a:cxn>
                <a:cxn ang="0">
                  <a:pos x="163" y="435"/>
                </a:cxn>
                <a:cxn ang="0">
                  <a:pos x="99" y="380"/>
                </a:cxn>
                <a:cxn ang="0">
                  <a:pos x="4" y="241"/>
                </a:cxn>
              </a:cxnLst>
              <a:rect l="0" t="0" r="r" b="b"/>
              <a:pathLst>
                <a:path w="1060" h="727">
                  <a:moveTo>
                    <a:pt x="0" y="232"/>
                  </a:moveTo>
                  <a:lnTo>
                    <a:pt x="5" y="232"/>
                  </a:lnTo>
                  <a:lnTo>
                    <a:pt x="13" y="229"/>
                  </a:lnTo>
                  <a:lnTo>
                    <a:pt x="21" y="225"/>
                  </a:lnTo>
                  <a:lnTo>
                    <a:pt x="31" y="221"/>
                  </a:lnTo>
                  <a:lnTo>
                    <a:pt x="49" y="209"/>
                  </a:lnTo>
                  <a:lnTo>
                    <a:pt x="68" y="195"/>
                  </a:lnTo>
                  <a:lnTo>
                    <a:pt x="85" y="180"/>
                  </a:lnTo>
                  <a:lnTo>
                    <a:pt x="100" y="164"/>
                  </a:lnTo>
                  <a:lnTo>
                    <a:pt x="107" y="156"/>
                  </a:lnTo>
                  <a:lnTo>
                    <a:pt x="111" y="148"/>
                  </a:lnTo>
                  <a:lnTo>
                    <a:pt x="113" y="142"/>
                  </a:lnTo>
                  <a:lnTo>
                    <a:pt x="115" y="136"/>
                  </a:lnTo>
                  <a:lnTo>
                    <a:pt x="115" y="124"/>
                  </a:lnTo>
                  <a:lnTo>
                    <a:pt x="115" y="115"/>
                  </a:lnTo>
                  <a:lnTo>
                    <a:pt x="115" y="106"/>
                  </a:lnTo>
                  <a:lnTo>
                    <a:pt x="115" y="94"/>
                  </a:lnTo>
                  <a:lnTo>
                    <a:pt x="116" y="75"/>
                  </a:lnTo>
                  <a:lnTo>
                    <a:pt x="121" y="54"/>
                  </a:lnTo>
                  <a:lnTo>
                    <a:pt x="127" y="30"/>
                  </a:lnTo>
                  <a:lnTo>
                    <a:pt x="132" y="3"/>
                  </a:lnTo>
                  <a:lnTo>
                    <a:pt x="141" y="3"/>
                  </a:lnTo>
                  <a:lnTo>
                    <a:pt x="151" y="2"/>
                  </a:lnTo>
                  <a:lnTo>
                    <a:pt x="155" y="0"/>
                  </a:lnTo>
                  <a:lnTo>
                    <a:pt x="159" y="0"/>
                  </a:lnTo>
                  <a:lnTo>
                    <a:pt x="164" y="2"/>
                  </a:lnTo>
                  <a:lnTo>
                    <a:pt x="168" y="3"/>
                  </a:lnTo>
                  <a:lnTo>
                    <a:pt x="175" y="6"/>
                  </a:lnTo>
                  <a:lnTo>
                    <a:pt x="180" y="10"/>
                  </a:lnTo>
                  <a:lnTo>
                    <a:pt x="184" y="12"/>
                  </a:lnTo>
                  <a:lnTo>
                    <a:pt x="188" y="16"/>
                  </a:lnTo>
                  <a:lnTo>
                    <a:pt x="195" y="24"/>
                  </a:lnTo>
                  <a:lnTo>
                    <a:pt x="200" y="32"/>
                  </a:lnTo>
                  <a:lnTo>
                    <a:pt x="204" y="42"/>
                  </a:lnTo>
                  <a:lnTo>
                    <a:pt x="209" y="48"/>
                  </a:lnTo>
                  <a:lnTo>
                    <a:pt x="212" y="51"/>
                  </a:lnTo>
                  <a:lnTo>
                    <a:pt x="215" y="54"/>
                  </a:lnTo>
                  <a:lnTo>
                    <a:pt x="219" y="56"/>
                  </a:lnTo>
                  <a:lnTo>
                    <a:pt x="223" y="58"/>
                  </a:lnTo>
                  <a:lnTo>
                    <a:pt x="256" y="67"/>
                  </a:lnTo>
                  <a:lnTo>
                    <a:pt x="283" y="72"/>
                  </a:lnTo>
                  <a:lnTo>
                    <a:pt x="307" y="75"/>
                  </a:lnTo>
                  <a:lnTo>
                    <a:pt x="328" y="76"/>
                  </a:lnTo>
                  <a:lnTo>
                    <a:pt x="349" y="78"/>
                  </a:lnTo>
                  <a:lnTo>
                    <a:pt x="371" y="80"/>
                  </a:lnTo>
                  <a:lnTo>
                    <a:pt x="383" y="82"/>
                  </a:lnTo>
                  <a:lnTo>
                    <a:pt x="395" y="84"/>
                  </a:lnTo>
                  <a:lnTo>
                    <a:pt x="407" y="88"/>
                  </a:lnTo>
                  <a:lnTo>
                    <a:pt x="421" y="94"/>
                  </a:lnTo>
                  <a:lnTo>
                    <a:pt x="429" y="99"/>
                  </a:lnTo>
                  <a:lnTo>
                    <a:pt x="436" y="106"/>
                  </a:lnTo>
                  <a:lnTo>
                    <a:pt x="443" y="112"/>
                  </a:lnTo>
                  <a:lnTo>
                    <a:pt x="448" y="119"/>
                  </a:lnTo>
                  <a:lnTo>
                    <a:pt x="455" y="126"/>
                  </a:lnTo>
                  <a:lnTo>
                    <a:pt x="460" y="131"/>
                  </a:lnTo>
                  <a:lnTo>
                    <a:pt x="467" y="135"/>
                  </a:lnTo>
                  <a:lnTo>
                    <a:pt x="476" y="136"/>
                  </a:lnTo>
                  <a:lnTo>
                    <a:pt x="488" y="135"/>
                  </a:lnTo>
                  <a:lnTo>
                    <a:pt x="500" y="134"/>
                  </a:lnTo>
                  <a:lnTo>
                    <a:pt x="511" y="131"/>
                  </a:lnTo>
                  <a:lnTo>
                    <a:pt x="521" y="127"/>
                  </a:lnTo>
                  <a:lnTo>
                    <a:pt x="542" y="116"/>
                  </a:lnTo>
                  <a:lnTo>
                    <a:pt x="562" y="106"/>
                  </a:lnTo>
                  <a:lnTo>
                    <a:pt x="581" y="95"/>
                  </a:lnTo>
                  <a:lnTo>
                    <a:pt x="598" y="86"/>
                  </a:lnTo>
                  <a:lnTo>
                    <a:pt x="608" y="82"/>
                  </a:lnTo>
                  <a:lnTo>
                    <a:pt x="616" y="79"/>
                  </a:lnTo>
                  <a:lnTo>
                    <a:pt x="624" y="76"/>
                  </a:lnTo>
                  <a:lnTo>
                    <a:pt x="632" y="76"/>
                  </a:lnTo>
                  <a:lnTo>
                    <a:pt x="644" y="76"/>
                  </a:lnTo>
                  <a:lnTo>
                    <a:pt x="654" y="80"/>
                  </a:lnTo>
                  <a:lnTo>
                    <a:pt x="664" y="84"/>
                  </a:lnTo>
                  <a:lnTo>
                    <a:pt x="670" y="90"/>
                  </a:lnTo>
                  <a:lnTo>
                    <a:pt x="676" y="96"/>
                  </a:lnTo>
                  <a:lnTo>
                    <a:pt x="681" y="104"/>
                  </a:lnTo>
                  <a:lnTo>
                    <a:pt x="685" y="112"/>
                  </a:lnTo>
                  <a:lnTo>
                    <a:pt x="688" y="120"/>
                  </a:lnTo>
                  <a:lnTo>
                    <a:pt x="693" y="138"/>
                  </a:lnTo>
                  <a:lnTo>
                    <a:pt x="698" y="152"/>
                  </a:lnTo>
                  <a:lnTo>
                    <a:pt x="701" y="158"/>
                  </a:lnTo>
                  <a:lnTo>
                    <a:pt x="705" y="162"/>
                  </a:lnTo>
                  <a:lnTo>
                    <a:pt x="710" y="166"/>
                  </a:lnTo>
                  <a:lnTo>
                    <a:pt x="716" y="166"/>
                  </a:lnTo>
                  <a:lnTo>
                    <a:pt x="721" y="166"/>
                  </a:lnTo>
                  <a:lnTo>
                    <a:pt x="726" y="163"/>
                  </a:lnTo>
                  <a:lnTo>
                    <a:pt x="732" y="160"/>
                  </a:lnTo>
                  <a:lnTo>
                    <a:pt x="737" y="158"/>
                  </a:lnTo>
                  <a:lnTo>
                    <a:pt x="748" y="151"/>
                  </a:lnTo>
                  <a:lnTo>
                    <a:pt x="758" y="148"/>
                  </a:lnTo>
                  <a:lnTo>
                    <a:pt x="761" y="156"/>
                  </a:lnTo>
                  <a:lnTo>
                    <a:pt x="764" y="164"/>
                  </a:lnTo>
                  <a:lnTo>
                    <a:pt x="768" y="172"/>
                  </a:lnTo>
                  <a:lnTo>
                    <a:pt x="772" y="177"/>
                  </a:lnTo>
                  <a:lnTo>
                    <a:pt x="777" y="183"/>
                  </a:lnTo>
                  <a:lnTo>
                    <a:pt x="782" y="187"/>
                  </a:lnTo>
                  <a:lnTo>
                    <a:pt x="788" y="189"/>
                  </a:lnTo>
                  <a:lnTo>
                    <a:pt x="794" y="189"/>
                  </a:lnTo>
                  <a:lnTo>
                    <a:pt x="809" y="181"/>
                  </a:lnTo>
                  <a:lnTo>
                    <a:pt x="825" y="172"/>
                  </a:lnTo>
                  <a:lnTo>
                    <a:pt x="830" y="172"/>
                  </a:lnTo>
                  <a:lnTo>
                    <a:pt x="836" y="173"/>
                  </a:lnTo>
                  <a:lnTo>
                    <a:pt x="841" y="176"/>
                  </a:lnTo>
                  <a:lnTo>
                    <a:pt x="846" y="180"/>
                  </a:lnTo>
                  <a:lnTo>
                    <a:pt x="857" y="187"/>
                  </a:lnTo>
                  <a:lnTo>
                    <a:pt x="869" y="196"/>
                  </a:lnTo>
                  <a:lnTo>
                    <a:pt x="881" y="205"/>
                  </a:lnTo>
                  <a:lnTo>
                    <a:pt x="894" y="212"/>
                  </a:lnTo>
                  <a:lnTo>
                    <a:pt x="902" y="216"/>
                  </a:lnTo>
                  <a:lnTo>
                    <a:pt x="910" y="217"/>
                  </a:lnTo>
                  <a:lnTo>
                    <a:pt x="918" y="220"/>
                  </a:lnTo>
                  <a:lnTo>
                    <a:pt x="926" y="220"/>
                  </a:lnTo>
                  <a:lnTo>
                    <a:pt x="933" y="232"/>
                  </a:lnTo>
                  <a:lnTo>
                    <a:pt x="933" y="239"/>
                  </a:lnTo>
                  <a:lnTo>
                    <a:pt x="934" y="244"/>
                  </a:lnTo>
                  <a:lnTo>
                    <a:pt x="936" y="249"/>
                  </a:lnTo>
                  <a:lnTo>
                    <a:pt x="937" y="253"/>
                  </a:lnTo>
                  <a:lnTo>
                    <a:pt x="940" y="257"/>
                  </a:lnTo>
                  <a:lnTo>
                    <a:pt x="944" y="260"/>
                  </a:lnTo>
                  <a:lnTo>
                    <a:pt x="946" y="261"/>
                  </a:lnTo>
                  <a:lnTo>
                    <a:pt x="952" y="263"/>
                  </a:lnTo>
                  <a:lnTo>
                    <a:pt x="961" y="261"/>
                  </a:lnTo>
                  <a:lnTo>
                    <a:pt x="970" y="257"/>
                  </a:lnTo>
                  <a:lnTo>
                    <a:pt x="978" y="253"/>
                  </a:lnTo>
                  <a:lnTo>
                    <a:pt x="986" y="247"/>
                  </a:lnTo>
                  <a:lnTo>
                    <a:pt x="993" y="241"/>
                  </a:lnTo>
                  <a:lnTo>
                    <a:pt x="1001" y="237"/>
                  </a:lnTo>
                  <a:lnTo>
                    <a:pt x="1009" y="233"/>
                  </a:lnTo>
                  <a:lnTo>
                    <a:pt x="1017" y="232"/>
                  </a:lnTo>
                  <a:lnTo>
                    <a:pt x="1025" y="233"/>
                  </a:lnTo>
                  <a:lnTo>
                    <a:pt x="1030" y="235"/>
                  </a:lnTo>
                  <a:lnTo>
                    <a:pt x="1036" y="239"/>
                  </a:lnTo>
                  <a:lnTo>
                    <a:pt x="1038" y="243"/>
                  </a:lnTo>
                  <a:lnTo>
                    <a:pt x="1042" y="248"/>
                  </a:lnTo>
                  <a:lnTo>
                    <a:pt x="1044" y="255"/>
                  </a:lnTo>
                  <a:lnTo>
                    <a:pt x="1045" y="261"/>
                  </a:lnTo>
                  <a:lnTo>
                    <a:pt x="1046" y="269"/>
                  </a:lnTo>
                  <a:lnTo>
                    <a:pt x="1046" y="301"/>
                  </a:lnTo>
                  <a:lnTo>
                    <a:pt x="1048" y="328"/>
                  </a:lnTo>
                  <a:lnTo>
                    <a:pt x="1049" y="337"/>
                  </a:lnTo>
                  <a:lnTo>
                    <a:pt x="1052" y="345"/>
                  </a:lnTo>
                  <a:lnTo>
                    <a:pt x="1053" y="348"/>
                  </a:lnTo>
                  <a:lnTo>
                    <a:pt x="1056" y="351"/>
                  </a:lnTo>
                  <a:lnTo>
                    <a:pt x="1057" y="352"/>
                  </a:lnTo>
                  <a:lnTo>
                    <a:pt x="1060" y="352"/>
                  </a:lnTo>
                  <a:lnTo>
                    <a:pt x="1050" y="360"/>
                  </a:lnTo>
                  <a:lnTo>
                    <a:pt x="1042" y="367"/>
                  </a:lnTo>
                  <a:lnTo>
                    <a:pt x="1034" y="369"/>
                  </a:lnTo>
                  <a:lnTo>
                    <a:pt x="1029" y="371"/>
                  </a:lnTo>
                  <a:lnTo>
                    <a:pt x="1016" y="371"/>
                  </a:lnTo>
                  <a:lnTo>
                    <a:pt x="1002" y="371"/>
                  </a:lnTo>
                  <a:lnTo>
                    <a:pt x="992" y="371"/>
                  </a:lnTo>
                  <a:lnTo>
                    <a:pt x="981" y="371"/>
                  </a:lnTo>
                  <a:lnTo>
                    <a:pt x="981" y="385"/>
                  </a:lnTo>
                  <a:lnTo>
                    <a:pt x="978" y="397"/>
                  </a:lnTo>
                  <a:lnTo>
                    <a:pt x="976" y="408"/>
                  </a:lnTo>
                  <a:lnTo>
                    <a:pt x="972" y="417"/>
                  </a:lnTo>
                  <a:lnTo>
                    <a:pt x="968" y="425"/>
                  </a:lnTo>
                  <a:lnTo>
                    <a:pt x="962" y="432"/>
                  </a:lnTo>
                  <a:lnTo>
                    <a:pt x="957" y="437"/>
                  </a:lnTo>
                  <a:lnTo>
                    <a:pt x="952" y="443"/>
                  </a:lnTo>
                  <a:lnTo>
                    <a:pt x="940" y="453"/>
                  </a:lnTo>
                  <a:lnTo>
                    <a:pt x="930" y="464"/>
                  </a:lnTo>
                  <a:lnTo>
                    <a:pt x="926" y="471"/>
                  </a:lnTo>
                  <a:lnTo>
                    <a:pt x="924" y="477"/>
                  </a:lnTo>
                  <a:lnTo>
                    <a:pt x="921" y="487"/>
                  </a:lnTo>
                  <a:lnTo>
                    <a:pt x="921" y="497"/>
                  </a:lnTo>
                  <a:lnTo>
                    <a:pt x="922" y="508"/>
                  </a:lnTo>
                  <a:lnTo>
                    <a:pt x="924" y="516"/>
                  </a:lnTo>
                  <a:lnTo>
                    <a:pt x="928" y="524"/>
                  </a:lnTo>
                  <a:lnTo>
                    <a:pt x="933" y="529"/>
                  </a:lnTo>
                  <a:lnTo>
                    <a:pt x="940" y="533"/>
                  </a:lnTo>
                  <a:lnTo>
                    <a:pt x="946" y="537"/>
                  </a:lnTo>
                  <a:lnTo>
                    <a:pt x="954" y="539"/>
                  </a:lnTo>
                  <a:lnTo>
                    <a:pt x="964" y="539"/>
                  </a:lnTo>
                  <a:lnTo>
                    <a:pt x="964" y="559"/>
                  </a:lnTo>
                  <a:lnTo>
                    <a:pt x="964" y="569"/>
                  </a:lnTo>
                  <a:lnTo>
                    <a:pt x="962" y="583"/>
                  </a:lnTo>
                  <a:lnTo>
                    <a:pt x="958" y="593"/>
                  </a:lnTo>
                  <a:lnTo>
                    <a:pt x="953" y="604"/>
                  </a:lnTo>
                  <a:lnTo>
                    <a:pt x="946" y="613"/>
                  </a:lnTo>
                  <a:lnTo>
                    <a:pt x="937" y="623"/>
                  </a:lnTo>
                  <a:lnTo>
                    <a:pt x="928" y="631"/>
                  </a:lnTo>
                  <a:lnTo>
                    <a:pt x="917" y="637"/>
                  </a:lnTo>
                  <a:lnTo>
                    <a:pt x="906" y="645"/>
                  </a:lnTo>
                  <a:lnTo>
                    <a:pt x="884" y="661"/>
                  </a:lnTo>
                  <a:lnTo>
                    <a:pt x="861" y="679"/>
                  </a:lnTo>
                  <a:lnTo>
                    <a:pt x="852" y="689"/>
                  </a:lnTo>
                  <a:lnTo>
                    <a:pt x="844" y="700"/>
                  </a:lnTo>
                  <a:lnTo>
                    <a:pt x="836" y="712"/>
                  </a:lnTo>
                  <a:lnTo>
                    <a:pt x="830" y="727"/>
                  </a:lnTo>
                  <a:lnTo>
                    <a:pt x="824" y="711"/>
                  </a:lnTo>
                  <a:lnTo>
                    <a:pt x="817" y="695"/>
                  </a:lnTo>
                  <a:lnTo>
                    <a:pt x="809" y="681"/>
                  </a:lnTo>
                  <a:lnTo>
                    <a:pt x="801" y="668"/>
                  </a:lnTo>
                  <a:lnTo>
                    <a:pt x="796" y="663"/>
                  </a:lnTo>
                  <a:lnTo>
                    <a:pt x="789" y="657"/>
                  </a:lnTo>
                  <a:lnTo>
                    <a:pt x="782" y="653"/>
                  </a:lnTo>
                  <a:lnTo>
                    <a:pt x="774" y="649"/>
                  </a:lnTo>
                  <a:lnTo>
                    <a:pt x="766" y="645"/>
                  </a:lnTo>
                  <a:lnTo>
                    <a:pt x="757" y="644"/>
                  </a:lnTo>
                  <a:lnTo>
                    <a:pt x="746" y="643"/>
                  </a:lnTo>
                  <a:lnTo>
                    <a:pt x="734" y="641"/>
                  </a:lnTo>
                  <a:lnTo>
                    <a:pt x="725" y="643"/>
                  </a:lnTo>
                  <a:lnTo>
                    <a:pt x="717" y="645"/>
                  </a:lnTo>
                  <a:lnTo>
                    <a:pt x="709" y="649"/>
                  </a:lnTo>
                  <a:lnTo>
                    <a:pt x="702" y="653"/>
                  </a:lnTo>
                  <a:lnTo>
                    <a:pt x="694" y="659"/>
                  </a:lnTo>
                  <a:lnTo>
                    <a:pt x="688" y="663"/>
                  </a:lnTo>
                  <a:lnTo>
                    <a:pt x="681" y="665"/>
                  </a:lnTo>
                  <a:lnTo>
                    <a:pt x="674" y="665"/>
                  </a:lnTo>
                  <a:lnTo>
                    <a:pt x="666" y="665"/>
                  </a:lnTo>
                  <a:lnTo>
                    <a:pt x="660" y="661"/>
                  </a:lnTo>
                  <a:lnTo>
                    <a:pt x="654" y="657"/>
                  </a:lnTo>
                  <a:lnTo>
                    <a:pt x="650" y="652"/>
                  </a:lnTo>
                  <a:lnTo>
                    <a:pt x="646" y="647"/>
                  </a:lnTo>
                  <a:lnTo>
                    <a:pt x="642" y="640"/>
                  </a:lnTo>
                  <a:lnTo>
                    <a:pt x="638" y="635"/>
                  </a:lnTo>
                  <a:lnTo>
                    <a:pt x="632" y="629"/>
                  </a:lnTo>
                  <a:lnTo>
                    <a:pt x="620" y="624"/>
                  </a:lnTo>
                  <a:lnTo>
                    <a:pt x="609" y="620"/>
                  </a:lnTo>
                  <a:lnTo>
                    <a:pt x="598" y="617"/>
                  </a:lnTo>
                  <a:lnTo>
                    <a:pt x="589" y="615"/>
                  </a:lnTo>
                  <a:lnTo>
                    <a:pt x="573" y="612"/>
                  </a:lnTo>
                  <a:lnTo>
                    <a:pt x="558" y="609"/>
                  </a:lnTo>
                  <a:lnTo>
                    <a:pt x="553" y="607"/>
                  </a:lnTo>
                  <a:lnTo>
                    <a:pt x="546" y="604"/>
                  </a:lnTo>
                  <a:lnTo>
                    <a:pt x="541" y="599"/>
                  </a:lnTo>
                  <a:lnTo>
                    <a:pt x="536" y="592"/>
                  </a:lnTo>
                  <a:lnTo>
                    <a:pt x="532" y="583"/>
                  </a:lnTo>
                  <a:lnTo>
                    <a:pt x="526" y="571"/>
                  </a:lnTo>
                  <a:lnTo>
                    <a:pt x="522" y="557"/>
                  </a:lnTo>
                  <a:lnTo>
                    <a:pt x="517" y="539"/>
                  </a:lnTo>
                  <a:lnTo>
                    <a:pt x="509" y="543"/>
                  </a:lnTo>
                  <a:lnTo>
                    <a:pt x="503" y="548"/>
                  </a:lnTo>
                  <a:lnTo>
                    <a:pt x="496" y="553"/>
                  </a:lnTo>
                  <a:lnTo>
                    <a:pt x="491" y="560"/>
                  </a:lnTo>
                  <a:lnTo>
                    <a:pt x="487" y="565"/>
                  </a:lnTo>
                  <a:lnTo>
                    <a:pt x="481" y="571"/>
                  </a:lnTo>
                  <a:lnTo>
                    <a:pt x="476" y="575"/>
                  </a:lnTo>
                  <a:lnTo>
                    <a:pt x="469" y="576"/>
                  </a:lnTo>
                  <a:lnTo>
                    <a:pt x="456" y="576"/>
                  </a:lnTo>
                  <a:lnTo>
                    <a:pt x="443" y="576"/>
                  </a:lnTo>
                  <a:lnTo>
                    <a:pt x="429" y="576"/>
                  </a:lnTo>
                  <a:lnTo>
                    <a:pt x="415" y="576"/>
                  </a:lnTo>
                  <a:lnTo>
                    <a:pt x="407" y="575"/>
                  </a:lnTo>
                  <a:lnTo>
                    <a:pt x="400" y="575"/>
                  </a:lnTo>
                  <a:lnTo>
                    <a:pt x="393" y="572"/>
                  </a:lnTo>
                  <a:lnTo>
                    <a:pt x="387" y="571"/>
                  </a:lnTo>
                  <a:lnTo>
                    <a:pt x="376" y="564"/>
                  </a:lnTo>
                  <a:lnTo>
                    <a:pt x="367" y="556"/>
                  </a:lnTo>
                  <a:lnTo>
                    <a:pt x="360" y="547"/>
                  </a:lnTo>
                  <a:lnTo>
                    <a:pt x="353" y="536"/>
                  </a:lnTo>
                  <a:lnTo>
                    <a:pt x="347" y="524"/>
                  </a:lnTo>
                  <a:lnTo>
                    <a:pt x="341" y="512"/>
                  </a:lnTo>
                  <a:lnTo>
                    <a:pt x="336" y="500"/>
                  </a:lnTo>
                  <a:lnTo>
                    <a:pt x="329" y="489"/>
                  </a:lnTo>
                  <a:lnTo>
                    <a:pt x="323" y="479"/>
                  </a:lnTo>
                  <a:lnTo>
                    <a:pt x="313" y="469"/>
                  </a:lnTo>
                  <a:lnTo>
                    <a:pt x="309" y="464"/>
                  </a:lnTo>
                  <a:lnTo>
                    <a:pt x="303" y="460"/>
                  </a:lnTo>
                  <a:lnTo>
                    <a:pt x="297" y="457"/>
                  </a:lnTo>
                  <a:lnTo>
                    <a:pt x="291" y="455"/>
                  </a:lnTo>
                  <a:lnTo>
                    <a:pt x="284" y="452"/>
                  </a:lnTo>
                  <a:lnTo>
                    <a:pt x="276" y="451"/>
                  </a:lnTo>
                  <a:lnTo>
                    <a:pt x="268" y="449"/>
                  </a:lnTo>
                  <a:lnTo>
                    <a:pt x="259" y="449"/>
                  </a:lnTo>
                  <a:lnTo>
                    <a:pt x="252" y="449"/>
                  </a:lnTo>
                  <a:lnTo>
                    <a:pt x="241" y="449"/>
                  </a:lnTo>
                  <a:lnTo>
                    <a:pt x="227" y="449"/>
                  </a:lnTo>
                  <a:lnTo>
                    <a:pt x="211" y="449"/>
                  </a:lnTo>
                  <a:lnTo>
                    <a:pt x="201" y="448"/>
                  </a:lnTo>
                  <a:lnTo>
                    <a:pt x="191" y="447"/>
                  </a:lnTo>
                  <a:lnTo>
                    <a:pt x="181" y="444"/>
                  </a:lnTo>
                  <a:lnTo>
                    <a:pt x="172" y="440"/>
                  </a:lnTo>
                  <a:lnTo>
                    <a:pt x="163" y="435"/>
                  </a:lnTo>
                  <a:lnTo>
                    <a:pt x="153" y="429"/>
                  </a:lnTo>
                  <a:lnTo>
                    <a:pt x="144" y="423"/>
                  </a:lnTo>
                  <a:lnTo>
                    <a:pt x="135" y="415"/>
                  </a:lnTo>
                  <a:lnTo>
                    <a:pt x="116" y="399"/>
                  </a:lnTo>
                  <a:lnTo>
                    <a:pt x="99" y="380"/>
                  </a:lnTo>
                  <a:lnTo>
                    <a:pt x="83" y="361"/>
                  </a:lnTo>
                  <a:lnTo>
                    <a:pt x="67" y="340"/>
                  </a:lnTo>
                  <a:lnTo>
                    <a:pt x="39" y="301"/>
                  </a:lnTo>
                  <a:lnTo>
                    <a:pt x="19" y="265"/>
                  </a:lnTo>
                  <a:lnTo>
                    <a:pt x="4" y="241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6" name="Freeform 52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1408113" y="2986088"/>
              <a:ext cx="311150" cy="215900"/>
            </a:xfrm>
            <a:custGeom>
              <a:avLst/>
              <a:gdLst/>
              <a:ahLst/>
              <a:cxnLst>
                <a:cxn ang="0">
                  <a:pos x="320" y="27"/>
                </a:cxn>
                <a:cxn ang="0">
                  <a:pos x="308" y="11"/>
                </a:cxn>
                <a:cxn ang="0">
                  <a:pos x="296" y="0"/>
                </a:cxn>
                <a:cxn ang="0">
                  <a:pos x="260" y="30"/>
                </a:cxn>
                <a:cxn ang="0">
                  <a:pos x="241" y="47"/>
                </a:cxn>
                <a:cxn ang="0">
                  <a:pos x="197" y="66"/>
                </a:cxn>
                <a:cxn ang="0">
                  <a:pos x="183" y="86"/>
                </a:cxn>
                <a:cxn ang="0">
                  <a:pos x="164" y="123"/>
                </a:cxn>
                <a:cxn ang="0">
                  <a:pos x="143" y="140"/>
                </a:cxn>
                <a:cxn ang="0">
                  <a:pos x="107" y="151"/>
                </a:cxn>
                <a:cxn ang="0">
                  <a:pos x="80" y="196"/>
                </a:cxn>
                <a:cxn ang="0">
                  <a:pos x="59" y="270"/>
                </a:cxn>
                <a:cxn ang="0">
                  <a:pos x="48" y="331"/>
                </a:cxn>
                <a:cxn ang="0">
                  <a:pos x="56" y="358"/>
                </a:cxn>
                <a:cxn ang="0">
                  <a:pos x="55" y="387"/>
                </a:cxn>
                <a:cxn ang="0">
                  <a:pos x="35" y="398"/>
                </a:cxn>
                <a:cxn ang="0">
                  <a:pos x="0" y="399"/>
                </a:cxn>
                <a:cxn ang="0">
                  <a:pos x="6" y="419"/>
                </a:cxn>
                <a:cxn ang="0">
                  <a:pos x="24" y="444"/>
                </a:cxn>
                <a:cxn ang="0">
                  <a:pos x="44" y="472"/>
                </a:cxn>
                <a:cxn ang="0">
                  <a:pos x="48" y="495"/>
                </a:cxn>
                <a:cxn ang="0">
                  <a:pos x="39" y="531"/>
                </a:cxn>
                <a:cxn ang="0">
                  <a:pos x="38" y="555"/>
                </a:cxn>
                <a:cxn ang="0">
                  <a:pos x="44" y="565"/>
                </a:cxn>
                <a:cxn ang="0">
                  <a:pos x="55" y="572"/>
                </a:cxn>
                <a:cxn ang="0">
                  <a:pos x="116" y="572"/>
                </a:cxn>
                <a:cxn ang="0">
                  <a:pos x="171" y="561"/>
                </a:cxn>
                <a:cxn ang="0">
                  <a:pos x="223" y="543"/>
                </a:cxn>
                <a:cxn ang="0">
                  <a:pos x="299" y="504"/>
                </a:cxn>
                <a:cxn ang="0">
                  <a:pos x="361" y="506"/>
                </a:cxn>
                <a:cxn ang="0">
                  <a:pos x="383" y="546"/>
                </a:cxn>
                <a:cxn ang="0">
                  <a:pos x="405" y="556"/>
                </a:cxn>
                <a:cxn ang="0">
                  <a:pos x="421" y="543"/>
                </a:cxn>
                <a:cxn ang="0">
                  <a:pos x="443" y="560"/>
                </a:cxn>
                <a:cxn ang="0">
                  <a:pos x="459" y="575"/>
                </a:cxn>
                <a:cxn ang="0">
                  <a:pos x="480" y="577"/>
                </a:cxn>
                <a:cxn ang="0">
                  <a:pos x="493" y="567"/>
                </a:cxn>
                <a:cxn ang="0">
                  <a:pos x="505" y="552"/>
                </a:cxn>
                <a:cxn ang="0">
                  <a:pos x="556" y="538"/>
                </a:cxn>
                <a:cxn ang="0">
                  <a:pos x="603" y="514"/>
                </a:cxn>
                <a:cxn ang="0">
                  <a:pos x="636" y="482"/>
                </a:cxn>
                <a:cxn ang="0">
                  <a:pos x="684" y="415"/>
                </a:cxn>
                <a:cxn ang="0">
                  <a:pos x="723" y="368"/>
                </a:cxn>
                <a:cxn ang="0">
                  <a:pos x="696" y="348"/>
                </a:cxn>
                <a:cxn ang="0">
                  <a:pos x="668" y="299"/>
                </a:cxn>
                <a:cxn ang="0">
                  <a:pos x="649" y="271"/>
                </a:cxn>
                <a:cxn ang="0">
                  <a:pos x="620" y="252"/>
                </a:cxn>
                <a:cxn ang="0">
                  <a:pos x="584" y="248"/>
                </a:cxn>
                <a:cxn ang="0">
                  <a:pos x="543" y="248"/>
                </a:cxn>
                <a:cxn ang="0">
                  <a:pos x="515" y="243"/>
                </a:cxn>
                <a:cxn ang="0">
                  <a:pos x="489" y="231"/>
                </a:cxn>
                <a:cxn ang="0">
                  <a:pos x="459" y="206"/>
                </a:cxn>
                <a:cxn ang="0">
                  <a:pos x="417" y="154"/>
                </a:cxn>
                <a:cxn ang="0">
                  <a:pos x="356" y="60"/>
                </a:cxn>
                <a:cxn ang="0">
                  <a:pos x="320" y="19"/>
                </a:cxn>
              </a:cxnLst>
              <a:rect l="0" t="0" r="r" b="b"/>
              <a:pathLst>
                <a:path w="723" h="579">
                  <a:moveTo>
                    <a:pt x="332" y="31"/>
                  </a:moveTo>
                  <a:lnTo>
                    <a:pt x="325" y="30"/>
                  </a:lnTo>
                  <a:lnTo>
                    <a:pt x="320" y="27"/>
                  </a:lnTo>
                  <a:lnTo>
                    <a:pt x="316" y="22"/>
                  </a:lnTo>
                  <a:lnTo>
                    <a:pt x="311" y="16"/>
                  </a:lnTo>
                  <a:lnTo>
                    <a:pt x="308" y="11"/>
                  </a:lnTo>
                  <a:lnTo>
                    <a:pt x="304" y="6"/>
                  </a:lnTo>
                  <a:lnTo>
                    <a:pt x="300" y="2"/>
                  </a:lnTo>
                  <a:lnTo>
                    <a:pt x="296" y="0"/>
                  </a:lnTo>
                  <a:lnTo>
                    <a:pt x="280" y="10"/>
                  </a:lnTo>
                  <a:lnTo>
                    <a:pt x="265" y="19"/>
                  </a:lnTo>
                  <a:lnTo>
                    <a:pt x="260" y="30"/>
                  </a:lnTo>
                  <a:lnTo>
                    <a:pt x="255" y="36"/>
                  </a:lnTo>
                  <a:lnTo>
                    <a:pt x="249" y="43"/>
                  </a:lnTo>
                  <a:lnTo>
                    <a:pt x="241" y="47"/>
                  </a:lnTo>
                  <a:lnTo>
                    <a:pt x="225" y="54"/>
                  </a:lnTo>
                  <a:lnTo>
                    <a:pt x="205" y="62"/>
                  </a:lnTo>
                  <a:lnTo>
                    <a:pt x="197" y="66"/>
                  </a:lnTo>
                  <a:lnTo>
                    <a:pt x="192" y="72"/>
                  </a:lnTo>
                  <a:lnTo>
                    <a:pt x="187" y="79"/>
                  </a:lnTo>
                  <a:lnTo>
                    <a:pt x="183" y="86"/>
                  </a:lnTo>
                  <a:lnTo>
                    <a:pt x="176" y="100"/>
                  </a:lnTo>
                  <a:lnTo>
                    <a:pt x="168" y="115"/>
                  </a:lnTo>
                  <a:lnTo>
                    <a:pt x="164" y="123"/>
                  </a:lnTo>
                  <a:lnTo>
                    <a:pt x="159" y="130"/>
                  </a:lnTo>
                  <a:lnTo>
                    <a:pt x="152" y="135"/>
                  </a:lnTo>
                  <a:lnTo>
                    <a:pt x="143" y="140"/>
                  </a:lnTo>
                  <a:lnTo>
                    <a:pt x="133" y="146"/>
                  </a:lnTo>
                  <a:lnTo>
                    <a:pt x="121" y="148"/>
                  </a:lnTo>
                  <a:lnTo>
                    <a:pt x="107" y="151"/>
                  </a:lnTo>
                  <a:lnTo>
                    <a:pt x="91" y="151"/>
                  </a:lnTo>
                  <a:lnTo>
                    <a:pt x="85" y="175"/>
                  </a:lnTo>
                  <a:lnTo>
                    <a:pt x="80" y="196"/>
                  </a:lnTo>
                  <a:lnTo>
                    <a:pt x="75" y="216"/>
                  </a:lnTo>
                  <a:lnTo>
                    <a:pt x="70" y="235"/>
                  </a:lnTo>
                  <a:lnTo>
                    <a:pt x="59" y="270"/>
                  </a:lnTo>
                  <a:lnTo>
                    <a:pt x="48" y="308"/>
                  </a:lnTo>
                  <a:lnTo>
                    <a:pt x="48" y="320"/>
                  </a:lnTo>
                  <a:lnTo>
                    <a:pt x="48" y="331"/>
                  </a:lnTo>
                  <a:lnTo>
                    <a:pt x="51" y="340"/>
                  </a:lnTo>
                  <a:lnTo>
                    <a:pt x="54" y="350"/>
                  </a:lnTo>
                  <a:lnTo>
                    <a:pt x="56" y="358"/>
                  </a:lnTo>
                  <a:lnTo>
                    <a:pt x="58" y="367"/>
                  </a:lnTo>
                  <a:lnTo>
                    <a:pt x="58" y="376"/>
                  </a:lnTo>
                  <a:lnTo>
                    <a:pt x="55" y="387"/>
                  </a:lnTo>
                  <a:lnTo>
                    <a:pt x="50" y="392"/>
                  </a:lnTo>
                  <a:lnTo>
                    <a:pt x="43" y="396"/>
                  </a:lnTo>
                  <a:lnTo>
                    <a:pt x="35" y="398"/>
                  </a:lnTo>
                  <a:lnTo>
                    <a:pt x="28" y="399"/>
                  </a:lnTo>
                  <a:lnTo>
                    <a:pt x="12" y="399"/>
                  </a:lnTo>
                  <a:lnTo>
                    <a:pt x="0" y="399"/>
                  </a:lnTo>
                  <a:lnTo>
                    <a:pt x="2" y="406"/>
                  </a:lnTo>
                  <a:lnTo>
                    <a:pt x="3" y="412"/>
                  </a:lnTo>
                  <a:lnTo>
                    <a:pt x="6" y="419"/>
                  </a:lnTo>
                  <a:lnTo>
                    <a:pt x="8" y="424"/>
                  </a:lnTo>
                  <a:lnTo>
                    <a:pt x="16" y="435"/>
                  </a:lnTo>
                  <a:lnTo>
                    <a:pt x="24" y="444"/>
                  </a:lnTo>
                  <a:lnTo>
                    <a:pt x="34" y="455"/>
                  </a:lnTo>
                  <a:lnTo>
                    <a:pt x="42" y="466"/>
                  </a:lnTo>
                  <a:lnTo>
                    <a:pt x="44" y="472"/>
                  </a:lnTo>
                  <a:lnTo>
                    <a:pt x="47" y="479"/>
                  </a:lnTo>
                  <a:lnTo>
                    <a:pt x="48" y="487"/>
                  </a:lnTo>
                  <a:lnTo>
                    <a:pt x="48" y="495"/>
                  </a:lnTo>
                  <a:lnTo>
                    <a:pt x="47" y="507"/>
                  </a:lnTo>
                  <a:lnTo>
                    <a:pt x="43" y="519"/>
                  </a:lnTo>
                  <a:lnTo>
                    <a:pt x="39" y="531"/>
                  </a:lnTo>
                  <a:lnTo>
                    <a:pt x="36" y="543"/>
                  </a:lnTo>
                  <a:lnTo>
                    <a:pt x="38" y="550"/>
                  </a:lnTo>
                  <a:lnTo>
                    <a:pt x="38" y="555"/>
                  </a:lnTo>
                  <a:lnTo>
                    <a:pt x="40" y="559"/>
                  </a:lnTo>
                  <a:lnTo>
                    <a:pt x="42" y="563"/>
                  </a:lnTo>
                  <a:lnTo>
                    <a:pt x="44" y="565"/>
                  </a:lnTo>
                  <a:lnTo>
                    <a:pt x="48" y="568"/>
                  </a:lnTo>
                  <a:lnTo>
                    <a:pt x="51" y="571"/>
                  </a:lnTo>
                  <a:lnTo>
                    <a:pt x="55" y="572"/>
                  </a:lnTo>
                  <a:lnTo>
                    <a:pt x="75" y="573"/>
                  </a:lnTo>
                  <a:lnTo>
                    <a:pt x="96" y="573"/>
                  </a:lnTo>
                  <a:lnTo>
                    <a:pt x="116" y="572"/>
                  </a:lnTo>
                  <a:lnTo>
                    <a:pt x="135" y="569"/>
                  </a:lnTo>
                  <a:lnTo>
                    <a:pt x="153" y="567"/>
                  </a:lnTo>
                  <a:lnTo>
                    <a:pt x="171" y="561"/>
                  </a:lnTo>
                  <a:lnTo>
                    <a:pt x="188" y="556"/>
                  </a:lnTo>
                  <a:lnTo>
                    <a:pt x="205" y="550"/>
                  </a:lnTo>
                  <a:lnTo>
                    <a:pt x="223" y="543"/>
                  </a:lnTo>
                  <a:lnTo>
                    <a:pt x="239" y="535"/>
                  </a:lnTo>
                  <a:lnTo>
                    <a:pt x="271" y="519"/>
                  </a:lnTo>
                  <a:lnTo>
                    <a:pt x="299" y="504"/>
                  </a:lnTo>
                  <a:lnTo>
                    <a:pt x="325" y="492"/>
                  </a:lnTo>
                  <a:lnTo>
                    <a:pt x="349" y="483"/>
                  </a:lnTo>
                  <a:lnTo>
                    <a:pt x="361" y="506"/>
                  </a:lnTo>
                  <a:lnTo>
                    <a:pt x="372" y="527"/>
                  </a:lnTo>
                  <a:lnTo>
                    <a:pt x="377" y="536"/>
                  </a:lnTo>
                  <a:lnTo>
                    <a:pt x="383" y="546"/>
                  </a:lnTo>
                  <a:lnTo>
                    <a:pt x="389" y="554"/>
                  </a:lnTo>
                  <a:lnTo>
                    <a:pt x="397" y="561"/>
                  </a:lnTo>
                  <a:lnTo>
                    <a:pt x="405" y="556"/>
                  </a:lnTo>
                  <a:lnTo>
                    <a:pt x="412" y="552"/>
                  </a:lnTo>
                  <a:lnTo>
                    <a:pt x="417" y="548"/>
                  </a:lnTo>
                  <a:lnTo>
                    <a:pt x="421" y="543"/>
                  </a:lnTo>
                  <a:lnTo>
                    <a:pt x="431" y="548"/>
                  </a:lnTo>
                  <a:lnTo>
                    <a:pt x="437" y="554"/>
                  </a:lnTo>
                  <a:lnTo>
                    <a:pt x="443" y="560"/>
                  </a:lnTo>
                  <a:lnTo>
                    <a:pt x="448" y="565"/>
                  </a:lnTo>
                  <a:lnTo>
                    <a:pt x="453" y="571"/>
                  </a:lnTo>
                  <a:lnTo>
                    <a:pt x="459" y="575"/>
                  </a:lnTo>
                  <a:lnTo>
                    <a:pt x="464" y="577"/>
                  </a:lnTo>
                  <a:lnTo>
                    <a:pt x="471" y="579"/>
                  </a:lnTo>
                  <a:lnTo>
                    <a:pt x="480" y="577"/>
                  </a:lnTo>
                  <a:lnTo>
                    <a:pt x="487" y="575"/>
                  </a:lnTo>
                  <a:lnTo>
                    <a:pt x="491" y="571"/>
                  </a:lnTo>
                  <a:lnTo>
                    <a:pt x="493" y="567"/>
                  </a:lnTo>
                  <a:lnTo>
                    <a:pt x="496" y="561"/>
                  </a:lnTo>
                  <a:lnTo>
                    <a:pt x="500" y="556"/>
                  </a:lnTo>
                  <a:lnTo>
                    <a:pt x="505" y="552"/>
                  </a:lnTo>
                  <a:lnTo>
                    <a:pt x="512" y="550"/>
                  </a:lnTo>
                  <a:lnTo>
                    <a:pt x="536" y="544"/>
                  </a:lnTo>
                  <a:lnTo>
                    <a:pt x="556" y="538"/>
                  </a:lnTo>
                  <a:lnTo>
                    <a:pt x="573" y="531"/>
                  </a:lnTo>
                  <a:lnTo>
                    <a:pt x="589" y="523"/>
                  </a:lnTo>
                  <a:lnTo>
                    <a:pt x="603" y="514"/>
                  </a:lnTo>
                  <a:lnTo>
                    <a:pt x="615" y="503"/>
                  </a:lnTo>
                  <a:lnTo>
                    <a:pt x="625" y="492"/>
                  </a:lnTo>
                  <a:lnTo>
                    <a:pt x="636" y="482"/>
                  </a:lnTo>
                  <a:lnTo>
                    <a:pt x="655" y="456"/>
                  </a:lnTo>
                  <a:lnTo>
                    <a:pt x="673" y="428"/>
                  </a:lnTo>
                  <a:lnTo>
                    <a:pt x="684" y="415"/>
                  </a:lnTo>
                  <a:lnTo>
                    <a:pt x="695" y="399"/>
                  </a:lnTo>
                  <a:lnTo>
                    <a:pt x="708" y="384"/>
                  </a:lnTo>
                  <a:lnTo>
                    <a:pt x="723" y="368"/>
                  </a:lnTo>
                  <a:lnTo>
                    <a:pt x="713" y="363"/>
                  </a:lnTo>
                  <a:lnTo>
                    <a:pt x="704" y="356"/>
                  </a:lnTo>
                  <a:lnTo>
                    <a:pt x="696" y="348"/>
                  </a:lnTo>
                  <a:lnTo>
                    <a:pt x="689" y="339"/>
                  </a:lnTo>
                  <a:lnTo>
                    <a:pt x="679" y="320"/>
                  </a:lnTo>
                  <a:lnTo>
                    <a:pt x="668" y="299"/>
                  </a:lnTo>
                  <a:lnTo>
                    <a:pt x="663" y="290"/>
                  </a:lnTo>
                  <a:lnTo>
                    <a:pt x="656" y="280"/>
                  </a:lnTo>
                  <a:lnTo>
                    <a:pt x="649" y="271"/>
                  </a:lnTo>
                  <a:lnTo>
                    <a:pt x="641" y="263"/>
                  </a:lnTo>
                  <a:lnTo>
                    <a:pt x="631" y="258"/>
                  </a:lnTo>
                  <a:lnTo>
                    <a:pt x="620" y="252"/>
                  </a:lnTo>
                  <a:lnTo>
                    <a:pt x="607" y="250"/>
                  </a:lnTo>
                  <a:lnTo>
                    <a:pt x="591" y="248"/>
                  </a:lnTo>
                  <a:lnTo>
                    <a:pt x="584" y="248"/>
                  </a:lnTo>
                  <a:lnTo>
                    <a:pt x="573" y="248"/>
                  </a:lnTo>
                  <a:lnTo>
                    <a:pt x="559" y="248"/>
                  </a:lnTo>
                  <a:lnTo>
                    <a:pt x="543" y="248"/>
                  </a:lnTo>
                  <a:lnTo>
                    <a:pt x="533" y="247"/>
                  </a:lnTo>
                  <a:lnTo>
                    <a:pt x="524" y="246"/>
                  </a:lnTo>
                  <a:lnTo>
                    <a:pt x="515" y="243"/>
                  </a:lnTo>
                  <a:lnTo>
                    <a:pt x="507" y="240"/>
                  </a:lnTo>
                  <a:lnTo>
                    <a:pt x="497" y="236"/>
                  </a:lnTo>
                  <a:lnTo>
                    <a:pt x="489" y="231"/>
                  </a:lnTo>
                  <a:lnTo>
                    <a:pt x="481" y="226"/>
                  </a:lnTo>
                  <a:lnTo>
                    <a:pt x="473" y="220"/>
                  </a:lnTo>
                  <a:lnTo>
                    <a:pt x="459" y="206"/>
                  </a:lnTo>
                  <a:lnTo>
                    <a:pt x="444" y="190"/>
                  </a:lnTo>
                  <a:lnTo>
                    <a:pt x="431" y="172"/>
                  </a:lnTo>
                  <a:lnTo>
                    <a:pt x="417" y="154"/>
                  </a:lnTo>
                  <a:lnTo>
                    <a:pt x="392" y="115"/>
                  </a:lnTo>
                  <a:lnTo>
                    <a:pt x="368" y="78"/>
                  </a:lnTo>
                  <a:lnTo>
                    <a:pt x="356" y="60"/>
                  </a:lnTo>
                  <a:lnTo>
                    <a:pt x="344" y="44"/>
                  </a:lnTo>
                  <a:lnTo>
                    <a:pt x="332" y="31"/>
                  </a:lnTo>
                  <a:lnTo>
                    <a:pt x="320" y="19"/>
                  </a:lnTo>
                  <a:lnTo>
                    <a:pt x="332" y="3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7" name="Freeform 53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1870075" y="3184525"/>
              <a:ext cx="209550" cy="244475"/>
            </a:xfrm>
            <a:custGeom>
              <a:avLst/>
              <a:gdLst/>
              <a:ahLst/>
              <a:cxnLst>
                <a:cxn ang="0">
                  <a:pos x="196" y="632"/>
                </a:cxn>
                <a:cxn ang="0">
                  <a:pos x="212" y="607"/>
                </a:cxn>
                <a:cxn ang="0">
                  <a:pos x="237" y="590"/>
                </a:cxn>
                <a:cxn ang="0">
                  <a:pos x="308" y="570"/>
                </a:cxn>
                <a:cxn ang="0">
                  <a:pos x="386" y="554"/>
                </a:cxn>
                <a:cxn ang="0">
                  <a:pos x="424" y="541"/>
                </a:cxn>
                <a:cxn ang="0">
                  <a:pos x="454" y="522"/>
                </a:cxn>
                <a:cxn ang="0">
                  <a:pos x="477" y="494"/>
                </a:cxn>
                <a:cxn ang="0">
                  <a:pos x="488" y="457"/>
                </a:cxn>
                <a:cxn ang="0">
                  <a:pos x="446" y="434"/>
                </a:cxn>
                <a:cxn ang="0">
                  <a:pos x="410" y="426"/>
                </a:cxn>
                <a:cxn ang="0">
                  <a:pos x="405" y="394"/>
                </a:cxn>
                <a:cxn ang="0">
                  <a:pos x="392" y="374"/>
                </a:cxn>
                <a:cxn ang="0">
                  <a:pos x="366" y="355"/>
                </a:cxn>
                <a:cxn ang="0">
                  <a:pos x="342" y="338"/>
                </a:cxn>
                <a:cxn ang="0">
                  <a:pos x="326" y="313"/>
                </a:cxn>
                <a:cxn ang="0">
                  <a:pos x="322" y="281"/>
                </a:cxn>
                <a:cxn ang="0">
                  <a:pos x="313" y="261"/>
                </a:cxn>
                <a:cxn ang="0">
                  <a:pos x="296" y="251"/>
                </a:cxn>
                <a:cxn ang="0">
                  <a:pos x="260" y="246"/>
                </a:cxn>
                <a:cxn ang="0">
                  <a:pos x="236" y="241"/>
                </a:cxn>
                <a:cxn ang="0">
                  <a:pos x="222" y="230"/>
                </a:cxn>
                <a:cxn ang="0">
                  <a:pos x="217" y="210"/>
                </a:cxn>
                <a:cxn ang="0">
                  <a:pos x="222" y="190"/>
                </a:cxn>
                <a:cxn ang="0">
                  <a:pos x="232" y="173"/>
                </a:cxn>
                <a:cxn ang="0">
                  <a:pos x="234" y="147"/>
                </a:cxn>
                <a:cxn ang="0">
                  <a:pos x="225" y="126"/>
                </a:cxn>
                <a:cxn ang="0">
                  <a:pos x="198" y="114"/>
                </a:cxn>
                <a:cxn ang="0">
                  <a:pos x="170" y="129"/>
                </a:cxn>
                <a:cxn ang="0">
                  <a:pos x="144" y="130"/>
                </a:cxn>
                <a:cxn ang="0">
                  <a:pos x="125" y="122"/>
                </a:cxn>
                <a:cxn ang="0">
                  <a:pos x="109" y="106"/>
                </a:cxn>
                <a:cxn ang="0">
                  <a:pos x="90" y="67"/>
                </a:cxn>
                <a:cxn ang="0">
                  <a:pos x="85" y="28"/>
                </a:cxn>
                <a:cxn ang="0">
                  <a:pos x="90" y="0"/>
                </a:cxn>
                <a:cxn ang="0">
                  <a:pos x="74" y="35"/>
                </a:cxn>
                <a:cxn ang="0">
                  <a:pos x="48" y="67"/>
                </a:cxn>
                <a:cxn ang="0">
                  <a:pos x="21" y="98"/>
                </a:cxn>
                <a:cxn ang="0">
                  <a:pos x="6" y="126"/>
                </a:cxn>
                <a:cxn ang="0">
                  <a:pos x="0" y="162"/>
                </a:cxn>
                <a:cxn ang="0">
                  <a:pos x="9" y="207"/>
                </a:cxn>
                <a:cxn ang="0">
                  <a:pos x="30" y="247"/>
                </a:cxn>
                <a:cxn ang="0">
                  <a:pos x="66" y="295"/>
                </a:cxn>
                <a:cxn ang="0">
                  <a:pos x="93" y="345"/>
                </a:cxn>
                <a:cxn ang="0">
                  <a:pos x="96" y="389"/>
                </a:cxn>
                <a:cxn ang="0">
                  <a:pos x="85" y="426"/>
                </a:cxn>
                <a:cxn ang="0">
                  <a:pos x="85" y="481"/>
                </a:cxn>
                <a:cxn ang="0">
                  <a:pos x="89" y="513"/>
                </a:cxn>
                <a:cxn ang="0">
                  <a:pos x="109" y="535"/>
                </a:cxn>
                <a:cxn ang="0">
                  <a:pos x="133" y="547"/>
                </a:cxn>
                <a:cxn ang="0">
                  <a:pos x="153" y="589"/>
                </a:cxn>
                <a:cxn ang="0">
                  <a:pos x="180" y="619"/>
                </a:cxn>
                <a:cxn ang="0">
                  <a:pos x="193" y="655"/>
                </a:cxn>
              </a:cxnLst>
              <a:rect l="0" t="0" r="r" b="b"/>
              <a:pathLst>
                <a:path w="488" h="655">
                  <a:moveTo>
                    <a:pt x="193" y="655"/>
                  </a:moveTo>
                  <a:lnTo>
                    <a:pt x="194" y="643"/>
                  </a:lnTo>
                  <a:lnTo>
                    <a:pt x="196" y="632"/>
                  </a:lnTo>
                  <a:lnTo>
                    <a:pt x="200" y="623"/>
                  </a:lnTo>
                  <a:lnTo>
                    <a:pt x="205" y="615"/>
                  </a:lnTo>
                  <a:lnTo>
                    <a:pt x="212" y="607"/>
                  </a:lnTo>
                  <a:lnTo>
                    <a:pt x="218" y="601"/>
                  </a:lnTo>
                  <a:lnTo>
                    <a:pt x="228" y="595"/>
                  </a:lnTo>
                  <a:lnTo>
                    <a:pt x="237" y="590"/>
                  </a:lnTo>
                  <a:lnTo>
                    <a:pt x="258" y="582"/>
                  </a:lnTo>
                  <a:lnTo>
                    <a:pt x="281" y="575"/>
                  </a:lnTo>
                  <a:lnTo>
                    <a:pt x="308" y="570"/>
                  </a:lnTo>
                  <a:lnTo>
                    <a:pt x="334" y="565"/>
                  </a:lnTo>
                  <a:lnTo>
                    <a:pt x="361" y="559"/>
                  </a:lnTo>
                  <a:lnTo>
                    <a:pt x="386" y="554"/>
                  </a:lnTo>
                  <a:lnTo>
                    <a:pt x="400" y="550"/>
                  </a:lnTo>
                  <a:lnTo>
                    <a:pt x="412" y="546"/>
                  </a:lnTo>
                  <a:lnTo>
                    <a:pt x="424" y="541"/>
                  </a:lnTo>
                  <a:lnTo>
                    <a:pt x="434" y="535"/>
                  </a:lnTo>
                  <a:lnTo>
                    <a:pt x="445" y="529"/>
                  </a:lnTo>
                  <a:lnTo>
                    <a:pt x="454" y="522"/>
                  </a:lnTo>
                  <a:lnTo>
                    <a:pt x="462" y="514"/>
                  </a:lnTo>
                  <a:lnTo>
                    <a:pt x="470" y="505"/>
                  </a:lnTo>
                  <a:lnTo>
                    <a:pt x="477" y="494"/>
                  </a:lnTo>
                  <a:lnTo>
                    <a:pt x="482" y="483"/>
                  </a:lnTo>
                  <a:lnTo>
                    <a:pt x="486" y="470"/>
                  </a:lnTo>
                  <a:lnTo>
                    <a:pt x="488" y="457"/>
                  </a:lnTo>
                  <a:lnTo>
                    <a:pt x="473" y="450"/>
                  </a:lnTo>
                  <a:lnTo>
                    <a:pt x="456" y="439"/>
                  </a:lnTo>
                  <a:lnTo>
                    <a:pt x="446" y="434"/>
                  </a:lnTo>
                  <a:lnTo>
                    <a:pt x="434" y="430"/>
                  </a:lnTo>
                  <a:lnTo>
                    <a:pt x="422" y="427"/>
                  </a:lnTo>
                  <a:lnTo>
                    <a:pt x="410" y="426"/>
                  </a:lnTo>
                  <a:lnTo>
                    <a:pt x="409" y="414"/>
                  </a:lnTo>
                  <a:lnTo>
                    <a:pt x="408" y="403"/>
                  </a:lnTo>
                  <a:lnTo>
                    <a:pt x="405" y="394"/>
                  </a:lnTo>
                  <a:lnTo>
                    <a:pt x="401" y="386"/>
                  </a:lnTo>
                  <a:lnTo>
                    <a:pt x="397" y="379"/>
                  </a:lnTo>
                  <a:lnTo>
                    <a:pt x="392" y="374"/>
                  </a:lnTo>
                  <a:lnTo>
                    <a:pt x="386" y="369"/>
                  </a:lnTo>
                  <a:lnTo>
                    <a:pt x="380" y="363"/>
                  </a:lnTo>
                  <a:lnTo>
                    <a:pt x="366" y="355"/>
                  </a:lnTo>
                  <a:lnTo>
                    <a:pt x="354" y="347"/>
                  </a:lnTo>
                  <a:lnTo>
                    <a:pt x="348" y="343"/>
                  </a:lnTo>
                  <a:lnTo>
                    <a:pt x="342" y="338"/>
                  </a:lnTo>
                  <a:lnTo>
                    <a:pt x="337" y="331"/>
                  </a:lnTo>
                  <a:lnTo>
                    <a:pt x="332" y="325"/>
                  </a:lnTo>
                  <a:lnTo>
                    <a:pt x="326" y="313"/>
                  </a:lnTo>
                  <a:lnTo>
                    <a:pt x="324" y="302"/>
                  </a:lnTo>
                  <a:lnTo>
                    <a:pt x="324" y="291"/>
                  </a:lnTo>
                  <a:lnTo>
                    <a:pt x="322" y="281"/>
                  </a:lnTo>
                  <a:lnTo>
                    <a:pt x="321" y="273"/>
                  </a:lnTo>
                  <a:lnTo>
                    <a:pt x="316" y="263"/>
                  </a:lnTo>
                  <a:lnTo>
                    <a:pt x="313" y="261"/>
                  </a:lnTo>
                  <a:lnTo>
                    <a:pt x="308" y="257"/>
                  </a:lnTo>
                  <a:lnTo>
                    <a:pt x="302" y="254"/>
                  </a:lnTo>
                  <a:lnTo>
                    <a:pt x="296" y="251"/>
                  </a:lnTo>
                  <a:lnTo>
                    <a:pt x="285" y="249"/>
                  </a:lnTo>
                  <a:lnTo>
                    <a:pt x="273" y="247"/>
                  </a:lnTo>
                  <a:lnTo>
                    <a:pt x="260" y="246"/>
                  </a:lnTo>
                  <a:lnTo>
                    <a:pt x="248" y="245"/>
                  </a:lnTo>
                  <a:lnTo>
                    <a:pt x="241" y="243"/>
                  </a:lnTo>
                  <a:lnTo>
                    <a:pt x="236" y="241"/>
                  </a:lnTo>
                  <a:lnTo>
                    <a:pt x="230" y="238"/>
                  </a:lnTo>
                  <a:lnTo>
                    <a:pt x="226" y="235"/>
                  </a:lnTo>
                  <a:lnTo>
                    <a:pt x="222" y="230"/>
                  </a:lnTo>
                  <a:lnTo>
                    <a:pt x="220" y="225"/>
                  </a:lnTo>
                  <a:lnTo>
                    <a:pt x="217" y="218"/>
                  </a:lnTo>
                  <a:lnTo>
                    <a:pt x="217" y="210"/>
                  </a:lnTo>
                  <a:lnTo>
                    <a:pt x="218" y="202"/>
                  </a:lnTo>
                  <a:lnTo>
                    <a:pt x="220" y="195"/>
                  </a:lnTo>
                  <a:lnTo>
                    <a:pt x="222" y="190"/>
                  </a:lnTo>
                  <a:lnTo>
                    <a:pt x="226" y="185"/>
                  </a:lnTo>
                  <a:lnTo>
                    <a:pt x="229" y="179"/>
                  </a:lnTo>
                  <a:lnTo>
                    <a:pt x="232" y="173"/>
                  </a:lnTo>
                  <a:lnTo>
                    <a:pt x="234" y="166"/>
                  </a:lnTo>
                  <a:lnTo>
                    <a:pt x="236" y="155"/>
                  </a:lnTo>
                  <a:lnTo>
                    <a:pt x="234" y="147"/>
                  </a:lnTo>
                  <a:lnTo>
                    <a:pt x="232" y="139"/>
                  </a:lnTo>
                  <a:lnTo>
                    <a:pt x="229" y="133"/>
                  </a:lnTo>
                  <a:lnTo>
                    <a:pt x="225" y="126"/>
                  </a:lnTo>
                  <a:lnTo>
                    <a:pt x="217" y="114"/>
                  </a:lnTo>
                  <a:lnTo>
                    <a:pt x="212" y="101"/>
                  </a:lnTo>
                  <a:lnTo>
                    <a:pt x="198" y="114"/>
                  </a:lnTo>
                  <a:lnTo>
                    <a:pt x="185" y="123"/>
                  </a:lnTo>
                  <a:lnTo>
                    <a:pt x="178" y="126"/>
                  </a:lnTo>
                  <a:lnTo>
                    <a:pt x="170" y="129"/>
                  </a:lnTo>
                  <a:lnTo>
                    <a:pt x="161" y="131"/>
                  </a:lnTo>
                  <a:lnTo>
                    <a:pt x="150" y="131"/>
                  </a:lnTo>
                  <a:lnTo>
                    <a:pt x="144" y="130"/>
                  </a:lnTo>
                  <a:lnTo>
                    <a:pt x="137" y="129"/>
                  </a:lnTo>
                  <a:lnTo>
                    <a:pt x="132" y="126"/>
                  </a:lnTo>
                  <a:lnTo>
                    <a:pt x="125" y="122"/>
                  </a:lnTo>
                  <a:lnTo>
                    <a:pt x="120" y="118"/>
                  </a:lnTo>
                  <a:lnTo>
                    <a:pt x="114" y="111"/>
                  </a:lnTo>
                  <a:lnTo>
                    <a:pt x="109" y="106"/>
                  </a:lnTo>
                  <a:lnTo>
                    <a:pt x="104" y="99"/>
                  </a:lnTo>
                  <a:lnTo>
                    <a:pt x="96" y="83"/>
                  </a:lnTo>
                  <a:lnTo>
                    <a:pt x="90" y="67"/>
                  </a:lnTo>
                  <a:lnTo>
                    <a:pt x="86" y="51"/>
                  </a:lnTo>
                  <a:lnTo>
                    <a:pt x="85" y="35"/>
                  </a:lnTo>
                  <a:lnTo>
                    <a:pt x="85" y="28"/>
                  </a:lnTo>
                  <a:lnTo>
                    <a:pt x="85" y="17"/>
                  </a:lnTo>
                  <a:lnTo>
                    <a:pt x="88" y="6"/>
                  </a:lnTo>
                  <a:lnTo>
                    <a:pt x="90" y="0"/>
                  </a:lnTo>
                  <a:lnTo>
                    <a:pt x="85" y="17"/>
                  </a:lnTo>
                  <a:lnTo>
                    <a:pt x="80" y="26"/>
                  </a:lnTo>
                  <a:lnTo>
                    <a:pt x="74" y="35"/>
                  </a:lnTo>
                  <a:lnTo>
                    <a:pt x="68" y="45"/>
                  </a:lnTo>
                  <a:lnTo>
                    <a:pt x="61" y="53"/>
                  </a:lnTo>
                  <a:lnTo>
                    <a:pt x="48" y="67"/>
                  </a:lnTo>
                  <a:lnTo>
                    <a:pt x="33" y="82"/>
                  </a:lnTo>
                  <a:lnTo>
                    <a:pt x="26" y="90"/>
                  </a:lnTo>
                  <a:lnTo>
                    <a:pt x="21" y="98"/>
                  </a:lnTo>
                  <a:lnTo>
                    <a:pt x="14" y="107"/>
                  </a:lnTo>
                  <a:lnTo>
                    <a:pt x="10" y="115"/>
                  </a:lnTo>
                  <a:lnTo>
                    <a:pt x="6" y="126"/>
                  </a:lnTo>
                  <a:lnTo>
                    <a:pt x="2" y="137"/>
                  </a:lnTo>
                  <a:lnTo>
                    <a:pt x="1" y="149"/>
                  </a:lnTo>
                  <a:lnTo>
                    <a:pt x="0" y="162"/>
                  </a:lnTo>
                  <a:lnTo>
                    <a:pt x="1" y="178"/>
                  </a:lnTo>
                  <a:lnTo>
                    <a:pt x="4" y="193"/>
                  </a:lnTo>
                  <a:lnTo>
                    <a:pt x="9" y="207"/>
                  </a:lnTo>
                  <a:lnTo>
                    <a:pt x="16" y="222"/>
                  </a:lnTo>
                  <a:lnTo>
                    <a:pt x="22" y="234"/>
                  </a:lnTo>
                  <a:lnTo>
                    <a:pt x="30" y="247"/>
                  </a:lnTo>
                  <a:lnTo>
                    <a:pt x="40" y="259"/>
                  </a:lnTo>
                  <a:lnTo>
                    <a:pt x="49" y="271"/>
                  </a:lnTo>
                  <a:lnTo>
                    <a:pt x="66" y="295"/>
                  </a:lnTo>
                  <a:lnTo>
                    <a:pt x="81" y="319"/>
                  </a:lnTo>
                  <a:lnTo>
                    <a:pt x="88" y="331"/>
                  </a:lnTo>
                  <a:lnTo>
                    <a:pt x="93" y="345"/>
                  </a:lnTo>
                  <a:lnTo>
                    <a:pt x="96" y="358"/>
                  </a:lnTo>
                  <a:lnTo>
                    <a:pt x="97" y="373"/>
                  </a:lnTo>
                  <a:lnTo>
                    <a:pt x="96" y="389"/>
                  </a:lnTo>
                  <a:lnTo>
                    <a:pt x="93" y="403"/>
                  </a:lnTo>
                  <a:lnTo>
                    <a:pt x="89" y="417"/>
                  </a:lnTo>
                  <a:lnTo>
                    <a:pt x="85" y="426"/>
                  </a:lnTo>
                  <a:lnTo>
                    <a:pt x="85" y="453"/>
                  </a:lnTo>
                  <a:lnTo>
                    <a:pt x="85" y="469"/>
                  </a:lnTo>
                  <a:lnTo>
                    <a:pt x="85" y="481"/>
                  </a:lnTo>
                  <a:lnTo>
                    <a:pt x="85" y="493"/>
                  </a:lnTo>
                  <a:lnTo>
                    <a:pt x="86" y="503"/>
                  </a:lnTo>
                  <a:lnTo>
                    <a:pt x="89" y="513"/>
                  </a:lnTo>
                  <a:lnTo>
                    <a:pt x="94" y="522"/>
                  </a:lnTo>
                  <a:lnTo>
                    <a:pt x="102" y="529"/>
                  </a:lnTo>
                  <a:lnTo>
                    <a:pt x="109" y="535"/>
                  </a:lnTo>
                  <a:lnTo>
                    <a:pt x="117" y="541"/>
                  </a:lnTo>
                  <a:lnTo>
                    <a:pt x="125" y="545"/>
                  </a:lnTo>
                  <a:lnTo>
                    <a:pt x="133" y="547"/>
                  </a:lnTo>
                  <a:lnTo>
                    <a:pt x="138" y="562"/>
                  </a:lnTo>
                  <a:lnTo>
                    <a:pt x="145" y="577"/>
                  </a:lnTo>
                  <a:lnTo>
                    <a:pt x="153" y="589"/>
                  </a:lnTo>
                  <a:lnTo>
                    <a:pt x="161" y="601"/>
                  </a:lnTo>
                  <a:lnTo>
                    <a:pt x="170" y="610"/>
                  </a:lnTo>
                  <a:lnTo>
                    <a:pt x="180" y="619"/>
                  </a:lnTo>
                  <a:lnTo>
                    <a:pt x="190" y="626"/>
                  </a:lnTo>
                  <a:lnTo>
                    <a:pt x="198" y="631"/>
                  </a:lnTo>
                  <a:lnTo>
                    <a:pt x="193" y="65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8" name="Freeform 54" descr="Широкий диагональный 1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1662113" y="3114675"/>
              <a:ext cx="249237" cy="255588"/>
            </a:xfrm>
            <a:custGeom>
              <a:avLst/>
              <a:gdLst/>
              <a:ahLst/>
              <a:cxnLst>
                <a:cxn ang="0">
                  <a:pos x="550" y="142"/>
                </a:cxn>
                <a:cxn ang="0">
                  <a:pos x="523" y="114"/>
                </a:cxn>
                <a:cxn ang="0">
                  <a:pos x="487" y="104"/>
                </a:cxn>
                <a:cxn ang="0">
                  <a:pos x="450" y="110"/>
                </a:cxn>
                <a:cxn ang="0">
                  <a:pos x="422" y="126"/>
                </a:cxn>
                <a:cxn ang="0">
                  <a:pos x="395" y="118"/>
                </a:cxn>
                <a:cxn ang="0">
                  <a:pos x="379" y="96"/>
                </a:cxn>
                <a:cxn ang="0">
                  <a:pos x="339" y="78"/>
                </a:cxn>
                <a:cxn ang="0">
                  <a:pos x="294" y="68"/>
                </a:cxn>
                <a:cxn ang="0">
                  <a:pos x="273" y="44"/>
                </a:cxn>
                <a:cxn ang="0">
                  <a:pos x="250" y="4"/>
                </a:cxn>
                <a:cxn ang="0">
                  <a:pos x="228" y="26"/>
                </a:cxn>
                <a:cxn ang="0">
                  <a:pos x="197" y="37"/>
                </a:cxn>
                <a:cxn ang="0">
                  <a:pos x="148" y="36"/>
                </a:cxn>
                <a:cxn ang="0">
                  <a:pos x="106" y="49"/>
                </a:cxn>
                <a:cxn ang="0">
                  <a:pos x="50" y="137"/>
                </a:cxn>
                <a:cxn ang="0">
                  <a:pos x="10" y="180"/>
                </a:cxn>
                <a:cxn ang="0">
                  <a:pos x="46" y="202"/>
                </a:cxn>
                <a:cxn ang="0">
                  <a:pos x="73" y="225"/>
                </a:cxn>
                <a:cxn ang="0">
                  <a:pos x="100" y="271"/>
                </a:cxn>
                <a:cxn ang="0">
                  <a:pos x="133" y="294"/>
                </a:cxn>
                <a:cxn ang="0">
                  <a:pos x="169" y="321"/>
                </a:cxn>
                <a:cxn ang="0">
                  <a:pos x="185" y="363"/>
                </a:cxn>
                <a:cxn ang="0">
                  <a:pos x="178" y="405"/>
                </a:cxn>
                <a:cxn ang="0">
                  <a:pos x="164" y="441"/>
                </a:cxn>
                <a:cxn ang="0">
                  <a:pos x="169" y="490"/>
                </a:cxn>
                <a:cxn ang="0">
                  <a:pos x="194" y="523"/>
                </a:cxn>
                <a:cxn ang="0">
                  <a:pos x="222" y="551"/>
                </a:cxn>
                <a:cxn ang="0">
                  <a:pos x="240" y="594"/>
                </a:cxn>
                <a:cxn ang="0">
                  <a:pos x="237" y="621"/>
                </a:cxn>
                <a:cxn ang="0">
                  <a:pos x="216" y="643"/>
                </a:cxn>
                <a:cxn ang="0">
                  <a:pos x="205" y="663"/>
                </a:cxn>
                <a:cxn ang="0">
                  <a:pos x="209" y="685"/>
                </a:cxn>
                <a:cxn ang="0">
                  <a:pos x="224" y="693"/>
                </a:cxn>
                <a:cxn ang="0">
                  <a:pos x="245" y="683"/>
                </a:cxn>
                <a:cxn ang="0">
                  <a:pos x="265" y="663"/>
                </a:cxn>
                <a:cxn ang="0">
                  <a:pos x="317" y="662"/>
                </a:cxn>
                <a:cxn ang="0">
                  <a:pos x="353" y="657"/>
                </a:cxn>
                <a:cxn ang="0">
                  <a:pos x="395" y="646"/>
                </a:cxn>
                <a:cxn ang="0">
                  <a:pos x="438" y="650"/>
                </a:cxn>
                <a:cxn ang="0">
                  <a:pos x="475" y="662"/>
                </a:cxn>
                <a:cxn ang="0">
                  <a:pos x="521" y="659"/>
                </a:cxn>
                <a:cxn ang="0">
                  <a:pos x="551" y="642"/>
                </a:cxn>
                <a:cxn ang="0">
                  <a:pos x="570" y="614"/>
                </a:cxn>
                <a:cxn ang="0">
                  <a:pos x="577" y="573"/>
                </a:cxn>
                <a:cxn ang="0">
                  <a:pos x="569" y="519"/>
                </a:cxn>
                <a:cxn ang="0">
                  <a:pos x="521" y="447"/>
                </a:cxn>
                <a:cxn ang="0">
                  <a:pos x="490" y="395"/>
                </a:cxn>
                <a:cxn ang="0">
                  <a:pos x="482" y="337"/>
                </a:cxn>
                <a:cxn ang="0">
                  <a:pos x="495" y="295"/>
                </a:cxn>
                <a:cxn ang="0">
                  <a:pos x="529" y="255"/>
                </a:cxn>
                <a:cxn ang="0">
                  <a:pos x="561" y="214"/>
                </a:cxn>
              </a:cxnLst>
              <a:rect l="0" t="0" r="r" b="b"/>
              <a:pathLst>
                <a:path w="578" h="693">
                  <a:moveTo>
                    <a:pt x="571" y="188"/>
                  </a:moveTo>
                  <a:lnTo>
                    <a:pt x="565" y="172"/>
                  </a:lnTo>
                  <a:lnTo>
                    <a:pt x="558" y="156"/>
                  </a:lnTo>
                  <a:lnTo>
                    <a:pt x="550" y="142"/>
                  </a:lnTo>
                  <a:lnTo>
                    <a:pt x="542" y="129"/>
                  </a:lnTo>
                  <a:lnTo>
                    <a:pt x="537" y="124"/>
                  </a:lnTo>
                  <a:lnTo>
                    <a:pt x="530" y="118"/>
                  </a:lnTo>
                  <a:lnTo>
                    <a:pt x="523" y="114"/>
                  </a:lnTo>
                  <a:lnTo>
                    <a:pt x="515" y="110"/>
                  </a:lnTo>
                  <a:lnTo>
                    <a:pt x="507" y="106"/>
                  </a:lnTo>
                  <a:lnTo>
                    <a:pt x="498" y="105"/>
                  </a:lnTo>
                  <a:lnTo>
                    <a:pt x="487" y="104"/>
                  </a:lnTo>
                  <a:lnTo>
                    <a:pt x="475" y="102"/>
                  </a:lnTo>
                  <a:lnTo>
                    <a:pt x="466" y="104"/>
                  </a:lnTo>
                  <a:lnTo>
                    <a:pt x="458" y="106"/>
                  </a:lnTo>
                  <a:lnTo>
                    <a:pt x="450" y="110"/>
                  </a:lnTo>
                  <a:lnTo>
                    <a:pt x="443" y="114"/>
                  </a:lnTo>
                  <a:lnTo>
                    <a:pt x="435" y="120"/>
                  </a:lnTo>
                  <a:lnTo>
                    <a:pt x="429" y="124"/>
                  </a:lnTo>
                  <a:lnTo>
                    <a:pt x="422" y="126"/>
                  </a:lnTo>
                  <a:lnTo>
                    <a:pt x="415" y="126"/>
                  </a:lnTo>
                  <a:lnTo>
                    <a:pt x="407" y="126"/>
                  </a:lnTo>
                  <a:lnTo>
                    <a:pt x="401" y="122"/>
                  </a:lnTo>
                  <a:lnTo>
                    <a:pt x="395" y="118"/>
                  </a:lnTo>
                  <a:lnTo>
                    <a:pt x="391" y="113"/>
                  </a:lnTo>
                  <a:lnTo>
                    <a:pt x="387" y="108"/>
                  </a:lnTo>
                  <a:lnTo>
                    <a:pt x="383" y="101"/>
                  </a:lnTo>
                  <a:lnTo>
                    <a:pt x="379" y="96"/>
                  </a:lnTo>
                  <a:lnTo>
                    <a:pt x="373" y="90"/>
                  </a:lnTo>
                  <a:lnTo>
                    <a:pt x="361" y="85"/>
                  </a:lnTo>
                  <a:lnTo>
                    <a:pt x="350" y="81"/>
                  </a:lnTo>
                  <a:lnTo>
                    <a:pt x="339" y="78"/>
                  </a:lnTo>
                  <a:lnTo>
                    <a:pt x="330" y="76"/>
                  </a:lnTo>
                  <a:lnTo>
                    <a:pt x="314" y="73"/>
                  </a:lnTo>
                  <a:lnTo>
                    <a:pt x="299" y="70"/>
                  </a:lnTo>
                  <a:lnTo>
                    <a:pt x="294" y="68"/>
                  </a:lnTo>
                  <a:lnTo>
                    <a:pt x="287" y="65"/>
                  </a:lnTo>
                  <a:lnTo>
                    <a:pt x="282" y="60"/>
                  </a:lnTo>
                  <a:lnTo>
                    <a:pt x="277" y="53"/>
                  </a:lnTo>
                  <a:lnTo>
                    <a:pt x="273" y="44"/>
                  </a:lnTo>
                  <a:lnTo>
                    <a:pt x="267" y="32"/>
                  </a:lnTo>
                  <a:lnTo>
                    <a:pt x="263" y="18"/>
                  </a:lnTo>
                  <a:lnTo>
                    <a:pt x="258" y="0"/>
                  </a:lnTo>
                  <a:lnTo>
                    <a:pt x="250" y="4"/>
                  </a:lnTo>
                  <a:lnTo>
                    <a:pt x="244" y="9"/>
                  </a:lnTo>
                  <a:lnTo>
                    <a:pt x="237" y="14"/>
                  </a:lnTo>
                  <a:lnTo>
                    <a:pt x="232" y="21"/>
                  </a:lnTo>
                  <a:lnTo>
                    <a:pt x="228" y="26"/>
                  </a:lnTo>
                  <a:lnTo>
                    <a:pt x="222" y="32"/>
                  </a:lnTo>
                  <a:lnTo>
                    <a:pt x="217" y="36"/>
                  </a:lnTo>
                  <a:lnTo>
                    <a:pt x="210" y="37"/>
                  </a:lnTo>
                  <a:lnTo>
                    <a:pt x="197" y="37"/>
                  </a:lnTo>
                  <a:lnTo>
                    <a:pt x="184" y="37"/>
                  </a:lnTo>
                  <a:lnTo>
                    <a:pt x="170" y="37"/>
                  </a:lnTo>
                  <a:lnTo>
                    <a:pt x="156" y="37"/>
                  </a:lnTo>
                  <a:lnTo>
                    <a:pt x="148" y="36"/>
                  </a:lnTo>
                  <a:lnTo>
                    <a:pt x="138" y="33"/>
                  </a:lnTo>
                  <a:lnTo>
                    <a:pt x="132" y="29"/>
                  </a:lnTo>
                  <a:lnTo>
                    <a:pt x="126" y="25"/>
                  </a:lnTo>
                  <a:lnTo>
                    <a:pt x="106" y="49"/>
                  </a:lnTo>
                  <a:lnTo>
                    <a:pt x="89" y="73"/>
                  </a:lnTo>
                  <a:lnTo>
                    <a:pt x="76" y="96"/>
                  </a:lnTo>
                  <a:lnTo>
                    <a:pt x="62" y="117"/>
                  </a:lnTo>
                  <a:lnTo>
                    <a:pt x="50" y="137"/>
                  </a:lnTo>
                  <a:lnTo>
                    <a:pt x="36" y="156"/>
                  </a:lnTo>
                  <a:lnTo>
                    <a:pt x="29" y="165"/>
                  </a:lnTo>
                  <a:lnTo>
                    <a:pt x="20" y="173"/>
                  </a:lnTo>
                  <a:lnTo>
                    <a:pt x="10" y="180"/>
                  </a:lnTo>
                  <a:lnTo>
                    <a:pt x="0" y="188"/>
                  </a:lnTo>
                  <a:lnTo>
                    <a:pt x="22" y="192"/>
                  </a:lnTo>
                  <a:lnTo>
                    <a:pt x="40" y="198"/>
                  </a:lnTo>
                  <a:lnTo>
                    <a:pt x="46" y="202"/>
                  </a:lnTo>
                  <a:lnTo>
                    <a:pt x="53" y="206"/>
                  </a:lnTo>
                  <a:lnTo>
                    <a:pt x="58" y="210"/>
                  </a:lnTo>
                  <a:lnTo>
                    <a:pt x="64" y="214"/>
                  </a:lnTo>
                  <a:lnTo>
                    <a:pt x="73" y="225"/>
                  </a:lnTo>
                  <a:lnTo>
                    <a:pt x="80" y="237"/>
                  </a:lnTo>
                  <a:lnTo>
                    <a:pt x="88" y="250"/>
                  </a:lnTo>
                  <a:lnTo>
                    <a:pt x="96" y="265"/>
                  </a:lnTo>
                  <a:lnTo>
                    <a:pt x="100" y="271"/>
                  </a:lnTo>
                  <a:lnTo>
                    <a:pt x="105" y="277"/>
                  </a:lnTo>
                  <a:lnTo>
                    <a:pt x="112" y="281"/>
                  </a:lnTo>
                  <a:lnTo>
                    <a:pt x="118" y="286"/>
                  </a:lnTo>
                  <a:lnTo>
                    <a:pt x="133" y="294"/>
                  </a:lnTo>
                  <a:lnTo>
                    <a:pt x="148" y="302"/>
                  </a:lnTo>
                  <a:lnTo>
                    <a:pt x="156" y="307"/>
                  </a:lnTo>
                  <a:lnTo>
                    <a:pt x="162" y="313"/>
                  </a:lnTo>
                  <a:lnTo>
                    <a:pt x="169" y="321"/>
                  </a:lnTo>
                  <a:lnTo>
                    <a:pt x="174" y="329"/>
                  </a:lnTo>
                  <a:lnTo>
                    <a:pt x="180" y="338"/>
                  </a:lnTo>
                  <a:lnTo>
                    <a:pt x="184" y="350"/>
                  </a:lnTo>
                  <a:lnTo>
                    <a:pt x="185" y="363"/>
                  </a:lnTo>
                  <a:lnTo>
                    <a:pt x="186" y="379"/>
                  </a:lnTo>
                  <a:lnTo>
                    <a:pt x="185" y="389"/>
                  </a:lnTo>
                  <a:lnTo>
                    <a:pt x="182" y="397"/>
                  </a:lnTo>
                  <a:lnTo>
                    <a:pt x="178" y="405"/>
                  </a:lnTo>
                  <a:lnTo>
                    <a:pt x="174" y="414"/>
                  </a:lnTo>
                  <a:lnTo>
                    <a:pt x="170" y="422"/>
                  </a:lnTo>
                  <a:lnTo>
                    <a:pt x="166" y="431"/>
                  </a:lnTo>
                  <a:lnTo>
                    <a:pt x="164" y="441"/>
                  </a:lnTo>
                  <a:lnTo>
                    <a:pt x="162" y="451"/>
                  </a:lnTo>
                  <a:lnTo>
                    <a:pt x="164" y="466"/>
                  </a:lnTo>
                  <a:lnTo>
                    <a:pt x="165" y="479"/>
                  </a:lnTo>
                  <a:lnTo>
                    <a:pt x="169" y="490"/>
                  </a:lnTo>
                  <a:lnTo>
                    <a:pt x="174" y="501"/>
                  </a:lnTo>
                  <a:lnTo>
                    <a:pt x="181" y="509"/>
                  </a:lnTo>
                  <a:lnTo>
                    <a:pt x="188" y="517"/>
                  </a:lnTo>
                  <a:lnTo>
                    <a:pt x="194" y="523"/>
                  </a:lnTo>
                  <a:lnTo>
                    <a:pt x="201" y="530"/>
                  </a:lnTo>
                  <a:lnTo>
                    <a:pt x="209" y="537"/>
                  </a:lnTo>
                  <a:lnTo>
                    <a:pt x="216" y="545"/>
                  </a:lnTo>
                  <a:lnTo>
                    <a:pt x="222" y="551"/>
                  </a:lnTo>
                  <a:lnTo>
                    <a:pt x="228" y="561"/>
                  </a:lnTo>
                  <a:lnTo>
                    <a:pt x="233" y="570"/>
                  </a:lnTo>
                  <a:lnTo>
                    <a:pt x="237" y="581"/>
                  </a:lnTo>
                  <a:lnTo>
                    <a:pt x="240" y="594"/>
                  </a:lnTo>
                  <a:lnTo>
                    <a:pt x="241" y="609"/>
                  </a:lnTo>
                  <a:lnTo>
                    <a:pt x="240" y="613"/>
                  </a:lnTo>
                  <a:lnTo>
                    <a:pt x="238" y="617"/>
                  </a:lnTo>
                  <a:lnTo>
                    <a:pt x="237" y="621"/>
                  </a:lnTo>
                  <a:lnTo>
                    <a:pt x="234" y="623"/>
                  </a:lnTo>
                  <a:lnTo>
                    <a:pt x="229" y="630"/>
                  </a:lnTo>
                  <a:lnTo>
                    <a:pt x="222" y="637"/>
                  </a:lnTo>
                  <a:lnTo>
                    <a:pt x="216" y="643"/>
                  </a:lnTo>
                  <a:lnTo>
                    <a:pt x="210" y="650"/>
                  </a:lnTo>
                  <a:lnTo>
                    <a:pt x="208" y="654"/>
                  </a:lnTo>
                  <a:lnTo>
                    <a:pt x="206" y="658"/>
                  </a:lnTo>
                  <a:lnTo>
                    <a:pt x="205" y="663"/>
                  </a:lnTo>
                  <a:lnTo>
                    <a:pt x="205" y="669"/>
                  </a:lnTo>
                  <a:lnTo>
                    <a:pt x="205" y="675"/>
                  </a:lnTo>
                  <a:lnTo>
                    <a:pt x="206" y="681"/>
                  </a:lnTo>
                  <a:lnTo>
                    <a:pt x="209" y="685"/>
                  </a:lnTo>
                  <a:lnTo>
                    <a:pt x="212" y="687"/>
                  </a:lnTo>
                  <a:lnTo>
                    <a:pt x="216" y="690"/>
                  </a:lnTo>
                  <a:lnTo>
                    <a:pt x="220" y="691"/>
                  </a:lnTo>
                  <a:lnTo>
                    <a:pt x="224" y="693"/>
                  </a:lnTo>
                  <a:lnTo>
                    <a:pt x="229" y="693"/>
                  </a:lnTo>
                  <a:lnTo>
                    <a:pt x="234" y="691"/>
                  </a:lnTo>
                  <a:lnTo>
                    <a:pt x="240" y="689"/>
                  </a:lnTo>
                  <a:lnTo>
                    <a:pt x="245" y="683"/>
                  </a:lnTo>
                  <a:lnTo>
                    <a:pt x="249" y="678"/>
                  </a:lnTo>
                  <a:lnTo>
                    <a:pt x="254" y="673"/>
                  </a:lnTo>
                  <a:lnTo>
                    <a:pt x="258" y="667"/>
                  </a:lnTo>
                  <a:lnTo>
                    <a:pt x="265" y="663"/>
                  </a:lnTo>
                  <a:lnTo>
                    <a:pt x="270" y="662"/>
                  </a:lnTo>
                  <a:lnTo>
                    <a:pt x="293" y="662"/>
                  </a:lnTo>
                  <a:lnTo>
                    <a:pt x="306" y="662"/>
                  </a:lnTo>
                  <a:lnTo>
                    <a:pt x="317" y="662"/>
                  </a:lnTo>
                  <a:lnTo>
                    <a:pt x="325" y="662"/>
                  </a:lnTo>
                  <a:lnTo>
                    <a:pt x="334" y="662"/>
                  </a:lnTo>
                  <a:lnTo>
                    <a:pt x="343" y="659"/>
                  </a:lnTo>
                  <a:lnTo>
                    <a:pt x="353" y="657"/>
                  </a:lnTo>
                  <a:lnTo>
                    <a:pt x="362" y="654"/>
                  </a:lnTo>
                  <a:lnTo>
                    <a:pt x="373" y="650"/>
                  </a:lnTo>
                  <a:lnTo>
                    <a:pt x="383" y="647"/>
                  </a:lnTo>
                  <a:lnTo>
                    <a:pt x="395" y="646"/>
                  </a:lnTo>
                  <a:lnTo>
                    <a:pt x="409" y="645"/>
                  </a:lnTo>
                  <a:lnTo>
                    <a:pt x="419" y="646"/>
                  </a:lnTo>
                  <a:lnTo>
                    <a:pt x="429" y="647"/>
                  </a:lnTo>
                  <a:lnTo>
                    <a:pt x="438" y="650"/>
                  </a:lnTo>
                  <a:lnTo>
                    <a:pt x="446" y="654"/>
                  </a:lnTo>
                  <a:lnTo>
                    <a:pt x="454" y="657"/>
                  </a:lnTo>
                  <a:lnTo>
                    <a:pt x="463" y="659"/>
                  </a:lnTo>
                  <a:lnTo>
                    <a:pt x="475" y="662"/>
                  </a:lnTo>
                  <a:lnTo>
                    <a:pt x="487" y="662"/>
                  </a:lnTo>
                  <a:lnTo>
                    <a:pt x="499" y="662"/>
                  </a:lnTo>
                  <a:lnTo>
                    <a:pt x="510" y="661"/>
                  </a:lnTo>
                  <a:lnTo>
                    <a:pt x="521" y="659"/>
                  </a:lnTo>
                  <a:lnTo>
                    <a:pt x="529" y="655"/>
                  </a:lnTo>
                  <a:lnTo>
                    <a:pt x="538" y="653"/>
                  </a:lnTo>
                  <a:lnTo>
                    <a:pt x="545" y="647"/>
                  </a:lnTo>
                  <a:lnTo>
                    <a:pt x="551" y="642"/>
                  </a:lnTo>
                  <a:lnTo>
                    <a:pt x="557" y="637"/>
                  </a:lnTo>
                  <a:lnTo>
                    <a:pt x="562" y="630"/>
                  </a:lnTo>
                  <a:lnTo>
                    <a:pt x="566" y="622"/>
                  </a:lnTo>
                  <a:lnTo>
                    <a:pt x="570" y="614"/>
                  </a:lnTo>
                  <a:lnTo>
                    <a:pt x="573" y="605"/>
                  </a:lnTo>
                  <a:lnTo>
                    <a:pt x="575" y="594"/>
                  </a:lnTo>
                  <a:lnTo>
                    <a:pt x="577" y="583"/>
                  </a:lnTo>
                  <a:lnTo>
                    <a:pt x="577" y="573"/>
                  </a:lnTo>
                  <a:lnTo>
                    <a:pt x="578" y="561"/>
                  </a:lnTo>
                  <a:lnTo>
                    <a:pt x="577" y="546"/>
                  </a:lnTo>
                  <a:lnTo>
                    <a:pt x="574" y="533"/>
                  </a:lnTo>
                  <a:lnTo>
                    <a:pt x="569" y="519"/>
                  </a:lnTo>
                  <a:lnTo>
                    <a:pt x="562" y="507"/>
                  </a:lnTo>
                  <a:lnTo>
                    <a:pt x="547" y="483"/>
                  </a:lnTo>
                  <a:lnTo>
                    <a:pt x="530" y="459"/>
                  </a:lnTo>
                  <a:lnTo>
                    <a:pt x="521" y="447"/>
                  </a:lnTo>
                  <a:lnTo>
                    <a:pt x="511" y="435"/>
                  </a:lnTo>
                  <a:lnTo>
                    <a:pt x="503" y="422"/>
                  </a:lnTo>
                  <a:lnTo>
                    <a:pt x="497" y="410"/>
                  </a:lnTo>
                  <a:lnTo>
                    <a:pt x="490" y="395"/>
                  </a:lnTo>
                  <a:lnTo>
                    <a:pt x="485" y="381"/>
                  </a:lnTo>
                  <a:lnTo>
                    <a:pt x="482" y="366"/>
                  </a:lnTo>
                  <a:lnTo>
                    <a:pt x="481" y="350"/>
                  </a:lnTo>
                  <a:lnTo>
                    <a:pt x="482" y="337"/>
                  </a:lnTo>
                  <a:lnTo>
                    <a:pt x="483" y="325"/>
                  </a:lnTo>
                  <a:lnTo>
                    <a:pt x="487" y="314"/>
                  </a:lnTo>
                  <a:lnTo>
                    <a:pt x="491" y="303"/>
                  </a:lnTo>
                  <a:lnTo>
                    <a:pt x="495" y="295"/>
                  </a:lnTo>
                  <a:lnTo>
                    <a:pt x="502" y="286"/>
                  </a:lnTo>
                  <a:lnTo>
                    <a:pt x="507" y="278"/>
                  </a:lnTo>
                  <a:lnTo>
                    <a:pt x="514" y="270"/>
                  </a:lnTo>
                  <a:lnTo>
                    <a:pt x="529" y="255"/>
                  </a:lnTo>
                  <a:lnTo>
                    <a:pt x="542" y="241"/>
                  </a:lnTo>
                  <a:lnTo>
                    <a:pt x="549" y="233"/>
                  </a:lnTo>
                  <a:lnTo>
                    <a:pt x="555" y="223"/>
                  </a:lnTo>
                  <a:lnTo>
                    <a:pt x="561" y="214"/>
                  </a:lnTo>
                  <a:lnTo>
                    <a:pt x="566" y="205"/>
                  </a:lnTo>
                  <a:lnTo>
                    <a:pt x="571" y="18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89" name="Freeform 55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1960563" y="3213100"/>
              <a:ext cx="241300" cy="139700"/>
            </a:xfrm>
            <a:custGeom>
              <a:avLst/>
              <a:gdLst/>
              <a:ahLst/>
              <a:cxnLst>
                <a:cxn ang="0">
                  <a:pos x="553" y="296"/>
                </a:cxn>
                <a:cxn ang="0">
                  <a:pos x="474" y="296"/>
                </a:cxn>
                <a:cxn ang="0">
                  <a:pos x="467" y="337"/>
                </a:cxn>
                <a:cxn ang="0">
                  <a:pos x="457" y="354"/>
                </a:cxn>
                <a:cxn ang="0">
                  <a:pos x="441" y="366"/>
                </a:cxn>
                <a:cxn ang="0">
                  <a:pos x="402" y="373"/>
                </a:cxn>
                <a:cxn ang="0">
                  <a:pos x="390" y="370"/>
                </a:cxn>
                <a:cxn ang="0">
                  <a:pos x="375" y="353"/>
                </a:cxn>
                <a:cxn ang="0">
                  <a:pos x="359" y="336"/>
                </a:cxn>
                <a:cxn ang="0">
                  <a:pos x="349" y="332"/>
                </a:cxn>
                <a:cxn ang="0">
                  <a:pos x="335" y="336"/>
                </a:cxn>
                <a:cxn ang="0">
                  <a:pos x="317" y="356"/>
                </a:cxn>
                <a:cxn ang="0">
                  <a:pos x="294" y="376"/>
                </a:cxn>
                <a:cxn ang="0">
                  <a:pos x="276" y="380"/>
                </a:cxn>
                <a:cxn ang="0">
                  <a:pos x="234" y="357"/>
                </a:cxn>
                <a:cxn ang="0">
                  <a:pos x="198" y="349"/>
                </a:cxn>
                <a:cxn ang="0">
                  <a:pos x="193" y="317"/>
                </a:cxn>
                <a:cxn ang="0">
                  <a:pos x="180" y="297"/>
                </a:cxn>
                <a:cxn ang="0">
                  <a:pos x="154" y="278"/>
                </a:cxn>
                <a:cxn ang="0">
                  <a:pos x="130" y="261"/>
                </a:cxn>
                <a:cxn ang="0">
                  <a:pos x="114" y="236"/>
                </a:cxn>
                <a:cxn ang="0">
                  <a:pos x="110" y="204"/>
                </a:cxn>
                <a:cxn ang="0">
                  <a:pos x="101" y="184"/>
                </a:cxn>
                <a:cxn ang="0">
                  <a:pos x="84" y="174"/>
                </a:cxn>
                <a:cxn ang="0">
                  <a:pos x="48" y="169"/>
                </a:cxn>
                <a:cxn ang="0">
                  <a:pos x="24" y="164"/>
                </a:cxn>
                <a:cxn ang="0">
                  <a:pos x="10" y="153"/>
                </a:cxn>
                <a:cxn ang="0">
                  <a:pos x="5" y="133"/>
                </a:cxn>
                <a:cxn ang="0">
                  <a:pos x="10" y="113"/>
                </a:cxn>
                <a:cxn ang="0">
                  <a:pos x="20" y="96"/>
                </a:cxn>
                <a:cxn ang="0">
                  <a:pos x="22" y="70"/>
                </a:cxn>
                <a:cxn ang="0">
                  <a:pos x="13" y="49"/>
                </a:cxn>
                <a:cxn ang="0">
                  <a:pos x="8" y="16"/>
                </a:cxn>
                <a:cxn ang="0">
                  <a:pos x="29" y="2"/>
                </a:cxn>
                <a:cxn ang="0">
                  <a:pos x="58" y="1"/>
                </a:cxn>
                <a:cxn ang="0">
                  <a:pos x="110" y="9"/>
                </a:cxn>
                <a:cxn ang="0">
                  <a:pos x="162" y="17"/>
                </a:cxn>
                <a:cxn ang="0">
                  <a:pos x="184" y="28"/>
                </a:cxn>
                <a:cxn ang="0">
                  <a:pos x="208" y="48"/>
                </a:cxn>
                <a:cxn ang="0">
                  <a:pos x="264" y="73"/>
                </a:cxn>
                <a:cxn ang="0">
                  <a:pos x="302" y="78"/>
                </a:cxn>
                <a:cxn ang="0">
                  <a:pos x="320" y="73"/>
                </a:cxn>
                <a:cxn ang="0">
                  <a:pos x="349" y="45"/>
                </a:cxn>
                <a:cxn ang="0">
                  <a:pos x="373" y="72"/>
                </a:cxn>
                <a:cxn ang="0">
                  <a:pos x="381" y="101"/>
                </a:cxn>
                <a:cxn ang="0">
                  <a:pos x="406" y="126"/>
                </a:cxn>
                <a:cxn ang="0">
                  <a:pos x="445" y="146"/>
                </a:cxn>
                <a:cxn ang="0">
                  <a:pos x="466" y="162"/>
                </a:cxn>
                <a:cxn ang="0">
                  <a:pos x="466" y="180"/>
                </a:cxn>
                <a:cxn ang="0">
                  <a:pos x="453" y="181"/>
                </a:cxn>
                <a:cxn ang="0">
                  <a:pos x="445" y="210"/>
                </a:cxn>
                <a:cxn ang="0">
                  <a:pos x="469" y="230"/>
                </a:cxn>
                <a:cxn ang="0">
                  <a:pos x="509" y="241"/>
                </a:cxn>
                <a:cxn ang="0">
                  <a:pos x="533" y="249"/>
                </a:cxn>
                <a:cxn ang="0">
                  <a:pos x="553" y="268"/>
                </a:cxn>
                <a:cxn ang="0">
                  <a:pos x="565" y="301"/>
                </a:cxn>
              </a:cxnLst>
              <a:rect l="0" t="0" r="r" b="b"/>
              <a:pathLst>
                <a:path w="565" h="380">
                  <a:moveTo>
                    <a:pt x="565" y="301"/>
                  </a:moveTo>
                  <a:lnTo>
                    <a:pt x="559" y="298"/>
                  </a:lnTo>
                  <a:lnTo>
                    <a:pt x="553" y="296"/>
                  </a:lnTo>
                  <a:lnTo>
                    <a:pt x="546" y="296"/>
                  </a:lnTo>
                  <a:lnTo>
                    <a:pt x="541" y="296"/>
                  </a:lnTo>
                  <a:lnTo>
                    <a:pt x="474" y="296"/>
                  </a:lnTo>
                  <a:lnTo>
                    <a:pt x="474" y="314"/>
                  </a:lnTo>
                  <a:lnTo>
                    <a:pt x="470" y="330"/>
                  </a:lnTo>
                  <a:lnTo>
                    <a:pt x="467" y="337"/>
                  </a:lnTo>
                  <a:lnTo>
                    <a:pt x="465" y="344"/>
                  </a:lnTo>
                  <a:lnTo>
                    <a:pt x="461" y="349"/>
                  </a:lnTo>
                  <a:lnTo>
                    <a:pt x="457" y="354"/>
                  </a:lnTo>
                  <a:lnTo>
                    <a:pt x="451" y="360"/>
                  </a:lnTo>
                  <a:lnTo>
                    <a:pt x="446" y="364"/>
                  </a:lnTo>
                  <a:lnTo>
                    <a:pt x="441" y="366"/>
                  </a:lnTo>
                  <a:lnTo>
                    <a:pt x="434" y="369"/>
                  </a:lnTo>
                  <a:lnTo>
                    <a:pt x="419" y="373"/>
                  </a:lnTo>
                  <a:lnTo>
                    <a:pt x="402" y="373"/>
                  </a:lnTo>
                  <a:lnTo>
                    <a:pt x="398" y="373"/>
                  </a:lnTo>
                  <a:lnTo>
                    <a:pt x="394" y="372"/>
                  </a:lnTo>
                  <a:lnTo>
                    <a:pt x="390" y="370"/>
                  </a:lnTo>
                  <a:lnTo>
                    <a:pt x="387" y="366"/>
                  </a:lnTo>
                  <a:lnTo>
                    <a:pt x="381" y="360"/>
                  </a:lnTo>
                  <a:lnTo>
                    <a:pt x="375" y="353"/>
                  </a:lnTo>
                  <a:lnTo>
                    <a:pt x="370" y="345"/>
                  </a:lnTo>
                  <a:lnTo>
                    <a:pt x="363" y="338"/>
                  </a:lnTo>
                  <a:lnTo>
                    <a:pt x="359" y="336"/>
                  </a:lnTo>
                  <a:lnTo>
                    <a:pt x="357" y="333"/>
                  </a:lnTo>
                  <a:lnTo>
                    <a:pt x="353" y="332"/>
                  </a:lnTo>
                  <a:lnTo>
                    <a:pt x="349" y="332"/>
                  </a:lnTo>
                  <a:lnTo>
                    <a:pt x="343" y="332"/>
                  </a:lnTo>
                  <a:lnTo>
                    <a:pt x="339" y="333"/>
                  </a:lnTo>
                  <a:lnTo>
                    <a:pt x="335" y="336"/>
                  </a:lnTo>
                  <a:lnTo>
                    <a:pt x="331" y="338"/>
                  </a:lnTo>
                  <a:lnTo>
                    <a:pt x="325" y="346"/>
                  </a:lnTo>
                  <a:lnTo>
                    <a:pt x="317" y="356"/>
                  </a:lnTo>
                  <a:lnTo>
                    <a:pt x="309" y="365"/>
                  </a:lnTo>
                  <a:lnTo>
                    <a:pt x="300" y="372"/>
                  </a:lnTo>
                  <a:lnTo>
                    <a:pt x="294" y="376"/>
                  </a:lnTo>
                  <a:lnTo>
                    <a:pt x="289" y="377"/>
                  </a:lnTo>
                  <a:lnTo>
                    <a:pt x="282" y="380"/>
                  </a:lnTo>
                  <a:lnTo>
                    <a:pt x="276" y="380"/>
                  </a:lnTo>
                  <a:lnTo>
                    <a:pt x="261" y="373"/>
                  </a:lnTo>
                  <a:lnTo>
                    <a:pt x="244" y="362"/>
                  </a:lnTo>
                  <a:lnTo>
                    <a:pt x="234" y="357"/>
                  </a:lnTo>
                  <a:lnTo>
                    <a:pt x="222" y="353"/>
                  </a:lnTo>
                  <a:lnTo>
                    <a:pt x="210" y="350"/>
                  </a:lnTo>
                  <a:lnTo>
                    <a:pt x="198" y="349"/>
                  </a:lnTo>
                  <a:lnTo>
                    <a:pt x="197" y="337"/>
                  </a:lnTo>
                  <a:lnTo>
                    <a:pt x="196" y="326"/>
                  </a:lnTo>
                  <a:lnTo>
                    <a:pt x="193" y="317"/>
                  </a:lnTo>
                  <a:lnTo>
                    <a:pt x="189" y="309"/>
                  </a:lnTo>
                  <a:lnTo>
                    <a:pt x="185" y="302"/>
                  </a:lnTo>
                  <a:lnTo>
                    <a:pt x="180" y="297"/>
                  </a:lnTo>
                  <a:lnTo>
                    <a:pt x="174" y="292"/>
                  </a:lnTo>
                  <a:lnTo>
                    <a:pt x="168" y="286"/>
                  </a:lnTo>
                  <a:lnTo>
                    <a:pt x="154" y="278"/>
                  </a:lnTo>
                  <a:lnTo>
                    <a:pt x="142" y="270"/>
                  </a:lnTo>
                  <a:lnTo>
                    <a:pt x="136" y="266"/>
                  </a:lnTo>
                  <a:lnTo>
                    <a:pt x="130" y="261"/>
                  </a:lnTo>
                  <a:lnTo>
                    <a:pt x="125" y="254"/>
                  </a:lnTo>
                  <a:lnTo>
                    <a:pt x="120" y="248"/>
                  </a:lnTo>
                  <a:lnTo>
                    <a:pt x="114" y="236"/>
                  </a:lnTo>
                  <a:lnTo>
                    <a:pt x="112" y="225"/>
                  </a:lnTo>
                  <a:lnTo>
                    <a:pt x="112" y="214"/>
                  </a:lnTo>
                  <a:lnTo>
                    <a:pt x="110" y="204"/>
                  </a:lnTo>
                  <a:lnTo>
                    <a:pt x="109" y="196"/>
                  </a:lnTo>
                  <a:lnTo>
                    <a:pt x="104" y="186"/>
                  </a:lnTo>
                  <a:lnTo>
                    <a:pt x="101" y="184"/>
                  </a:lnTo>
                  <a:lnTo>
                    <a:pt x="96" y="180"/>
                  </a:lnTo>
                  <a:lnTo>
                    <a:pt x="90" y="177"/>
                  </a:lnTo>
                  <a:lnTo>
                    <a:pt x="84" y="174"/>
                  </a:lnTo>
                  <a:lnTo>
                    <a:pt x="73" y="172"/>
                  </a:lnTo>
                  <a:lnTo>
                    <a:pt x="61" y="170"/>
                  </a:lnTo>
                  <a:lnTo>
                    <a:pt x="48" y="169"/>
                  </a:lnTo>
                  <a:lnTo>
                    <a:pt x="36" y="168"/>
                  </a:lnTo>
                  <a:lnTo>
                    <a:pt x="29" y="166"/>
                  </a:lnTo>
                  <a:lnTo>
                    <a:pt x="24" y="164"/>
                  </a:lnTo>
                  <a:lnTo>
                    <a:pt x="18" y="161"/>
                  </a:lnTo>
                  <a:lnTo>
                    <a:pt x="14" y="158"/>
                  </a:lnTo>
                  <a:lnTo>
                    <a:pt x="10" y="153"/>
                  </a:lnTo>
                  <a:lnTo>
                    <a:pt x="8" y="148"/>
                  </a:lnTo>
                  <a:lnTo>
                    <a:pt x="5" y="141"/>
                  </a:lnTo>
                  <a:lnTo>
                    <a:pt x="5" y="133"/>
                  </a:lnTo>
                  <a:lnTo>
                    <a:pt x="6" y="125"/>
                  </a:lnTo>
                  <a:lnTo>
                    <a:pt x="8" y="118"/>
                  </a:lnTo>
                  <a:lnTo>
                    <a:pt x="10" y="113"/>
                  </a:lnTo>
                  <a:lnTo>
                    <a:pt x="14" y="108"/>
                  </a:lnTo>
                  <a:lnTo>
                    <a:pt x="17" y="102"/>
                  </a:lnTo>
                  <a:lnTo>
                    <a:pt x="20" y="96"/>
                  </a:lnTo>
                  <a:lnTo>
                    <a:pt x="22" y="89"/>
                  </a:lnTo>
                  <a:lnTo>
                    <a:pt x="24" y="78"/>
                  </a:lnTo>
                  <a:lnTo>
                    <a:pt x="22" y="70"/>
                  </a:lnTo>
                  <a:lnTo>
                    <a:pt x="20" y="62"/>
                  </a:lnTo>
                  <a:lnTo>
                    <a:pt x="17" y="56"/>
                  </a:lnTo>
                  <a:lnTo>
                    <a:pt x="13" y="49"/>
                  </a:lnTo>
                  <a:lnTo>
                    <a:pt x="5" y="37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8" y="8"/>
                  </a:lnTo>
                  <a:lnTo>
                    <a:pt x="24" y="5"/>
                  </a:lnTo>
                  <a:lnTo>
                    <a:pt x="29" y="2"/>
                  </a:lnTo>
                  <a:lnTo>
                    <a:pt x="34" y="1"/>
                  </a:lnTo>
                  <a:lnTo>
                    <a:pt x="41" y="0"/>
                  </a:lnTo>
                  <a:lnTo>
                    <a:pt x="58" y="1"/>
                  </a:lnTo>
                  <a:lnTo>
                    <a:pt x="77" y="2"/>
                  </a:lnTo>
                  <a:lnTo>
                    <a:pt x="93" y="6"/>
                  </a:lnTo>
                  <a:lnTo>
                    <a:pt x="110" y="9"/>
                  </a:lnTo>
                  <a:lnTo>
                    <a:pt x="128" y="13"/>
                  </a:lnTo>
                  <a:lnTo>
                    <a:pt x="145" y="16"/>
                  </a:lnTo>
                  <a:lnTo>
                    <a:pt x="162" y="17"/>
                  </a:lnTo>
                  <a:lnTo>
                    <a:pt x="180" y="18"/>
                  </a:lnTo>
                  <a:lnTo>
                    <a:pt x="181" y="22"/>
                  </a:lnTo>
                  <a:lnTo>
                    <a:pt x="184" y="28"/>
                  </a:lnTo>
                  <a:lnTo>
                    <a:pt x="188" y="33"/>
                  </a:lnTo>
                  <a:lnTo>
                    <a:pt x="193" y="38"/>
                  </a:lnTo>
                  <a:lnTo>
                    <a:pt x="208" y="48"/>
                  </a:lnTo>
                  <a:lnTo>
                    <a:pt x="226" y="57"/>
                  </a:lnTo>
                  <a:lnTo>
                    <a:pt x="245" y="66"/>
                  </a:lnTo>
                  <a:lnTo>
                    <a:pt x="264" y="73"/>
                  </a:lnTo>
                  <a:lnTo>
                    <a:pt x="281" y="77"/>
                  </a:lnTo>
                  <a:lnTo>
                    <a:pt x="294" y="78"/>
                  </a:lnTo>
                  <a:lnTo>
                    <a:pt x="302" y="78"/>
                  </a:lnTo>
                  <a:lnTo>
                    <a:pt x="309" y="77"/>
                  </a:lnTo>
                  <a:lnTo>
                    <a:pt x="314" y="76"/>
                  </a:lnTo>
                  <a:lnTo>
                    <a:pt x="320" y="73"/>
                  </a:lnTo>
                  <a:lnTo>
                    <a:pt x="329" y="68"/>
                  </a:lnTo>
                  <a:lnTo>
                    <a:pt x="337" y="61"/>
                  </a:lnTo>
                  <a:lnTo>
                    <a:pt x="349" y="45"/>
                  </a:lnTo>
                  <a:lnTo>
                    <a:pt x="361" y="30"/>
                  </a:lnTo>
                  <a:lnTo>
                    <a:pt x="367" y="50"/>
                  </a:lnTo>
                  <a:lnTo>
                    <a:pt x="373" y="72"/>
                  </a:lnTo>
                  <a:lnTo>
                    <a:pt x="374" y="82"/>
                  </a:lnTo>
                  <a:lnTo>
                    <a:pt x="377" y="92"/>
                  </a:lnTo>
                  <a:lnTo>
                    <a:pt x="381" y="101"/>
                  </a:lnTo>
                  <a:lnTo>
                    <a:pt x="385" y="109"/>
                  </a:lnTo>
                  <a:lnTo>
                    <a:pt x="394" y="118"/>
                  </a:lnTo>
                  <a:lnTo>
                    <a:pt x="406" y="126"/>
                  </a:lnTo>
                  <a:lnTo>
                    <a:pt x="418" y="133"/>
                  </a:lnTo>
                  <a:lnTo>
                    <a:pt x="431" y="140"/>
                  </a:lnTo>
                  <a:lnTo>
                    <a:pt x="445" y="146"/>
                  </a:lnTo>
                  <a:lnTo>
                    <a:pt x="457" y="153"/>
                  </a:lnTo>
                  <a:lnTo>
                    <a:pt x="462" y="158"/>
                  </a:lnTo>
                  <a:lnTo>
                    <a:pt x="466" y="162"/>
                  </a:lnTo>
                  <a:lnTo>
                    <a:pt x="471" y="169"/>
                  </a:lnTo>
                  <a:lnTo>
                    <a:pt x="474" y="174"/>
                  </a:lnTo>
                  <a:lnTo>
                    <a:pt x="466" y="180"/>
                  </a:lnTo>
                  <a:lnTo>
                    <a:pt x="459" y="181"/>
                  </a:lnTo>
                  <a:lnTo>
                    <a:pt x="457" y="181"/>
                  </a:lnTo>
                  <a:lnTo>
                    <a:pt x="453" y="181"/>
                  </a:lnTo>
                  <a:lnTo>
                    <a:pt x="449" y="178"/>
                  </a:lnTo>
                  <a:lnTo>
                    <a:pt x="445" y="174"/>
                  </a:lnTo>
                  <a:lnTo>
                    <a:pt x="445" y="210"/>
                  </a:lnTo>
                  <a:lnTo>
                    <a:pt x="453" y="218"/>
                  </a:lnTo>
                  <a:lnTo>
                    <a:pt x="461" y="225"/>
                  </a:lnTo>
                  <a:lnTo>
                    <a:pt x="469" y="230"/>
                  </a:lnTo>
                  <a:lnTo>
                    <a:pt x="477" y="233"/>
                  </a:lnTo>
                  <a:lnTo>
                    <a:pt x="493" y="238"/>
                  </a:lnTo>
                  <a:lnTo>
                    <a:pt x="509" y="241"/>
                  </a:lnTo>
                  <a:lnTo>
                    <a:pt x="517" y="242"/>
                  </a:lnTo>
                  <a:lnTo>
                    <a:pt x="525" y="245"/>
                  </a:lnTo>
                  <a:lnTo>
                    <a:pt x="533" y="249"/>
                  </a:lnTo>
                  <a:lnTo>
                    <a:pt x="539" y="253"/>
                  </a:lnTo>
                  <a:lnTo>
                    <a:pt x="546" y="260"/>
                  </a:lnTo>
                  <a:lnTo>
                    <a:pt x="553" y="268"/>
                  </a:lnTo>
                  <a:lnTo>
                    <a:pt x="559" y="277"/>
                  </a:lnTo>
                  <a:lnTo>
                    <a:pt x="565" y="289"/>
                  </a:lnTo>
                  <a:lnTo>
                    <a:pt x="565" y="30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0" name="Freeform 58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501775" y="3709988"/>
              <a:ext cx="449263" cy="355600"/>
            </a:xfrm>
            <a:custGeom>
              <a:avLst/>
              <a:gdLst/>
              <a:ahLst/>
              <a:cxnLst>
                <a:cxn ang="0">
                  <a:pos x="1000" y="709"/>
                </a:cxn>
                <a:cxn ang="0">
                  <a:pos x="972" y="737"/>
                </a:cxn>
                <a:cxn ang="0">
                  <a:pos x="839" y="778"/>
                </a:cxn>
                <a:cxn ang="0">
                  <a:pos x="799" y="820"/>
                </a:cxn>
                <a:cxn ang="0">
                  <a:pos x="777" y="884"/>
                </a:cxn>
                <a:cxn ang="0">
                  <a:pos x="707" y="934"/>
                </a:cxn>
                <a:cxn ang="0">
                  <a:pos x="651" y="897"/>
                </a:cxn>
                <a:cxn ang="0">
                  <a:pos x="629" y="868"/>
                </a:cxn>
                <a:cxn ang="0">
                  <a:pos x="587" y="862"/>
                </a:cxn>
                <a:cxn ang="0">
                  <a:pos x="552" y="873"/>
                </a:cxn>
                <a:cxn ang="0">
                  <a:pos x="494" y="866"/>
                </a:cxn>
                <a:cxn ang="0">
                  <a:pos x="438" y="861"/>
                </a:cxn>
                <a:cxn ang="0">
                  <a:pos x="399" y="878"/>
                </a:cxn>
                <a:cxn ang="0">
                  <a:pos x="367" y="897"/>
                </a:cxn>
                <a:cxn ang="0">
                  <a:pos x="343" y="888"/>
                </a:cxn>
                <a:cxn ang="0">
                  <a:pos x="310" y="824"/>
                </a:cxn>
                <a:cxn ang="0">
                  <a:pos x="286" y="881"/>
                </a:cxn>
                <a:cxn ang="0">
                  <a:pos x="260" y="890"/>
                </a:cxn>
                <a:cxn ang="0">
                  <a:pos x="214" y="870"/>
                </a:cxn>
                <a:cxn ang="0">
                  <a:pos x="159" y="873"/>
                </a:cxn>
                <a:cxn ang="0">
                  <a:pos x="115" y="885"/>
                </a:cxn>
                <a:cxn ang="0">
                  <a:pos x="75" y="864"/>
                </a:cxn>
                <a:cxn ang="0">
                  <a:pos x="32" y="804"/>
                </a:cxn>
                <a:cxn ang="0">
                  <a:pos x="36" y="753"/>
                </a:cxn>
                <a:cxn ang="0">
                  <a:pos x="48" y="698"/>
                </a:cxn>
                <a:cxn ang="0">
                  <a:pos x="34" y="662"/>
                </a:cxn>
                <a:cxn ang="0">
                  <a:pos x="2" y="630"/>
                </a:cxn>
                <a:cxn ang="0">
                  <a:pos x="6" y="602"/>
                </a:cxn>
                <a:cxn ang="0">
                  <a:pos x="59" y="560"/>
                </a:cxn>
                <a:cxn ang="0">
                  <a:pos x="115" y="560"/>
                </a:cxn>
                <a:cxn ang="0">
                  <a:pos x="163" y="572"/>
                </a:cxn>
                <a:cxn ang="0">
                  <a:pos x="192" y="561"/>
                </a:cxn>
                <a:cxn ang="0">
                  <a:pos x="199" y="488"/>
                </a:cxn>
                <a:cxn ang="0">
                  <a:pos x="200" y="404"/>
                </a:cxn>
                <a:cxn ang="0">
                  <a:pos x="235" y="351"/>
                </a:cxn>
                <a:cxn ang="0">
                  <a:pos x="264" y="313"/>
                </a:cxn>
                <a:cxn ang="0">
                  <a:pos x="270" y="261"/>
                </a:cxn>
                <a:cxn ang="0">
                  <a:pos x="247" y="212"/>
                </a:cxn>
                <a:cxn ang="0">
                  <a:pos x="235" y="175"/>
                </a:cxn>
                <a:cxn ang="0">
                  <a:pos x="263" y="113"/>
                </a:cxn>
                <a:cxn ang="0">
                  <a:pos x="324" y="24"/>
                </a:cxn>
                <a:cxn ang="0">
                  <a:pos x="428" y="0"/>
                </a:cxn>
                <a:cxn ang="0">
                  <a:pos x="482" y="11"/>
                </a:cxn>
                <a:cxn ang="0">
                  <a:pos x="543" y="63"/>
                </a:cxn>
                <a:cxn ang="0">
                  <a:pos x="572" y="103"/>
                </a:cxn>
                <a:cxn ang="0">
                  <a:pos x="594" y="152"/>
                </a:cxn>
                <a:cxn ang="0">
                  <a:pos x="659" y="175"/>
                </a:cxn>
                <a:cxn ang="0">
                  <a:pos x="695" y="209"/>
                </a:cxn>
                <a:cxn ang="0">
                  <a:pos x="772" y="263"/>
                </a:cxn>
                <a:cxn ang="0">
                  <a:pos x="821" y="311"/>
                </a:cxn>
                <a:cxn ang="0">
                  <a:pos x="829" y="368"/>
                </a:cxn>
                <a:cxn ang="0">
                  <a:pos x="799" y="402"/>
                </a:cxn>
                <a:cxn ang="0">
                  <a:pos x="783" y="433"/>
                </a:cxn>
                <a:cxn ang="0">
                  <a:pos x="804" y="464"/>
                </a:cxn>
                <a:cxn ang="0">
                  <a:pos x="853" y="469"/>
                </a:cxn>
                <a:cxn ang="0">
                  <a:pos x="876" y="477"/>
                </a:cxn>
                <a:cxn ang="0">
                  <a:pos x="885" y="532"/>
                </a:cxn>
                <a:cxn ang="0">
                  <a:pos x="907" y="558"/>
                </a:cxn>
                <a:cxn ang="0">
                  <a:pos x="988" y="622"/>
                </a:cxn>
                <a:cxn ang="0">
                  <a:pos x="1039" y="704"/>
                </a:cxn>
              </a:cxnLst>
              <a:rect l="0" t="0" r="r" b="b"/>
              <a:pathLst>
                <a:path w="1048" h="952">
                  <a:moveTo>
                    <a:pt x="1017" y="704"/>
                  </a:moveTo>
                  <a:lnTo>
                    <a:pt x="1012" y="705"/>
                  </a:lnTo>
                  <a:lnTo>
                    <a:pt x="1008" y="705"/>
                  </a:lnTo>
                  <a:lnTo>
                    <a:pt x="1004" y="708"/>
                  </a:lnTo>
                  <a:lnTo>
                    <a:pt x="1000" y="709"/>
                  </a:lnTo>
                  <a:lnTo>
                    <a:pt x="993" y="714"/>
                  </a:lnTo>
                  <a:lnTo>
                    <a:pt x="988" y="720"/>
                  </a:lnTo>
                  <a:lnTo>
                    <a:pt x="984" y="726"/>
                  </a:lnTo>
                  <a:lnTo>
                    <a:pt x="979" y="732"/>
                  </a:lnTo>
                  <a:lnTo>
                    <a:pt x="972" y="737"/>
                  </a:lnTo>
                  <a:lnTo>
                    <a:pt x="964" y="741"/>
                  </a:lnTo>
                  <a:lnTo>
                    <a:pt x="916" y="753"/>
                  </a:lnTo>
                  <a:lnTo>
                    <a:pt x="864" y="768"/>
                  </a:lnTo>
                  <a:lnTo>
                    <a:pt x="851" y="772"/>
                  </a:lnTo>
                  <a:lnTo>
                    <a:pt x="839" y="778"/>
                  </a:lnTo>
                  <a:lnTo>
                    <a:pt x="828" y="784"/>
                  </a:lnTo>
                  <a:lnTo>
                    <a:pt x="819" y="792"/>
                  </a:lnTo>
                  <a:lnTo>
                    <a:pt x="811" y="800"/>
                  </a:lnTo>
                  <a:lnTo>
                    <a:pt x="804" y="809"/>
                  </a:lnTo>
                  <a:lnTo>
                    <a:pt x="799" y="820"/>
                  </a:lnTo>
                  <a:lnTo>
                    <a:pt x="795" y="830"/>
                  </a:lnTo>
                  <a:lnTo>
                    <a:pt x="792" y="846"/>
                  </a:lnTo>
                  <a:lnTo>
                    <a:pt x="788" y="861"/>
                  </a:lnTo>
                  <a:lnTo>
                    <a:pt x="783" y="873"/>
                  </a:lnTo>
                  <a:lnTo>
                    <a:pt x="777" y="884"/>
                  </a:lnTo>
                  <a:lnTo>
                    <a:pt x="769" y="894"/>
                  </a:lnTo>
                  <a:lnTo>
                    <a:pt x="763" y="902"/>
                  </a:lnTo>
                  <a:lnTo>
                    <a:pt x="755" y="909"/>
                  </a:lnTo>
                  <a:lnTo>
                    <a:pt x="745" y="916"/>
                  </a:lnTo>
                  <a:lnTo>
                    <a:pt x="707" y="934"/>
                  </a:lnTo>
                  <a:lnTo>
                    <a:pt x="668" y="952"/>
                  </a:lnTo>
                  <a:lnTo>
                    <a:pt x="663" y="941"/>
                  </a:lnTo>
                  <a:lnTo>
                    <a:pt x="659" y="926"/>
                  </a:lnTo>
                  <a:lnTo>
                    <a:pt x="656" y="912"/>
                  </a:lnTo>
                  <a:lnTo>
                    <a:pt x="651" y="897"/>
                  </a:lnTo>
                  <a:lnTo>
                    <a:pt x="648" y="890"/>
                  </a:lnTo>
                  <a:lnTo>
                    <a:pt x="645" y="884"/>
                  </a:lnTo>
                  <a:lnTo>
                    <a:pt x="640" y="877"/>
                  </a:lnTo>
                  <a:lnTo>
                    <a:pt x="636" y="872"/>
                  </a:lnTo>
                  <a:lnTo>
                    <a:pt x="629" y="868"/>
                  </a:lnTo>
                  <a:lnTo>
                    <a:pt x="622" y="864"/>
                  </a:lnTo>
                  <a:lnTo>
                    <a:pt x="612" y="861"/>
                  </a:lnTo>
                  <a:lnTo>
                    <a:pt x="603" y="861"/>
                  </a:lnTo>
                  <a:lnTo>
                    <a:pt x="594" y="861"/>
                  </a:lnTo>
                  <a:lnTo>
                    <a:pt x="587" y="862"/>
                  </a:lnTo>
                  <a:lnTo>
                    <a:pt x="580" y="865"/>
                  </a:lnTo>
                  <a:lnTo>
                    <a:pt x="575" y="866"/>
                  </a:lnTo>
                  <a:lnTo>
                    <a:pt x="568" y="869"/>
                  </a:lnTo>
                  <a:lnTo>
                    <a:pt x="560" y="872"/>
                  </a:lnTo>
                  <a:lnTo>
                    <a:pt x="552" y="873"/>
                  </a:lnTo>
                  <a:lnTo>
                    <a:pt x="542" y="873"/>
                  </a:lnTo>
                  <a:lnTo>
                    <a:pt x="528" y="873"/>
                  </a:lnTo>
                  <a:lnTo>
                    <a:pt x="515" y="872"/>
                  </a:lnTo>
                  <a:lnTo>
                    <a:pt x="504" y="869"/>
                  </a:lnTo>
                  <a:lnTo>
                    <a:pt x="494" y="866"/>
                  </a:lnTo>
                  <a:lnTo>
                    <a:pt x="484" y="865"/>
                  </a:lnTo>
                  <a:lnTo>
                    <a:pt x="472" y="862"/>
                  </a:lnTo>
                  <a:lnTo>
                    <a:pt x="460" y="861"/>
                  </a:lnTo>
                  <a:lnTo>
                    <a:pt x="446" y="861"/>
                  </a:lnTo>
                  <a:lnTo>
                    <a:pt x="438" y="861"/>
                  </a:lnTo>
                  <a:lnTo>
                    <a:pt x="431" y="862"/>
                  </a:lnTo>
                  <a:lnTo>
                    <a:pt x="426" y="864"/>
                  </a:lnTo>
                  <a:lnTo>
                    <a:pt x="419" y="866"/>
                  </a:lnTo>
                  <a:lnTo>
                    <a:pt x="408" y="872"/>
                  </a:lnTo>
                  <a:lnTo>
                    <a:pt x="399" y="878"/>
                  </a:lnTo>
                  <a:lnTo>
                    <a:pt x="391" y="885"/>
                  </a:lnTo>
                  <a:lnTo>
                    <a:pt x="382" y="892"/>
                  </a:lnTo>
                  <a:lnTo>
                    <a:pt x="376" y="894"/>
                  </a:lnTo>
                  <a:lnTo>
                    <a:pt x="372" y="896"/>
                  </a:lnTo>
                  <a:lnTo>
                    <a:pt x="367" y="897"/>
                  </a:lnTo>
                  <a:lnTo>
                    <a:pt x="362" y="897"/>
                  </a:lnTo>
                  <a:lnTo>
                    <a:pt x="356" y="896"/>
                  </a:lnTo>
                  <a:lnTo>
                    <a:pt x="351" y="894"/>
                  </a:lnTo>
                  <a:lnTo>
                    <a:pt x="347" y="892"/>
                  </a:lnTo>
                  <a:lnTo>
                    <a:pt x="343" y="888"/>
                  </a:lnTo>
                  <a:lnTo>
                    <a:pt x="336" y="877"/>
                  </a:lnTo>
                  <a:lnTo>
                    <a:pt x="331" y="865"/>
                  </a:lnTo>
                  <a:lnTo>
                    <a:pt x="322" y="838"/>
                  </a:lnTo>
                  <a:lnTo>
                    <a:pt x="314" y="818"/>
                  </a:lnTo>
                  <a:lnTo>
                    <a:pt x="310" y="824"/>
                  </a:lnTo>
                  <a:lnTo>
                    <a:pt x="306" y="833"/>
                  </a:lnTo>
                  <a:lnTo>
                    <a:pt x="302" y="844"/>
                  </a:lnTo>
                  <a:lnTo>
                    <a:pt x="296" y="857"/>
                  </a:lnTo>
                  <a:lnTo>
                    <a:pt x="292" y="870"/>
                  </a:lnTo>
                  <a:lnTo>
                    <a:pt x="286" y="881"/>
                  </a:lnTo>
                  <a:lnTo>
                    <a:pt x="283" y="885"/>
                  </a:lnTo>
                  <a:lnTo>
                    <a:pt x="279" y="888"/>
                  </a:lnTo>
                  <a:lnTo>
                    <a:pt x="275" y="890"/>
                  </a:lnTo>
                  <a:lnTo>
                    <a:pt x="271" y="890"/>
                  </a:lnTo>
                  <a:lnTo>
                    <a:pt x="260" y="890"/>
                  </a:lnTo>
                  <a:lnTo>
                    <a:pt x="251" y="888"/>
                  </a:lnTo>
                  <a:lnTo>
                    <a:pt x="243" y="884"/>
                  </a:lnTo>
                  <a:lnTo>
                    <a:pt x="234" y="878"/>
                  </a:lnTo>
                  <a:lnTo>
                    <a:pt x="224" y="874"/>
                  </a:lnTo>
                  <a:lnTo>
                    <a:pt x="214" y="870"/>
                  </a:lnTo>
                  <a:lnTo>
                    <a:pt x="202" y="868"/>
                  </a:lnTo>
                  <a:lnTo>
                    <a:pt x="187" y="866"/>
                  </a:lnTo>
                  <a:lnTo>
                    <a:pt x="176" y="868"/>
                  </a:lnTo>
                  <a:lnTo>
                    <a:pt x="167" y="870"/>
                  </a:lnTo>
                  <a:lnTo>
                    <a:pt x="159" y="873"/>
                  </a:lnTo>
                  <a:lnTo>
                    <a:pt x="151" y="876"/>
                  </a:lnTo>
                  <a:lnTo>
                    <a:pt x="143" y="880"/>
                  </a:lnTo>
                  <a:lnTo>
                    <a:pt x="134" y="882"/>
                  </a:lnTo>
                  <a:lnTo>
                    <a:pt x="126" y="884"/>
                  </a:lnTo>
                  <a:lnTo>
                    <a:pt x="115" y="885"/>
                  </a:lnTo>
                  <a:lnTo>
                    <a:pt x="108" y="884"/>
                  </a:lnTo>
                  <a:lnTo>
                    <a:pt x="102" y="882"/>
                  </a:lnTo>
                  <a:lnTo>
                    <a:pt x="95" y="880"/>
                  </a:lnTo>
                  <a:lnTo>
                    <a:pt x="88" y="874"/>
                  </a:lnTo>
                  <a:lnTo>
                    <a:pt x="75" y="864"/>
                  </a:lnTo>
                  <a:lnTo>
                    <a:pt x="62" y="850"/>
                  </a:lnTo>
                  <a:lnTo>
                    <a:pt x="48" y="834"/>
                  </a:lnTo>
                  <a:lnTo>
                    <a:pt x="39" y="818"/>
                  </a:lnTo>
                  <a:lnTo>
                    <a:pt x="35" y="810"/>
                  </a:lnTo>
                  <a:lnTo>
                    <a:pt x="32" y="804"/>
                  </a:lnTo>
                  <a:lnTo>
                    <a:pt x="31" y="796"/>
                  </a:lnTo>
                  <a:lnTo>
                    <a:pt x="30" y="789"/>
                  </a:lnTo>
                  <a:lnTo>
                    <a:pt x="31" y="776"/>
                  </a:lnTo>
                  <a:lnTo>
                    <a:pt x="34" y="764"/>
                  </a:lnTo>
                  <a:lnTo>
                    <a:pt x="36" y="753"/>
                  </a:lnTo>
                  <a:lnTo>
                    <a:pt x="39" y="744"/>
                  </a:lnTo>
                  <a:lnTo>
                    <a:pt x="43" y="733"/>
                  </a:lnTo>
                  <a:lnTo>
                    <a:pt x="46" y="722"/>
                  </a:lnTo>
                  <a:lnTo>
                    <a:pt x="47" y="710"/>
                  </a:lnTo>
                  <a:lnTo>
                    <a:pt x="48" y="698"/>
                  </a:lnTo>
                  <a:lnTo>
                    <a:pt x="48" y="690"/>
                  </a:lnTo>
                  <a:lnTo>
                    <a:pt x="46" y="684"/>
                  </a:lnTo>
                  <a:lnTo>
                    <a:pt x="44" y="678"/>
                  </a:lnTo>
                  <a:lnTo>
                    <a:pt x="40" y="673"/>
                  </a:lnTo>
                  <a:lnTo>
                    <a:pt x="34" y="662"/>
                  </a:lnTo>
                  <a:lnTo>
                    <a:pt x="24" y="654"/>
                  </a:lnTo>
                  <a:lnTo>
                    <a:pt x="15" y="646"/>
                  </a:lnTo>
                  <a:lnTo>
                    <a:pt x="7" y="638"/>
                  </a:lnTo>
                  <a:lnTo>
                    <a:pt x="4" y="634"/>
                  </a:lnTo>
                  <a:lnTo>
                    <a:pt x="2" y="630"/>
                  </a:lnTo>
                  <a:lnTo>
                    <a:pt x="0" y="625"/>
                  </a:lnTo>
                  <a:lnTo>
                    <a:pt x="0" y="620"/>
                  </a:lnTo>
                  <a:lnTo>
                    <a:pt x="0" y="614"/>
                  </a:lnTo>
                  <a:lnTo>
                    <a:pt x="3" y="609"/>
                  </a:lnTo>
                  <a:lnTo>
                    <a:pt x="6" y="602"/>
                  </a:lnTo>
                  <a:lnTo>
                    <a:pt x="10" y="597"/>
                  </a:lnTo>
                  <a:lnTo>
                    <a:pt x="19" y="586"/>
                  </a:lnTo>
                  <a:lnTo>
                    <a:pt x="31" y="576"/>
                  </a:lnTo>
                  <a:lnTo>
                    <a:pt x="44" y="566"/>
                  </a:lnTo>
                  <a:lnTo>
                    <a:pt x="59" y="560"/>
                  </a:lnTo>
                  <a:lnTo>
                    <a:pt x="72" y="556"/>
                  </a:lnTo>
                  <a:lnTo>
                    <a:pt x="84" y="553"/>
                  </a:lnTo>
                  <a:lnTo>
                    <a:pt x="95" y="554"/>
                  </a:lnTo>
                  <a:lnTo>
                    <a:pt x="106" y="557"/>
                  </a:lnTo>
                  <a:lnTo>
                    <a:pt x="115" y="560"/>
                  </a:lnTo>
                  <a:lnTo>
                    <a:pt x="123" y="562"/>
                  </a:lnTo>
                  <a:lnTo>
                    <a:pt x="132" y="566"/>
                  </a:lnTo>
                  <a:lnTo>
                    <a:pt x="142" y="569"/>
                  </a:lnTo>
                  <a:lnTo>
                    <a:pt x="152" y="570"/>
                  </a:lnTo>
                  <a:lnTo>
                    <a:pt x="163" y="572"/>
                  </a:lnTo>
                  <a:lnTo>
                    <a:pt x="171" y="572"/>
                  </a:lnTo>
                  <a:lnTo>
                    <a:pt x="178" y="570"/>
                  </a:lnTo>
                  <a:lnTo>
                    <a:pt x="184" y="568"/>
                  </a:lnTo>
                  <a:lnTo>
                    <a:pt x="188" y="565"/>
                  </a:lnTo>
                  <a:lnTo>
                    <a:pt x="192" y="561"/>
                  </a:lnTo>
                  <a:lnTo>
                    <a:pt x="195" y="556"/>
                  </a:lnTo>
                  <a:lnTo>
                    <a:pt x="198" y="552"/>
                  </a:lnTo>
                  <a:lnTo>
                    <a:pt x="199" y="545"/>
                  </a:lnTo>
                  <a:lnTo>
                    <a:pt x="200" y="518"/>
                  </a:lnTo>
                  <a:lnTo>
                    <a:pt x="199" y="488"/>
                  </a:lnTo>
                  <a:lnTo>
                    <a:pt x="199" y="474"/>
                  </a:lnTo>
                  <a:lnTo>
                    <a:pt x="199" y="456"/>
                  </a:lnTo>
                  <a:lnTo>
                    <a:pt x="199" y="434"/>
                  </a:lnTo>
                  <a:lnTo>
                    <a:pt x="199" y="416"/>
                  </a:lnTo>
                  <a:lnTo>
                    <a:pt x="200" y="404"/>
                  </a:lnTo>
                  <a:lnTo>
                    <a:pt x="202" y="393"/>
                  </a:lnTo>
                  <a:lnTo>
                    <a:pt x="206" y="385"/>
                  </a:lnTo>
                  <a:lnTo>
                    <a:pt x="210" y="377"/>
                  </a:lnTo>
                  <a:lnTo>
                    <a:pt x="222" y="363"/>
                  </a:lnTo>
                  <a:lnTo>
                    <a:pt x="235" y="351"/>
                  </a:lnTo>
                  <a:lnTo>
                    <a:pt x="242" y="344"/>
                  </a:lnTo>
                  <a:lnTo>
                    <a:pt x="248" y="337"/>
                  </a:lnTo>
                  <a:lnTo>
                    <a:pt x="255" y="331"/>
                  </a:lnTo>
                  <a:lnTo>
                    <a:pt x="260" y="323"/>
                  </a:lnTo>
                  <a:lnTo>
                    <a:pt x="264" y="313"/>
                  </a:lnTo>
                  <a:lnTo>
                    <a:pt x="268" y="303"/>
                  </a:lnTo>
                  <a:lnTo>
                    <a:pt x="271" y="291"/>
                  </a:lnTo>
                  <a:lnTo>
                    <a:pt x="271" y="277"/>
                  </a:lnTo>
                  <a:lnTo>
                    <a:pt x="271" y="269"/>
                  </a:lnTo>
                  <a:lnTo>
                    <a:pt x="270" y="261"/>
                  </a:lnTo>
                  <a:lnTo>
                    <a:pt x="268" y="255"/>
                  </a:lnTo>
                  <a:lnTo>
                    <a:pt x="266" y="248"/>
                  </a:lnTo>
                  <a:lnTo>
                    <a:pt x="260" y="236"/>
                  </a:lnTo>
                  <a:lnTo>
                    <a:pt x="254" y="224"/>
                  </a:lnTo>
                  <a:lnTo>
                    <a:pt x="247" y="212"/>
                  </a:lnTo>
                  <a:lnTo>
                    <a:pt x="240" y="200"/>
                  </a:lnTo>
                  <a:lnTo>
                    <a:pt x="239" y="193"/>
                  </a:lnTo>
                  <a:lnTo>
                    <a:pt x="236" y="188"/>
                  </a:lnTo>
                  <a:lnTo>
                    <a:pt x="235" y="181"/>
                  </a:lnTo>
                  <a:lnTo>
                    <a:pt x="235" y="175"/>
                  </a:lnTo>
                  <a:lnTo>
                    <a:pt x="236" y="164"/>
                  </a:lnTo>
                  <a:lnTo>
                    <a:pt x="239" y="155"/>
                  </a:lnTo>
                  <a:lnTo>
                    <a:pt x="243" y="144"/>
                  </a:lnTo>
                  <a:lnTo>
                    <a:pt x="248" y="133"/>
                  </a:lnTo>
                  <a:lnTo>
                    <a:pt x="263" y="113"/>
                  </a:lnTo>
                  <a:lnTo>
                    <a:pt x="279" y="92"/>
                  </a:lnTo>
                  <a:lnTo>
                    <a:pt x="295" y="69"/>
                  </a:lnTo>
                  <a:lnTo>
                    <a:pt x="311" y="48"/>
                  </a:lnTo>
                  <a:lnTo>
                    <a:pt x="318" y="36"/>
                  </a:lnTo>
                  <a:lnTo>
                    <a:pt x="324" y="24"/>
                  </a:lnTo>
                  <a:lnTo>
                    <a:pt x="328" y="12"/>
                  </a:lnTo>
                  <a:lnTo>
                    <a:pt x="331" y="0"/>
                  </a:lnTo>
                  <a:lnTo>
                    <a:pt x="371" y="0"/>
                  </a:lnTo>
                  <a:lnTo>
                    <a:pt x="402" y="0"/>
                  </a:lnTo>
                  <a:lnTo>
                    <a:pt x="428" y="0"/>
                  </a:lnTo>
                  <a:lnTo>
                    <a:pt x="458" y="0"/>
                  </a:lnTo>
                  <a:lnTo>
                    <a:pt x="463" y="0"/>
                  </a:lnTo>
                  <a:lnTo>
                    <a:pt x="470" y="3"/>
                  </a:lnTo>
                  <a:lnTo>
                    <a:pt x="475" y="5"/>
                  </a:lnTo>
                  <a:lnTo>
                    <a:pt x="482" y="11"/>
                  </a:lnTo>
                  <a:lnTo>
                    <a:pt x="495" y="21"/>
                  </a:lnTo>
                  <a:lnTo>
                    <a:pt x="507" y="33"/>
                  </a:lnTo>
                  <a:lnTo>
                    <a:pt x="522" y="47"/>
                  </a:lnTo>
                  <a:lnTo>
                    <a:pt x="536" y="59"/>
                  </a:lnTo>
                  <a:lnTo>
                    <a:pt x="543" y="63"/>
                  </a:lnTo>
                  <a:lnTo>
                    <a:pt x="551" y="67"/>
                  </a:lnTo>
                  <a:lnTo>
                    <a:pt x="559" y="71"/>
                  </a:lnTo>
                  <a:lnTo>
                    <a:pt x="567" y="72"/>
                  </a:lnTo>
                  <a:lnTo>
                    <a:pt x="570" y="87"/>
                  </a:lnTo>
                  <a:lnTo>
                    <a:pt x="572" y="103"/>
                  </a:lnTo>
                  <a:lnTo>
                    <a:pt x="574" y="116"/>
                  </a:lnTo>
                  <a:lnTo>
                    <a:pt x="576" y="128"/>
                  </a:lnTo>
                  <a:lnTo>
                    <a:pt x="580" y="139"/>
                  </a:lnTo>
                  <a:lnTo>
                    <a:pt x="587" y="147"/>
                  </a:lnTo>
                  <a:lnTo>
                    <a:pt x="594" y="152"/>
                  </a:lnTo>
                  <a:lnTo>
                    <a:pt x="602" y="157"/>
                  </a:lnTo>
                  <a:lnTo>
                    <a:pt x="611" y="161"/>
                  </a:lnTo>
                  <a:lnTo>
                    <a:pt x="620" y="164"/>
                  </a:lnTo>
                  <a:lnTo>
                    <a:pt x="640" y="169"/>
                  </a:lnTo>
                  <a:lnTo>
                    <a:pt x="659" y="175"/>
                  </a:lnTo>
                  <a:lnTo>
                    <a:pt x="667" y="179"/>
                  </a:lnTo>
                  <a:lnTo>
                    <a:pt x="675" y="184"/>
                  </a:lnTo>
                  <a:lnTo>
                    <a:pt x="681" y="191"/>
                  </a:lnTo>
                  <a:lnTo>
                    <a:pt x="687" y="199"/>
                  </a:lnTo>
                  <a:lnTo>
                    <a:pt x="695" y="209"/>
                  </a:lnTo>
                  <a:lnTo>
                    <a:pt x="703" y="219"/>
                  </a:lnTo>
                  <a:lnTo>
                    <a:pt x="713" y="227"/>
                  </a:lnTo>
                  <a:lnTo>
                    <a:pt x="724" y="235"/>
                  </a:lnTo>
                  <a:lnTo>
                    <a:pt x="748" y="249"/>
                  </a:lnTo>
                  <a:lnTo>
                    <a:pt x="772" y="263"/>
                  </a:lnTo>
                  <a:lnTo>
                    <a:pt x="784" y="271"/>
                  </a:lnTo>
                  <a:lnTo>
                    <a:pt x="795" y="279"/>
                  </a:lnTo>
                  <a:lnTo>
                    <a:pt x="805" y="288"/>
                  </a:lnTo>
                  <a:lnTo>
                    <a:pt x="813" y="299"/>
                  </a:lnTo>
                  <a:lnTo>
                    <a:pt x="821" y="311"/>
                  </a:lnTo>
                  <a:lnTo>
                    <a:pt x="827" y="323"/>
                  </a:lnTo>
                  <a:lnTo>
                    <a:pt x="829" y="339"/>
                  </a:lnTo>
                  <a:lnTo>
                    <a:pt x="831" y="355"/>
                  </a:lnTo>
                  <a:lnTo>
                    <a:pt x="831" y="361"/>
                  </a:lnTo>
                  <a:lnTo>
                    <a:pt x="829" y="368"/>
                  </a:lnTo>
                  <a:lnTo>
                    <a:pt x="827" y="373"/>
                  </a:lnTo>
                  <a:lnTo>
                    <a:pt x="824" y="377"/>
                  </a:lnTo>
                  <a:lnTo>
                    <a:pt x="816" y="386"/>
                  </a:lnTo>
                  <a:lnTo>
                    <a:pt x="807" y="394"/>
                  </a:lnTo>
                  <a:lnTo>
                    <a:pt x="799" y="402"/>
                  </a:lnTo>
                  <a:lnTo>
                    <a:pt x="791" y="410"/>
                  </a:lnTo>
                  <a:lnTo>
                    <a:pt x="788" y="416"/>
                  </a:lnTo>
                  <a:lnTo>
                    <a:pt x="785" y="421"/>
                  </a:lnTo>
                  <a:lnTo>
                    <a:pt x="784" y="426"/>
                  </a:lnTo>
                  <a:lnTo>
                    <a:pt x="783" y="433"/>
                  </a:lnTo>
                  <a:lnTo>
                    <a:pt x="784" y="441"/>
                  </a:lnTo>
                  <a:lnTo>
                    <a:pt x="787" y="449"/>
                  </a:lnTo>
                  <a:lnTo>
                    <a:pt x="792" y="456"/>
                  </a:lnTo>
                  <a:lnTo>
                    <a:pt x="797" y="460"/>
                  </a:lnTo>
                  <a:lnTo>
                    <a:pt x="804" y="464"/>
                  </a:lnTo>
                  <a:lnTo>
                    <a:pt x="811" y="468"/>
                  </a:lnTo>
                  <a:lnTo>
                    <a:pt x="819" y="469"/>
                  </a:lnTo>
                  <a:lnTo>
                    <a:pt x="825" y="469"/>
                  </a:lnTo>
                  <a:lnTo>
                    <a:pt x="841" y="469"/>
                  </a:lnTo>
                  <a:lnTo>
                    <a:pt x="853" y="469"/>
                  </a:lnTo>
                  <a:lnTo>
                    <a:pt x="861" y="469"/>
                  </a:lnTo>
                  <a:lnTo>
                    <a:pt x="867" y="469"/>
                  </a:lnTo>
                  <a:lnTo>
                    <a:pt x="871" y="470"/>
                  </a:lnTo>
                  <a:lnTo>
                    <a:pt x="875" y="473"/>
                  </a:lnTo>
                  <a:lnTo>
                    <a:pt x="876" y="477"/>
                  </a:lnTo>
                  <a:lnTo>
                    <a:pt x="879" y="484"/>
                  </a:lnTo>
                  <a:lnTo>
                    <a:pt x="880" y="498"/>
                  </a:lnTo>
                  <a:lnTo>
                    <a:pt x="883" y="514"/>
                  </a:lnTo>
                  <a:lnTo>
                    <a:pt x="884" y="522"/>
                  </a:lnTo>
                  <a:lnTo>
                    <a:pt x="885" y="532"/>
                  </a:lnTo>
                  <a:lnTo>
                    <a:pt x="888" y="538"/>
                  </a:lnTo>
                  <a:lnTo>
                    <a:pt x="891" y="545"/>
                  </a:lnTo>
                  <a:lnTo>
                    <a:pt x="895" y="552"/>
                  </a:lnTo>
                  <a:lnTo>
                    <a:pt x="900" y="556"/>
                  </a:lnTo>
                  <a:lnTo>
                    <a:pt x="907" y="558"/>
                  </a:lnTo>
                  <a:lnTo>
                    <a:pt x="916" y="560"/>
                  </a:lnTo>
                  <a:lnTo>
                    <a:pt x="940" y="560"/>
                  </a:lnTo>
                  <a:lnTo>
                    <a:pt x="952" y="560"/>
                  </a:lnTo>
                  <a:lnTo>
                    <a:pt x="963" y="578"/>
                  </a:lnTo>
                  <a:lnTo>
                    <a:pt x="988" y="622"/>
                  </a:lnTo>
                  <a:lnTo>
                    <a:pt x="1015" y="669"/>
                  </a:lnTo>
                  <a:lnTo>
                    <a:pt x="1029" y="698"/>
                  </a:lnTo>
                  <a:lnTo>
                    <a:pt x="1033" y="700"/>
                  </a:lnTo>
                  <a:lnTo>
                    <a:pt x="1035" y="701"/>
                  </a:lnTo>
                  <a:lnTo>
                    <a:pt x="1039" y="704"/>
                  </a:lnTo>
                  <a:lnTo>
                    <a:pt x="1048" y="704"/>
                  </a:lnTo>
                  <a:lnTo>
                    <a:pt x="1017" y="70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1" name="Freeform 59" descr="Широкий диагональный 1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1714500" y="3344863"/>
              <a:ext cx="257175" cy="182562"/>
            </a:xfrm>
            <a:custGeom>
              <a:avLst/>
              <a:gdLst/>
              <a:ahLst/>
              <a:cxnLst>
                <a:cxn ang="0">
                  <a:pos x="92" y="61"/>
                </a:cxn>
                <a:cxn ang="0">
                  <a:pos x="97" y="70"/>
                </a:cxn>
                <a:cxn ang="0">
                  <a:pos x="109" y="72"/>
                </a:cxn>
                <a:cxn ang="0">
                  <a:pos x="125" y="62"/>
                </a:cxn>
                <a:cxn ang="0">
                  <a:pos x="138" y="46"/>
                </a:cxn>
                <a:cxn ang="0">
                  <a:pos x="173" y="41"/>
                </a:cxn>
                <a:cxn ang="0">
                  <a:pos x="205" y="41"/>
                </a:cxn>
                <a:cxn ang="0">
                  <a:pos x="233" y="36"/>
                </a:cxn>
                <a:cxn ang="0">
                  <a:pos x="263" y="26"/>
                </a:cxn>
                <a:cxn ang="0">
                  <a:pos x="299" y="25"/>
                </a:cxn>
                <a:cxn ang="0">
                  <a:pos x="326" y="33"/>
                </a:cxn>
                <a:cxn ang="0">
                  <a:pos x="355" y="41"/>
                </a:cxn>
                <a:cxn ang="0">
                  <a:pos x="395" y="38"/>
                </a:cxn>
                <a:cxn ang="0">
                  <a:pos x="426" y="24"/>
                </a:cxn>
                <a:cxn ang="0">
                  <a:pos x="446" y="0"/>
                </a:cxn>
                <a:cxn ang="0">
                  <a:pos x="446" y="48"/>
                </a:cxn>
                <a:cxn ang="0">
                  <a:pos x="450" y="80"/>
                </a:cxn>
                <a:cxn ang="0">
                  <a:pos x="470" y="102"/>
                </a:cxn>
                <a:cxn ang="0">
                  <a:pos x="494" y="114"/>
                </a:cxn>
                <a:cxn ang="0">
                  <a:pos x="514" y="156"/>
                </a:cxn>
                <a:cxn ang="0">
                  <a:pos x="541" y="186"/>
                </a:cxn>
                <a:cxn ang="0">
                  <a:pos x="554" y="222"/>
                </a:cxn>
                <a:cxn ang="0">
                  <a:pos x="561" y="257"/>
                </a:cxn>
                <a:cxn ang="0">
                  <a:pos x="582" y="271"/>
                </a:cxn>
                <a:cxn ang="0">
                  <a:pos x="602" y="301"/>
                </a:cxn>
                <a:cxn ang="0">
                  <a:pos x="589" y="319"/>
                </a:cxn>
                <a:cxn ang="0">
                  <a:pos x="585" y="330"/>
                </a:cxn>
                <a:cxn ang="0">
                  <a:pos x="583" y="353"/>
                </a:cxn>
                <a:cxn ang="0">
                  <a:pos x="569" y="386"/>
                </a:cxn>
                <a:cxn ang="0">
                  <a:pos x="533" y="419"/>
                </a:cxn>
                <a:cxn ang="0">
                  <a:pos x="454" y="462"/>
                </a:cxn>
                <a:cxn ang="0">
                  <a:pos x="387" y="479"/>
                </a:cxn>
                <a:cxn ang="0">
                  <a:pos x="363" y="453"/>
                </a:cxn>
                <a:cxn ang="0">
                  <a:pos x="339" y="437"/>
                </a:cxn>
                <a:cxn ang="0">
                  <a:pos x="319" y="433"/>
                </a:cxn>
                <a:cxn ang="0">
                  <a:pos x="302" y="437"/>
                </a:cxn>
                <a:cxn ang="0">
                  <a:pos x="289" y="451"/>
                </a:cxn>
                <a:cxn ang="0">
                  <a:pos x="273" y="466"/>
                </a:cxn>
                <a:cxn ang="0">
                  <a:pos x="253" y="469"/>
                </a:cxn>
                <a:cxn ang="0">
                  <a:pos x="233" y="462"/>
                </a:cxn>
                <a:cxn ang="0">
                  <a:pos x="209" y="433"/>
                </a:cxn>
                <a:cxn ang="0">
                  <a:pos x="189" y="403"/>
                </a:cxn>
                <a:cxn ang="0">
                  <a:pos x="174" y="397"/>
                </a:cxn>
                <a:cxn ang="0">
                  <a:pos x="158" y="402"/>
                </a:cxn>
                <a:cxn ang="0">
                  <a:pos x="143" y="413"/>
                </a:cxn>
                <a:cxn ang="0">
                  <a:pos x="128" y="414"/>
                </a:cxn>
                <a:cxn ang="0">
                  <a:pos x="117" y="410"/>
                </a:cxn>
                <a:cxn ang="0">
                  <a:pos x="105" y="390"/>
                </a:cxn>
                <a:cxn ang="0">
                  <a:pos x="101" y="361"/>
                </a:cxn>
                <a:cxn ang="0">
                  <a:pos x="94" y="317"/>
                </a:cxn>
                <a:cxn ang="0">
                  <a:pos x="85" y="307"/>
                </a:cxn>
                <a:cxn ang="0">
                  <a:pos x="73" y="306"/>
                </a:cxn>
                <a:cxn ang="0">
                  <a:pos x="36" y="306"/>
                </a:cxn>
                <a:cxn ang="0">
                  <a:pos x="14" y="301"/>
                </a:cxn>
                <a:cxn ang="0">
                  <a:pos x="2" y="286"/>
                </a:cxn>
                <a:cxn ang="0">
                  <a:pos x="1" y="251"/>
                </a:cxn>
                <a:cxn ang="0">
                  <a:pos x="14" y="195"/>
                </a:cxn>
                <a:cxn ang="0">
                  <a:pos x="37" y="140"/>
                </a:cxn>
                <a:cxn ang="0">
                  <a:pos x="76" y="69"/>
                </a:cxn>
              </a:cxnLst>
              <a:rect l="0" t="0" r="r" b="b"/>
              <a:pathLst>
                <a:path w="602" h="487">
                  <a:moveTo>
                    <a:pt x="90" y="48"/>
                  </a:moveTo>
                  <a:lnTo>
                    <a:pt x="90" y="56"/>
                  </a:lnTo>
                  <a:lnTo>
                    <a:pt x="92" y="61"/>
                  </a:lnTo>
                  <a:lnTo>
                    <a:pt x="93" y="66"/>
                  </a:lnTo>
                  <a:lnTo>
                    <a:pt x="94" y="69"/>
                  </a:lnTo>
                  <a:lnTo>
                    <a:pt x="97" y="70"/>
                  </a:lnTo>
                  <a:lnTo>
                    <a:pt x="101" y="72"/>
                  </a:lnTo>
                  <a:lnTo>
                    <a:pt x="104" y="72"/>
                  </a:lnTo>
                  <a:lnTo>
                    <a:pt x="109" y="72"/>
                  </a:lnTo>
                  <a:lnTo>
                    <a:pt x="114" y="70"/>
                  </a:lnTo>
                  <a:lnTo>
                    <a:pt x="120" y="68"/>
                  </a:lnTo>
                  <a:lnTo>
                    <a:pt x="125" y="62"/>
                  </a:lnTo>
                  <a:lnTo>
                    <a:pt x="129" y="57"/>
                  </a:lnTo>
                  <a:lnTo>
                    <a:pt x="134" y="52"/>
                  </a:lnTo>
                  <a:lnTo>
                    <a:pt x="138" y="46"/>
                  </a:lnTo>
                  <a:lnTo>
                    <a:pt x="145" y="42"/>
                  </a:lnTo>
                  <a:lnTo>
                    <a:pt x="150" y="41"/>
                  </a:lnTo>
                  <a:lnTo>
                    <a:pt x="173" y="41"/>
                  </a:lnTo>
                  <a:lnTo>
                    <a:pt x="186" y="41"/>
                  </a:lnTo>
                  <a:lnTo>
                    <a:pt x="197" y="41"/>
                  </a:lnTo>
                  <a:lnTo>
                    <a:pt x="205" y="41"/>
                  </a:lnTo>
                  <a:lnTo>
                    <a:pt x="214" y="41"/>
                  </a:lnTo>
                  <a:lnTo>
                    <a:pt x="223" y="38"/>
                  </a:lnTo>
                  <a:lnTo>
                    <a:pt x="233" y="36"/>
                  </a:lnTo>
                  <a:lnTo>
                    <a:pt x="242" y="33"/>
                  </a:lnTo>
                  <a:lnTo>
                    <a:pt x="253" y="29"/>
                  </a:lnTo>
                  <a:lnTo>
                    <a:pt x="263" y="26"/>
                  </a:lnTo>
                  <a:lnTo>
                    <a:pt x="275" y="25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309" y="26"/>
                  </a:lnTo>
                  <a:lnTo>
                    <a:pt x="318" y="29"/>
                  </a:lnTo>
                  <a:lnTo>
                    <a:pt x="326" y="33"/>
                  </a:lnTo>
                  <a:lnTo>
                    <a:pt x="334" y="36"/>
                  </a:lnTo>
                  <a:lnTo>
                    <a:pt x="343" y="38"/>
                  </a:lnTo>
                  <a:lnTo>
                    <a:pt x="355" y="41"/>
                  </a:lnTo>
                  <a:lnTo>
                    <a:pt x="367" y="41"/>
                  </a:lnTo>
                  <a:lnTo>
                    <a:pt x="382" y="41"/>
                  </a:lnTo>
                  <a:lnTo>
                    <a:pt x="395" y="38"/>
                  </a:lnTo>
                  <a:lnTo>
                    <a:pt x="407" y="34"/>
                  </a:lnTo>
                  <a:lnTo>
                    <a:pt x="418" y="29"/>
                  </a:lnTo>
                  <a:lnTo>
                    <a:pt x="426" y="24"/>
                  </a:lnTo>
                  <a:lnTo>
                    <a:pt x="434" y="16"/>
                  </a:lnTo>
                  <a:lnTo>
                    <a:pt x="441" y="8"/>
                  </a:lnTo>
                  <a:lnTo>
                    <a:pt x="446" y="0"/>
                  </a:lnTo>
                  <a:lnTo>
                    <a:pt x="446" y="21"/>
                  </a:lnTo>
                  <a:lnTo>
                    <a:pt x="446" y="37"/>
                  </a:lnTo>
                  <a:lnTo>
                    <a:pt x="446" y="48"/>
                  </a:lnTo>
                  <a:lnTo>
                    <a:pt x="446" y="60"/>
                  </a:lnTo>
                  <a:lnTo>
                    <a:pt x="447" y="70"/>
                  </a:lnTo>
                  <a:lnTo>
                    <a:pt x="450" y="80"/>
                  </a:lnTo>
                  <a:lnTo>
                    <a:pt x="455" y="89"/>
                  </a:lnTo>
                  <a:lnTo>
                    <a:pt x="463" y="96"/>
                  </a:lnTo>
                  <a:lnTo>
                    <a:pt x="470" y="102"/>
                  </a:lnTo>
                  <a:lnTo>
                    <a:pt x="478" y="108"/>
                  </a:lnTo>
                  <a:lnTo>
                    <a:pt x="486" y="112"/>
                  </a:lnTo>
                  <a:lnTo>
                    <a:pt x="494" y="114"/>
                  </a:lnTo>
                  <a:lnTo>
                    <a:pt x="499" y="129"/>
                  </a:lnTo>
                  <a:lnTo>
                    <a:pt x="506" y="144"/>
                  </a:lnTo>
                  <a:lnTo>
                    <a:pt x="514" y="156"/>
                  </a:lnTo>
                  <a:lnTo>
                    <a:pt x="522" y="168"/>
                  </a:lnTo>
                  <a:lnTo>
                    <a:pt x="531" y="177"/>
                  </a:lnTo>
                  <a:lnTo>
                    <a:pt x="541" y="186"/>
                  </a:lnTo>
                  <a:lnTo>
                    <a:pt x="551" y="193"/>
                  </a:lnTo>
                  <a:lnTo>
                    <a:pt x="559" y="198"/>
                  </a:lnTo>
                  <a:lnTo>
                    <a:pt x="554" y="222"/>
                  </a:lnTo>
                  <a:lnTo>
                    <a:pt x="555" y="237"/>
                  </a:lnTo>
                  <a:lnTo>
                    <a:pt x="557" y="247"/>
                  </a:lnTo>
                  <a:lnTo>
                    <a:pt x="561" y="257"/>
                  </a:lnTo>
                  <a:lnTo>
                    <a:pt x="567" y="263"/>
                  </a:lnTo>
                  <a:lnTo>
                    <a:pt x="574" y="267"/>
                  </a:lnTo>
                  <a:lnTo>
                    <a:pt x="582" y="271"/>
                  </a:lnTo>
                  <a:lnTo>
                    <a:pt x="591" y="274"/>
                  </a:lnTo>
                  <a:lnTo>
                    <a:pt x="602" y="277"/>
                  </a:lnTo>
                  <a:lnTo>
                    <a:pt x="602" y="301"/>
                  </a:lnTo>
                  <a:lnTo>
                    <a:pt x="597" y="309"/>
                  </a:lnTo>
                  <a:lnTo>
                    <a:pt x="591" y="315"/>
                  </a:lnTo>
                  <a:lnTo>
                    <a:pt x="589" y="319"/>
                  </a:lnTo>
                  <a:lnTo>
                    <a:pt x="586" y="322"/>
                  </a:lnTo>
                  <a:lnTo>
                    <a:pt x="585" y="326"/>
                  </a:lnTo>
                  <a:lnTo>
                    <a:pt x="585" y="330"/>
                  </a:lnTo>
                  <a:lnTo>
                    <a:pt x="585" y="338"/>
                  </a:lnTo>
                  <a:lnTo>
                    <a:pt x="585" y="346"/>
                  </a:lnTo>
                  <a:lnTo>
                    <a:pt x="583" y="353"/>
                  </a:lnTo>
                  <a:lnTo>
                    <a:pt x="582" y="361"/>
                  </a:lnTo>
                  <a:lnTo>
                    <a:pt x="577" y="374"/>
                  </a:lnTo>
                  <a:lnTo>
                    <a:pt x="569" y="386"/>
                  </a:lnTo>
                  <a:lnTo>
                    <a:pt x="558" y="398"/>
                  </a:lnTo>
                  <a:lnTo>
                    <a:pt x="546" y="409"/>
                  </a:lnTo>
                  <a:lnTo>
                    <a:pt x="533" y="419"/>
                  </a:lnTo>
                  <a:lnTo>
                    <a:pt x="518" y="429"/>
                  </a:lnTo>
                  <a:lnTo>
                    <a:pt x="486" y="446"/>
                  </a:lnTo>
                  <a:lnTo>
                    <a:pt x="454" y="462"/>
                  </a:lnTo>
                  <a:lnTo>
                    <a:pt x="423" y="475"/>
                  </a:lnTo>
                  <a:lnTo>
                    <a:pt x="397" y="487"/>
                  </a:lnTo>
                  <a:lnTo>
                    <a:pt x="387" y="479"/>
                  </a:lnTo>
                  <a:lnTo>
                    <a:pt x="378" y="471"/>
                  </a:lnTo>
                  <a:lnTo>
                    <a:pt x="370" y="462"/>
                  </a:lnTo>
                  <a:lnTo>
                    <a:pt x="363" y="453"/>
                  </a:lnTo>
                  <a:lnTo>
                    <a:pt x="354" y="445"/>
                  </a:lnTo>
                  <a:lnTo>
                    <a:pt x="345" y="439"/>
                  </a:lnTo>
                  <a:lnTo>
                    <a:pt x="339" y="437"/>
                  </a:lnTo>
                  <a:lnTo>
                    <a:pt x="333" y="434"/>
                  </a:lnTo>
                  <a:lnTo>
                    <a:pt x="326" y="433"/>
                  </a:lnTo>
                  <a:lnTo>
                    <a:pt x="319" y="433"/>
                  </a:lnTo>
                  <a:lnTo>
                    <a:pt x="311" y="433"/>
                  </a:lnTo>
                  <a:lnTo>
                    <a:pt x="306" y="434"/>
                  </a:lnTo>
                  <a:lnTo>
                    <a:pt x="302" y="437"/>
                  </a:lnTo>
                  <a:lnTo>
                    <a:pt x="298" y="438"/>
                  </a:lnTo>
                  <a:lnTo>
                    <a:pt x="293" y="445"/>
                  </a:lnTo>
                  <a:lnTo>
                    <a:pt x="289" y="451"/>
                  </a:lnTo>
                  <a:lnTo>
                    <a:pt x="283" y="458"/>
                  </a:lnTo>
                  <a:lnTo>
                    <a:pt x="278" y="463"/>
                  </a:lnTo>
                  <a:lnTo>
                    <a:pt x="273" y="466"/>
                  </a:lnTo>
                  <a:lnTo>
                    <a:pt x="267" y="467"/>
                  </a:lnTo>
                  <a:lnTo>
                    <a:pt x="261" y="469"/>
                  </a:lnTo>
                  <a:lnTo>
                    <a:pt x="253" y="469"/>
                  </a:lnTo>
                  <a:lnTo>
                    <a:pt x="245" y="469"/>
                  </a:lnTo>
                  <a:lnTo>
                    <a:pt x="238" y="466"/>
                  </a:lnTo>
                  <a:lnTo>
                    <a:pt x="233" y="462"/>
                  </a:lnTo>
                  <a:lnTo>
                    <a:pt x="227" y="458"/>
                  </a:lnTo>
                  <a:lnTo>
                    <a:pt x="218" y="446"/>
                  </a:lnTo>
                  <a:lnTo>
                    <a:pt x="209" y="433"/>
                  </a:lnTo>
                  <a:lnTo>
                    <a:pt x="201" y="419"/>
                  </a:lnTo>
                  <a:lnTo>
                    <a:pt x="194" y="409"/>
                  </a:lnTo>
                  <a:lnTo>
                    <a:pt x="189" y="403"/>
                  </a:lnTo>
                  <a:lnTo>
                    <a:pt x="185" y="399"/>
                  </a:lnTo>
                  <a:lnTo>
                    <a:pt x="179" y="398"/>
                  </a:lnTo>
                  <a:lnTo>
                    <a:pt x="174" y="397"/>
                  </a:lnTo>
                  <a:lnTo>
                    <a:pt x="169" y="398"/>
                  </a:lnTo>
                  <a:lnTo>
                    <a:pt x="163" y="399"/>
                  </a:lnTo>
                  <a:lnTo>
                    <a:pt x="158" y="402"/>
                  </a:lnTo>
                  <a:lnTo>
                    <a:pt x="154" y="406"/>
                  </a:lnTo>
                  <a:lnTo>
                    <a:pt x="149" y="409"/>
                  </a:lnTo>
                  <a:lnTo>
                    <a:pt x="143" y="413"/>
                  </a:lnTo>
                  <a:lnTo>
                    <a:pt x="138" y="414"/>
                  </a:lnTo>
                  <a:lnTo>
                    <a:pt x="133" y="415"/>
                  </a:lnTo>
                  <a:lnTo>
                    <a:pt x="128" y="414"/>
                  </a:lnTo>
                  <a:lnTo>
                    <a:pt x="124" y="414"/>
                  </a:lnTo>
                  <a:lnTo>
                    <a:pt x="120" y="413"/>
                  </a:lnTo>
                  <a:lnTo>
                    <a:pt x="117" y="410"/>
                  </a:lnTo>
                  <a:lnTo>
                    <a:pt x="112" y="405"/>
                  </a:lnTo>
                  <a:lnTo>
                    <a:pt x="108" y="398"/>
                  </a:lnTo>
                  <a:lnTo>
                    <a:pt x="105" y="390"/>
                  </a:lnTo>
                  <a:lnTo>
                    <a:pt x="102" y="381"/>
                  </a:lnTo>
                  <a:lnTo>
                    <a:pt x="101" y="371"/>
                  </a:lnTo>
                  <a:lnTo>
                    <a:pt x="101" y="361"/>
                  </a:lnTo>
                  <a:lnTo>
                    <a:pt x="100" y="341"/>
                  </a:lnTo>
                  <a:lnTo>
                    <a:pt x="97" y="323"/>
                  </a:lnTo>
                  <a:lnTo>
                    <a:pt x="94" y="317"/>
                  </a:lnTo>
                  <a:lnTo>
                    <a:pt x="90" y="311"/>
                  </a:lnTo>
                  <a:lnTo>
                    <a:pt x="88" y="309"/>
                  </a:lnTo>
                  <a:lnTo>
                    <a:pt x="85" y="307"/>
                  </a:lnTo>
                  <a:lnTo>
                    <a:pt x="82" y="307"/>
                  </a:lnTo>
                  <a:lnTo>
                    <a:pt x="78" y="306"/>
                  </a:lnTo>
                  <a:lnTo>
                    <a:pt x="73" y="306"/>
                  </a:lnTo>
                  <a:lnTo>
                    <a:pt x="64" y="306"/>
                  </a:lnTo>
                  <a:lnTo>
                    <a:pt x="52" y="306"/>
                  </a:lnTo>
                  <a:lnTo>
                    <a:pt x="36" y="306"/>
                  </a:lnTo>
                  <a:lnTo>
                    <a:pt x="28" y="306"/>
                  </a:lnTo>
                  <a:lnTo>
                    <a:pt x="21" y="305"/>
                  </a:lnTo>
                  <a:lnTo>
                    <a:pt x="14" y="301"/>
                  </a:lnTo>
                  <a:lnTo>
                    <a:pt x="9" y="298"/>
                  </a:lnTo>
                  <a:lnTo>
                    <a:pt x="5" y="293"/>
                  </a:lnTo>
                  <a:lnTo>
                    <a:pt x="2" y="286"/>
                  </a:lnTo>
                  <a:lnTo>
                    <a:pt x="1" y="279"/>
                  </a:lnTo>
                  <a:lnTo>
                    <a:pt x="0" y="270"/>
                  </a:lnTo>
                  <a:lnTo>
                    <a:pt x="1" y="251"/>
                  </a:lnTo>
                  <a:lnTo>
                    <a:pt x="4" y="233"/>
                  </a:lnTo>
                  <a:lnTo>
                    <a:pt x="9" y="214"/>
                  </a:lnTo>
                  <a:lnTo>
                    <a:pt x="14" y="195"/>
                  </a:lnTo>
                  <a:lnTo>
                    <a:pt x="21" y="176"/>
                  </a:lnTo>
                  <a:lnTo>
                    <a:pt x="29" y="158"/>
                  </a:lnTo>
                  <a:lnTo>
                    <a:pt x="37" y="140"/>
                  </a:lnTo>
                  <a:lnTo>
                    <a:pt x="45" y="122"/>
                  </a:lnTo>
                  <a:lnTo>
                    <a:pt x="62" y="93"/>
                  </a:lnTo>
                  <a:lnTo>
                    <a:pt x="76" y="69"/>
                  </a:lnTo>
                  <a:lnTo>
                    <a:pt x="86" y="53"/>
                  </a:lnTo>
                  <a:lnTo>
                    <a:pt x="90" y="4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2" name="Freeform 60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1506538" y="3167063"/>
              <a:ext cx="236537" cy="146050"/>
            </a:xfrm>
            <a:custGeom>
              <a:avLst/>
              <a:gdLst/>
              <a:ahLst/>
              <a:cxnLst>
                <a:cxn ang="0">
                  <a:pos x="495" y="324"/>
                </a:cxn>
                <a:cxn ang="0">
                  <a:pos x="471" y="336"/>
                </a:cxn>
                <a:cxn ang="0">
                  <a:pos x="428" y="318"/>
                </a:cxn>
                <a:cxn ang="0">
                  <a:pos x="418" y="322"/>
                </a:cxn>
                <a:cxn ang="0">
                  <a:pos x="406" y="340"/>
                </a:cxn>
                <a:cxn ang="0">
                  <a:pos x="394" y="357"/>
                </a:cxn>
                <a:cxn ang="0">
                  <a:pos x="379" y="361"/>
                </a:cxn>
                <a:cxn ang="0">
                  <a:pos x="362" y="357"/>
                </a:cxn>
                <a:cxn ang="0">
                  <a:pos x="340" y="337"/>
                </a:cxn>
                <a:cxn ang="0">
                  <a:pos x="315" y="317"/>
                </a:cxn>
                <a:cxn ang="0">
                  <a:pos x="295" y="313"/>
                </a:cxn>
                <a:cxn ang="0">
                  <a:pos x="264" y="320"/>
                </a:cxn>
                <a:cxn ang="0">
                  <a:pos x="228" y="352"/>
                </a:cxn>
                <a:cxn ang="0">
                  <a:pos x="191" y="384"/>
                </a:cxn>
                <a:cxn ang="0">
                  <a:pos x="156" y="392"/>
                </a:cxn>
                <a:cxn ang="0">
                  <a:pos x="112" y="388"/>
                </a:cxn>
                <a:cxn ang="0">
                  <a:pos x="76" y="377"/>
                </a:cxn>
                <a:cxn ang="0">
                  <a:pos x="47" y="358"/>
                </a:cxn>
                <a:cxn ang="0">
                  <a:pos x="28" y="330"/>
                </a:cxn>
                <a:cxn ang="0">
                  <a:pos x="19" y="292"/>
                </a:cxn>
                <a:cxn ang="0">
                  <a:pos x="23" y="256"/>
                </a:cxn>
                <a:cxn ang="0">
                  <a:pos x="39" y="229"/>
                </a:cxn>
                <a:cxn ang="0">
                  <a:pos x="48" y="198"/>
                </a:cxn>
                <a:cxn ang="0">
                  <a:pos x="44" y="184"/>
                </a:cxn>
                <a:cxn ang="0">
                  <a:pos x="24" y="165"/>
                </a:cxn>
                <a:cxn ang="0">
                  <a:pos x="4" y="146"/>
                </a:cxn>
                <a:cxn ang="0">
                  <a:pos x="0" y="132"/>
                </a:cxn>
                <a:cxn ang="0">
                  <a:pos x="14" y="94"/>
                </a:cxn>
                <a:cxn ang="0">
                  <a:pos x="8" y="73"/>
                </a:cxn>
                <a:cxn ang="0">
                  <a:pos x="34" y="43"/>
                </a:cxn>
                <a:cxn ang="0">
                  <a:pos x="120" y="0"/>
                </a:cxn>
                <a:cxn ang="0">
                  <a:pos x="148" y="53"/>
                </a:cxn>
                <a:cxn ang="0">
                  <a:pos x="168" y="78"/>
                </a:cxn>
                <a:cxn ang="0">
                  <a:pos x="188" y="65"/>
                </a:cxn>
                <a:cxn ang="0">
                  <a:pos x="208" y="71"/>
                </a:cxn>
                <a:cxn ang="0">
                  <a:pos x="224" y="88"/>
                </a:cxn>
                <a:cxn ang="0">
                  <a:pos x="242" y="96"/>
                </a:cxn>
                <a:cxn ang="0">
                  <a:pos x="262" y="88"/>
                </a:cxn>
                <a:cxn ang="0">
                  <a:pos x="271" y="73"/>
                </a:cxn>
                <a:cxn ang="0">
                  <a:pos x="307" y="61"/>
                </a:cxn>
                <a:cxn ang="0">
                  <a:pos x="362" y="43"/>
                </a:cxn>
                <a:cxn ang="0">
                  <a:pos x="408" y="57"/>
                </a:cxn>
                <a:cxn ang="0">
                  <a:pos x="426" y="69"/>
                </a:cxn>
                <a:cxn ang="0">
                  <a:pos x="450" y="105"/>
                </a:cxn>
                <a:cxn ang="0">
                  <a:pos x="467" y="132"/>
                </a:cxn>
                <a:cxn ang="0">
                  <a:pos x="495" y="149"/>
                </a:cxn>
                <a:cxn ang="0">
                  <a:pos x="524" y="168"/>
                </a:cxn>
                <a:cxn ang="0">
                  <a:pos x="542" y="193"/>
                </a:cxn>
                <a:cxn ang="0">
                  <a:pos x="548" y="234"/>
                </a:cxn>
                <a:cxn ang="0">
                  <a:pos x="540" y="260"/>
                </a:cxn>
                <a:cxn ang="0">
                  <a:pos x="528" y="286"/>
                </a:cxn>
                <a:cxn ang="0">
                  <a:pos x="518" y="306"/>
                </a:cxn>
              </a:cxnLst>
              <a:rect l="0" t="0" r="r" b="b"/>
              <a:pathLst>
                <a:path w="548" h="392">
                  <a:moveTo>
                    <a:pt x="518" y="306"/>
                  </a:moveTo>
                  <a:lnTo>
                    <a:pt x="510" y="314"/>
                  </a:lnTo>
                  <a:lnTo>
                    <a:pt x="495" y="324"/>
                  </a:lnTo>
                  <a:lnTo>
                    <a:pt x="487" y="329"/>
                  </a:lnTo>
                  <a:lnTo>
                    <a:pt x="479" y="333"/>
                  </a:lnTo>
                  <a:lnTo>
                    <a:pt x="471" y="336"/>
                  </a:lnTo>
                  <a:lnTo>
                    <a:pt x="464" y="337"/>
                  </a:lnTo>
                  <a:lnTo>
                    <a:pt x="446" y="328"/>
                  </a:lnTo>
                  <a:lnTo>
                    <a:pt x="428" y="318"/>
                  </a:lnTo>
                  <a:lnTo>
                    <a:pt x="424" y="320"/>
                  </a:lnTo>
                  <a:lnTo>
                    <a:pt x="420" y="321"/>
                  </a:lnTo>
                  <a:lnTo>
                    <a:pt x="418" y="322"/>
                  </a:lnTo>
                  <a:lnTo>
                    <a:pt x="415" y="325"/>
                  </a:lnTo>
                  <a:lnTo>
                    <a:pt x="410" y="332"/>
                  </a:lnTo>
                  <a:lnTo>
                    <a:pt x="406" y="340"/>
                  </a:lnTo>
                  <a:lnTo>
                    <a:pt x="402" y="348"/>
                  </a:lnTo>
                  <a:lnTo>
                    <a:pt x="396" y="354"/>
                  </a:lnTo>
                  <a:lnTo>
                    <a:pt x="394" y="357"/>
                  </a:lnTo>
                  <a:lnTo>
                    <a:pt x="390" y="360"/>
                  </a:lnTo>
                  <a:lnTo>
                    <a:pt x="384" y="361"/>
                  </a:lnTo>
                  <a:lnTo>
                    <a:pt x="379" y="361"/>
                  </a:lnTo>
                  <a:lnTo>
                    <a:pt x="374" y="361"/>
                  </a:lnTo>
                  <a:lnTo>
                    <a:pt x="367" y="358"/>
                  </a:lnTo>
                  <a:lnTo>
                    <a:pt x="362" y="357"/>
                  </a:lnTo>
                  <a:lnTo>
                    <a:pt x="358" y="353"/>
                  </a:lnTo>
                  <a:lnTo>
                    <a:pt x="348" y="346"/>
                  </a:lnTo>
                  <a:lnTo>
                    <a:pt x="340" y="337"/>
                  </a:lnTo>
                  <a:lnTo>
                    <a:pt x="331" y="328"/>
                  </a:lnTo>
                  <a:lnTo>
                    <a:pt x="322" y="321"/>
                  </a:lnTo>
                  <a:lnTo>
                    <a:pt x="315" y="317"/>
                  </a:lnTo>
                  <a:lnTo>
                    <a:pt x="310" y="314"/>
                  </a:lnTo>
                  <a:lnTo>
                    <a:pt x="303" y="313"/>
                  </a:lnTo>
                  <a:lnTo>
                    <a:pt x="295" y="313"/>
                  </a:lnTo>
                  <a:lnTo>
                    <a:pt x="283" y="314"/>
                  </a:lnTo>
                  <a:lnTo>
                    <a:pt x="274" y="316"/>
                  </a:lnTo>
                  <a:lnTo>
                    <a:pt x="264" y="320"/>
                  </a:lnTo>
                  <a:lnTo>
                    <a:pt x="256" y="325"/>
                  </a:lnTo>
                  <a:lnTo>
                    <a:pt x="242" y="337"/>
                  </a:lnTo>
                  <a:lnTo>
                    <a:pt x="228" y="352"/>
                  </a:lnTo>
                  <a:lnTo>
                    <a:pt x="215" y="366"/>
                  </a:lnTo>
                  <a:lnTo>
                    <a:pt x="199" y="378"/>
                  </a:lnTo>
                  <a:lnTo>
                    <a:pt x="191" y="384"/>
                  </a:lnTo>
                  <a:lnTo>
                    <a:pt x="180" y="388"/>
                  </a:lnTo>
                  <a:lnTo>
                    <a:pt x="170" y="390"/>
                  </a:lnTo>
                  <a:lnTo>
                    <a:pt x="156" y="392"/>
                  </a:lnTo>
                  <a:lnTo>
                    <a:pt x="142" y="390"/>
                  </a:lnTo>
                  <a:lnTo>
                    <a:pt x="127" y="390"/>
                  </a:lnTo>
                  <a:lnTo>
                    <a:pt x="112" y="388"/>
                  </a:lnTo>
                  <a:lnTo>
                    <a:pt x="99" y="385"/>
                  </a:lnTo>
                  <a:lnTo>
                    <a:pt x="87" y="381"/>
                  </a:lnTo>
                  <a:lnTo>
                    <a:pt x="76" y="377"/>
                  </a:lnTo>
                  <a:lnTo>
                    <a:pt x="66" y="372"/>
                  </a:lnTo>
                  <a:lnTo>
                    <a:pt x="56" y="365"/>
                  </a:lnTo>
                  <a:lnTo>
                    <a:pt x="47" y="358"/>
                  </a:lnTo>
                  <a:lnTo>
                    <a:pt x="40" y="350"/>
                  </a:lnTo>
                  <a:lnTo>
                    <a:pt x="34" y="341"/>
                  </a:lnTo>
                  <a:lnTo>
                    <a:pt x="28" y="330"/>
                  </a:lnTo>
                  <a:lnTo>
                    <a:pt x="24" y="318"/>
                  </a:lnTo>
                  <a:lnTo>
                    <a:pt x="20" y="306"/>
                  </a:lnTo>
                  <a:lnTo>
                    <a:pt x="19" y="292"/>
                  </a:lnTo>
                  <a:lnTo>
                    <a:pt x="18" y="277"/>
                  </a:lnTo>
                  <a:lnTo>
                    <a:pt x="19" y="266"/>
                  </a:lnTo>
                  <a:lnTo>
                    <a:pt x="23" y="256"/>
                  </a:lnTo>
                  <a:lnTo>
                    <a:pt x="28" y="246"/>
                  </a:lnTo>
                  <a:lnTo>
                    <a:pt x="34" y="237"/>
                  </a:lnTo>
                  <a:lnTo>
                    <a:pt x="39" y="229"/>
                  </a:lnTo>
                  <a:lnTo>
                    <a:pt x="43" y="220"/>
                  </a:lnTo>
                  <a:lnTo>
                    <a:pt x="47" y="209"/>
                  </a:lnTo>
                  <a:lnTo>
                    <a:pt x="48" y="198"/>
                  </a:lnTo>
                  <a:lnTo>
                    <a:pt x="48" y="193"/>
                  </a:lnTo>
                  <a:lnTo>
                    <a:pt x="46" y="188"/>
                  </a:lnTo>
                  <a:lnTo>
                    <a:pt x="44" y="184"/>
                  </a:lnTo>
                  <a:lnTo>
                    <a:pt x="40" y="180"/>
                  </a:lnTo>
                  <a:lnTo>
                    <a:pt x="34" y="172"/>
                  </a:lnTo>
                  <a:lnTo>
                    <a:pt x="24" y="165"/>
                  </a:lnTo>
                  <a:lnTo>
                    <a:pt x="15" y="158"/>
                  </a:lnTo>
                  <a:lnTo>
                    <a:pt x="8" y="150"/>
                  </a:lnTo>
                  <a:lnTo>
                    <a:pt x="4" y="146"/>
                  </a:lnTo>
                  <a:lnTo>
                    <a:pt x="2" y="142"/>
                  </a:lnTo>
                  <a:lnTo>
                    <a:pt x="0" y="137"/>
                  </a:lnTo>
                  <a:lnTo>
                    <a:pt x="0" y="132"/>
                  </a:lnTo>
                  <a:lnTo>
                    <a:pt x="4" y="118"/>
                  </a:lnTo>
                  <a:lnTo>
                    <a:pt x="11" y="102"/>
                  </a:lnTo>
                  <a:lnTo>
                    <a:pt x="14" y="94"/>
                  </a:lnTo>
                  <a:lnTo>
                    <a:pt x="12" y="84"/>
                  </a:lnTo>
                  <a:lnTo>
                    <a:pt x="11" y="78"/>
                  </a:lnTo>
                  <a:lnTo>
                    <a:pt x="8" y="73"/>
                  </a:lnTo>
                  <a:lnTo>
                    <a:pt x="6" y="67"/>
                  </a:lnTo>
                  <a:lnTo>
                    <a:pt x="0" y="60"/>
                  </a:lnTo>
                  <a:lnTo>
                    <a:pt x="34" y="43"/>
                  </a:lnTo>
                  <a:lnTo>
                    <a:pt x="64" y="25"/>
                  </a:lnTo>
                  <a:lnTo>
                    <a:pt x="94" y="11"/>
                  </a:lnTo>
                  <a:lnTo>
                    <a:pt x="120" y="0"/>
                  </a:lnTo>
                  <a:lnTo>
                    <a:pt x="132" y="23"/>
                  </a:lnTo>
                  <a:lnTo>
                    <a:pt x="143" y="44"/>
                  </a:lnTo>
                  <a:lnTo>
                    <a:pt x="148" y="53"/>
                  </a:lnTo>
                  <a:lnTo>
                    <a:pt x="154" y="63"/>
                  </a:lnTo>
                  <a:lnTo>
                    <a:pt x="160" y="71"/>
                  </a:lnTo>
                  <a:lnTo>
                    <a:pt x="168" y="78"/>
                  </a:lnTo>
                  <a:lnTo>
                    <a:pt x="176" y="73"/>
                  </a:lnTo>
                  <a:lnTo>
                    <a:pt x="183" y="69"/>
                  </a:lnTo>
                  <a:lnTo>
                    <a:pt x="188" y="65"/>
                  </a:lnTo>
                  <a:lnTo>
                    <a:pt x="192" y="60"/>
                  </a:lnTo>
                  <a:lnTo>
                    <a:pt x="202" y="65"/>
                  </a:lnTo>
                  <a:lnTo>
                    <a:pt x="208" y="71"/>
                  </a:lnTo>
                  <a:lnTo>
                    <a:pt x="214" y="77"/>
                  </a:lnTo>
                  <a:lnTo>
                    <a:pt x="219" y="82"/>
                  </a:lnTo>
                  <a:lnTo>
                    <a:pt x="224" y="88"/>
                  </a:lnTo>
                  <a:lnTo>
                    <a:pt x="230" y="92"/>
                  </a:lnTo>
                  <a:lnTo>
                    <a:pt x="235" y="94"/>
                  </a:lnTo>
                  <a:lnTo>
                    <a:pt x="242" y="96"/>
                  </a:lnTo>
                  <a:lnTo>
                    <a:pt x="251" y="94"/>
                  </a:lnTo>
                  <a:lnTo>
                    <a:pt x="258" y="92"/>
                  </a:lnTo>
                  <a:lnTo>
                    <a:pt x="262" y="88"/>
                  </a:lnTo>
                  <a:lnTo>
                    <a:pt x="264" y="84"/>
                  </a:lnTo>
                  <a:lnTo>
                    <a:pt x="267" y="78"/>
                  </a:lnTo>
                  <a:lnTo>
                    <a:pt x="271" y="73"/>
                  </a:lnTo>
                  <a:lnTo>
                    <a:pt x="276" y="69"/>
                  </a:lnTo>
                  <a:lnTo>
                    <a:pt x="283" y="67"/>
                  </a:lnTo>
                  <a:lnTo>
                    <a:pt x="307" y="61"/>
                  </a:lnTo>
                  <a:lnTo>
                    <a:pt x="327" y="56"/>
                  </a:lnTo>
                  <a:lnTo>
                    <a:pt x="344" y="51"/>
                  </a:lnTo>
                  <a:lnTo>
                    <a:pt x="362" y="43"/>
                  </a:lnTo>
                  <a:lnTo>
                    <a:pt x="384" y="47"/>
                  </a:lnTo>
                  <a:lnTo>
                    <a:pt x="402" y="53"/>
                  </a:lnTo>
                  <a:lnTo>
                    <a:pt x="408" y="57"/>
                  </a:lnTo>
                  <a:lnTo>
                    <a:pt x="415" y="61"/>
                  </a:lnTo>
                  <a:lnTo>
                    <a:pt x="420" y="65"/>
                  </a:lnTo>
                  <a:lnTo>
                    <a:pt x="426" y="69"/>
                  </a:lnTo>
                  <a:lnTo>
                    <a:pt x="435" y="80"/>
                  </a:lnTo>
                  <a:lnTo>
                    <a:pt x="442" y="92"/>
                  </a:lnTo>
                  <a:lnTo>
                    <a:pt x="450" y="105"/>
                  </a:lnTo>
                  <a:lnTo>
                    <a:pt x="458" y="120"/>
                  </a:lnTo>
                  <a:lnTo>
                    <a:pt x="462" y="126"/>
                  </a:lnTo>
                  <a:lnTo>
                    <a:pt x="467" y="132"/>
                  </a:lnTo>
                  <a:lnTo>
                    <a:pt x="474" y="136"/>
                  </a:lnTo>
                  <a:lnTo>
                    <a:pt x="480" y="141"/>
                  </a:lnTo>
                  <a:lnTo>
                    <a:pt x="495" y="149"/>
                  </a:lnTo>
                  <a:lnTo>
                    <a:pt x="510" y="157"/>
                  </a:lnTo>
                  <a:lnTo>
                    <a:pt x="518" y="162"/>
                  </a:lnTo>
                  <a:lnTo>
                    <a:pt x="524" y="168"/>
                  </a:lnTo>
                  <a:lnTo>
                    <a:pt x="531" y="176"/>
                  </a:lnTo>
                  <a:lnTo>
                    <a:pt x="536" y="184"/>
                  </a:lnTo>
                  <a:lnTo>
                    <a:pt x="542" y="193"/>
                  </a:lnTo>
                  <a:lnTo>
                    <a:pt x="546" y="205"/>
                  </a:lnTo>
                  <a:lnTo>
                    <a:pt x="547" y="218"/>
                  </a:lnTo>
                  <a:lnTo>
                    <a:pt x="548" y="234"/>
                  </a:lnTo>
                  <a:lnTo>
                    <a:pt x="547" y="244"/>
                  </a:lnTo>
                  <a:lnTo>
                    <a:pt x="544" y="252"/>
                  </a:lnTo>
                  <a:lnTo>
                    <a:pt x="540" y="260"/>
                  </a:lnTo>
                  <a:lnTo>
                    <a:pt x="536" y="269"/>
                  </a:lnTo>
                  <a:lnTo>
                    <a:pt x="532" y="277"/>
                  </a:lnTo>
                  <a:lnTo>
                    <a:pt x="528" y="286"/>
                  </a:lnTo>
                  <a:lnTo>
                    <a:pt x="526" y="296"/>
                  </a:lnTo>
                  <a:lnTo>
                    <a:pt x="524" y="306"/>
                  </a:lnTo>
                  <a:lnTo>
                    <a:pt x="518" y="30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3" name="Freeform 61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1682750" y="3492500"/>
              <a:ext cx="204788" cy="206375"/>
            </a:xfrm>
            <a:custGeom>
              <a:avLst/>
              <a:gdLst/>
              <a:ahLst/>
              <a:cxnLst>
                <a:cxn ang="0">
                  <a:pos x="455" y="107"/>
                </a:cxn>
                <a:cxn ang="0">
                  <a:pos x="434" y="131"/>
                </a:cxn>
                <a:cxn ang="0">
                  <a:pos x="427" y="163"/>
                </a:cxn>
                <a:cxn ang="0">
                  <a:pos x="427" y="299"/>
                </a:cxn>
                <a:cxn ang="0">
                  <a:pos x="425" y="375"/>
                </a:cxn>
                <a:cxn ang="0">
                  <a:pos x="411" y="399"/>
                </a:cxn>
                <a:cxn ang="0">
                  <a:pos x="391" y="417"/>
                </a:cxn>
                <a:cxn ang="0">
                  <a:pos x="357" y="441"/>
                </a:cxn>
                <a:cxn ang="0">
                  <a:pos x="343" y="457"/>
                </a:cxn>
                <a:cxn ang="0">
                  <a:pos x="319" y="461"/>
                </a:cxn>
                <a:cxn ang="0">
                  <a:pos x="282" y="475"/>
                </a:cxn>
                <a:cxn ang="0">
                  <a:pos x="170" y="532"/>
                </a:cxn>
                <a:cxn ang="0">
                  <a:pos x="162" y="516"/>
                </a:cxn>
                <a:cxn ang="0">
                  <a:pos x="146" y="512"/>
                </a:cxn>
                <a:cxn ang="0">
                  <a:pos x="116" y="508"/>
                </a:cxn>
                <a:cxn ang="0">
                  <a:pos x="102" y="493"/>
                </a:cxn>
                <a:cxn ang="0">
                  <a:pos x="70" y="408"/>
                </a:cxn>
                <a:cxn ang="0">
                  <a:pos x="30" y="336"/>
                </a:cxn>
                <a:cxn ang="0">
                  <a:pos x="9" y="283"/>
                </a:cxn>
                <a:cxn ang="0">
                  <a:pos x="32" y="278"/>
                </a:cxn>
                <a:cxn ang="0">
                  <a:pos x="45" y="267"/>
                </a:cxn>
                <a:cxn ang="0">
                  <a:pos x="53" y="238"/>
                </a:cxn>
                <a:cxn ang="0">
                  <a:pos x="54" y="175"/>
                </a:cxn>
                <a:cxn ang="0">
                  <a:pos x="54" y="120"/>
                </a:cxn>
                <a:cxn ang="0">
                  <a:pos x="61" y="95"/>
                </a:cxn>
                <a:cxn ang="0">
                  <a:pos x="98" y="54"/>
                </a:cxn>
                <a:cxn ang="0">
                  <a:pos x="157" y="10"/>
                </a:cxn>
                <a:cxn ang="0">
                  <a:pos x="185" y="16"/>
                </a:cxn>
                <a:cxn ang="0">
                  <a:pos x="198" y="23"/>
                </a:cxn>
                <a:cxn ang="0">
                  <a:pos x="215" y="22"/>
                </a:cxn>
                <a:cxn ang="0">
                  <a:pos x="230" y="11"/>
                </a:cxn>
                <a:cxn ang="0">
                  <a:pos x="246" y="6"/>
                </a:cxn>
                <a:cxn ang="0">
                  <a:pos x="261" y="12"/>
                </a:cxn>
                <a:cxn ang="0">
                  <a:pos x="281" y="42"/>
                </a:cxn>
                <a:cxn ang="0">
                  <a:pos x="305" y="71"/>
                </a:cxn>
                <a:cxn ang="0">
                  <a:pos x="325" y="78"/>
                </a:cxn>
                <a:cxn ang="0">
                  <a:pos x="345" y="75"/>
                </a:cxn>
                <a:cxn ang="0">
                  <a:pos x="361" y="60"/>
                </a:cxn>
                <a:cxn ang="0">
                  <a:pos x="374" y="46"/>
                </a:cxn>
                <a:cxn ang="0">
                  <a:pos x="391" y="42"/>
                </a:cxn>
                <a:cxn ang="0">
                  <a:pos x="411" y="46"/>
                </a:cxn>
                <a:cxn ang="0">
                  <a:pos x="435" y="62"/>
                </a:cxn>
                <a:cxn ang="0">
                  <a:pos x="459" y="88"/>
                </a:cxn>
              </a:cxnLst>
              <a:rect l="0" t="0" r="r" b="b"/>
              <a:pathLst>
                <a:path w="475" h="553">
                  <a:moveTo>
                    <a:pt x="475" y="96"/>
                  </a:moveTo>
                  <a:lnTo>
                    <a:pt x="465" y="102"/>
                  </a:lnTo>
                  <a:lnTo>
                    <a:pt x="455" y="107"/>
                  </a:lnTo>
                  <a:lnTo>
                    <a:pt x="447" y="115"/>
                  </a:lnTo>
                  <a:lnTo>
                    <a:pt x="439" y="123"/>
                  </a:lnTo>
                  <a:lnTo>
                    <a:pt x="434" y="131"/>
                  </a:lnTo>
                  <a:lnTo>
                    <a:pt x="430" y="142"/>
                  </a:lnTo>
                  <a:lnTo>
                    <a:pt x="427" y="151"/>
                  </a:lnTo>
                  <a:lnTo>
                    <a:pt x="427" y="163"/>
                  </a:lnTo>
                  <a:lnTo>
                    <a:pt x="427" y="211"/>
                  </a:lnTo>
                  <a:lnTo>
                    <a:pt x="427" y="254"/>
                  </a:lnTo>
                  <a:lnTo>
                    <a:pt x="427" y="299"/>
                  </a:lnTo>
                  <a:lnTo>
                    <a:pt x="427" y="355"/>
                  </a:lnTo>
                  <a:lnTo>
                    <a:pt x="426" y="366"/>
                  </a:lnTo>
                  <a:lnTo>
                    <a:pt x="425" y="375"/>
                  </a:lnTo>
                  <a:lnTo>
                    <a:pt x="421" y="384"/>
                  </a:lnTo>
                  <a:lnTo>
                    <a:pt x="417" y="392"/>
                  </a:lnTo>
                  <a:lnTo>
                    <a:pt x="411" y="399"/>
                  </a:lnTo>
                  <a:lnTo>
                    <a:pt x="405" y="405"/>
                  </a:lnTo>
                  <a:lnTo>
                    <a:pt x="399" y="412"/>
                  </a:lnTo>
                  <a:lnTo>
                    <a:pt x="391" y="417"/>
                  </a:lnTo>
                  <a:lnTo>
                    <a:pt x="378" y="428"/>
                  </a:lnTo>
                  <a:lnTo>
                    <a:pt x="363" y="437"/>
                  </a:lnTo>
                  <a:lnTo>
                    <a:pt x="357" y="441"/>
                  </a:lnTo>
                  <a:lnTo>
                    <a:pt x="351" y="447"/>
                  </a:lnTo>
                  <a:lnTo>
                    <a:pt x="347" y="452"/>
                  </a:lnTo>
                  <a:lnTo>
                    <a:pt x="343" y="457"/>
                  </a:lnTo>
                  <a:lnTo>
                    <a:pt x="334" y="457"/>
                  </a:lnTo>
                  <a:lnTo>
                    <a:pt x="326" y="459"/>
                  </a:lnTo>
                  <a:lnTo>
                    <a:pt x="319" y="461"/>
                  </a:lnTo>
                  <a:lnTo>
                    <a:pt x="313" y="464"/>
                  </a:lnTo>
                  <a:lnTo>
                    <a:pt x="299" y="469"/>
                  </a:lnTo>
                  <a:lnTo>
                    <a:pt x="282" y="475"/>
                  </a:lnTo>
                  <a:lnTo>
                    <a:pt x="169" y="553"/>
                  </a:lnTo>
                  <a:lnTo>
                    <a:pt x="170" y="541"/>
                  </a:lnTo>
                  <a:lnTo>
                    <a:pt x="170" y="532"/>
                  </a:lnTo>
                  <a:lnTo>
                    <a:pt x="169" y="525"/>
                  </a:lnTo>
                  <a:lnTo>
                    <a:pt x="166" y="520"/>
                  </a:lnTo>
                  <a:lnTo>
                    <a:pt x="162" y="516"/>
                  </a:lnTo>
                  <a:lnTo>
                    <a:pt x="157" y="513"/>
                  </a:lnTo>
                  <a:lnTo>
                    <a:pt x="153" y="513"/>
                  </a:lnTo>
                  <a:lnTo>
                    <a:pt x="146" y="512"/>
                  </a:lnTo>
                  <a:lnTo>
                    <a:pt x="134" y="512"/>
                  </a:lnTo>
                  <a:lnTo>
                    <a:pt x="122" y="511"/>
                  </a:lnTo>
                  <a:lnTo>
                    <a:pt x="116" y="508"/>
                  </a:lnTo>
                  <a:lnTo>
                    <a:pt x="110" y="505"/>
                  </a:lnTo>
                  <a:lnTo>
                    <a:pt x="106" y="500"/>
                  </a:lnTo>
                  <a:lnTo>
                    <a:pt x="102" y="493"/>
                  </a:lnTo>
                  <a:lnTo>
                    <a:pt x="93" y="461"/>
                  </a:lnTo>
                  <a:lnTo>
                    <a:pt x="82" y="433"/>
                  </a:lnTo>
                  <a:lnTo>
                    <a:pt x="70" y="408"/>
                  </a:lnTo>
                  <a:lnTo>
                    <a:pt x="58" y="384"/>
                  </a:lnTo>
                  <a:lnTo>
                    <a:pt x="45" y="360"/>
                  </a:lnTo>
                  <a:lnTo>
                    <a:pt x="30" y="336"/>
                  </a:lnTo>
                  <a:lnTo>
                    <a:pt x="16" y="311"/>
                  </a:lnTo>
                  <a:lnTo>
                    <a:pt x="0" y="283"/>
                  </a:lnTo>
                  <a:lnTo>
                    <a:pt x="9" y="283"/>
                  </a:lnTo>
                  <a:lnTo>
                    <a:pt x="18" y="282"/>
                  </a:lnTo>
                  <a:lnTo>
                    <a:pt x="25" y="280"/>
                  </a:lnTo>
                  <a:lnTo>
                    <a:pt x="32" y="278"/>
                  </a:lnTo>
                  <a:lnTo>
                    <a:pt x="37" y="275"/>
                  </a:lnTo>
                  <a:lnTo>
                    <a:pt x="41" y="271"/>
                  </a:lnTo>
                  <a:lnTo>
                    <a:pt x="45" y="267"/>
                  </a:lnTo>
                  <a:lnTo>
                    <a:pt x="48" y="262"/>
                  </a:lnTo>
                  <a:lnTo>
                    <a:pt x="52" y="251"/>
                  </a:lnTo>
                  <a:lnTo>
                    <a:pt x="53" y="238"/>
                  </a:lnTo>
                  <a:lnTo>
                    <a:pt x="54" y="222"/>
                  </a:lnTo>
                  <a:lnTo>
                    <a:pt x="54" y="204"/>
                  </a:lnTo>
                  <a:lnTo>
                    <a:pt x="54" y="175"/>
                  </a:lnTo>
                  <a:lnTo>
                    <a:pt x="54" y="154"/>
                  </a:lnTo>
                  <a:lnTo>
                    <a:pt x="54" y="136"/>
                  </a:lnTo>
                  <a:lnTo>
                    <a:pt x="54" y="120"/>
                  </a:lnTo>
                  <a:lnTo>
                    <a:pt x="54" y="112"/>
                  </a:lnTo>
                  <a:lnTo>
                    <a:pt x="57" y="104"/>
                  </a:lnTo>
                  <a:lnTo>
                    <a:pt x="61" y="95"/>
                  </a:lnTo>
                  <a:lnTo>
                    <a:pt x="66" y="87"/>
                  </a:lnTo>
                  <a:lnTo>
                    <a:pt x="81" y="70"/>
                  </a:lnTo>
                  <a:lnTo>
                    <a:pt x="98" y="54"/>
                  </a:lnTo>
                  <a:lnTo>
                    <a:pt x="118" y="38"/>
                  </a:lnTo>
                  <a:lnTo>
                    <a:pt x="138" y="23"/>
                  </a:lnTo>
                  <a:lnTo>
                    <a:pt x="157" y="10"/>
                  </a:lnTo>
                  <a:lnTo>
                    <a:pt x="174" y="0"/>
                  </a:lnTo>
                  <a:lnTo>
                    <a:pt x="180" y="8"/>
                  </a:lnTo>
                  <a:lnTo>
                    <a:pt x="185" y="16"/>
                  </a:lnTo>
                  <a:lnTo>
                    <a:pt x="189" y="19"/>
                  </a:lnTo>
                  <a:lnTo>
                    <a:pt x="193" y="22"/>
                  </a:lnTo>
                  <a:lnTo>
                    <a:pt x="198" y="23"/>
                  </a:lnTo>
                  <a:lnTo>
                    <a:pt x="205" y="24"/>
                  </a:lnTo>
                  <a:lnTo>
                    <a:pt x="210" y="23"/>
                  </a:lnTo>
                  <a:lnTo>
                    <a:pt x="215" y="22"/>
                  </a:lnTo>
                  <a:lnTo>
                    <a:pt x="221" y="18"/>
                  </a:lnTo>
                  <a:lnTo>
                    <a:pt x="226" y="15"/>
                  </a:lnTo>
                  <a:lnTo>
                    <a:pt x="230" y="11"/>
                  </a:lnTo>
                  <a:lnTo>
                    <a:pt x="235" y="8"/>
                  </a:lnTo>
                  <a:lnTo>
                    <a:pt x="241" y="7"/>
                  </a:lnTo>
                  <a:lnTo>
                    <a:pt x="246" y="6"/>
                  </a:lnTo>
                  <a:lnTo>
                    <a:pt x="251" y="7"/>
                  </a:lnTo>
                  <a:lnTo>
                    <a:pt x="257" y="8"/>
                  </a:lnTo>
                  <a:lnTo>
                    <a:pt x="261" y="12"/>
                  </a:lnTo>
                  <a:lnTo>
                    <a:pt x="266" y="18"/>
                  </a:lnTo>
                  <a:lnTo>
                    <a:pt x="273" y="28"/>
                  </a:lnTo>
                  <a:lnTo>
                    <a:pt x="281" y="42"/>
                  </a:lnTo>
                  <a:lnTo>
                    <a:pt x="290" y="55"/>
                  </a:lnTo>
                  <a:lnTo>
                    <a:pt x="299" y="67"/>
                  </a:lnTo>
                  <a:lnTo>
                    <a:pt x="305" y="71"/>
                  </a:lnTo>
                  <a:lnTo>
                    <a:pt x="310" y="75"/>
                  </a:lnTo>
                  <a:lnTo>
                    <a:pt x="317" y="78"/>
                  </a:lnTo>
                  <a:lnTo>
                    <a:pt x="325" y="78"/>
                  </a:lnTo>
                  <a:lnTo>
                    <a:pt x="333" y="78"/>
                  </a:lnTo>
                  <a:lnTo>
                    <a:pt x="339" y="76"/>
                  </a:lnTo>
                  <a:lnTo>
                    <a:pt x="345" y="75"/>
                  </a:lnTo>
                  <a:lnTo>
                    <a:pt x="350" y="72"/>
                  </a:lnTo>
                  <a:lnTo>
                    <a:pt x="355" y="67"/>
                  </a:lnTo>
                  <a:lnTo>
                    <a:pt x="361" y="60"/>
                  </a:lnTo>
                  <a:lnTo>
                    <a:pt x="365" y="54"/>
                  </a:lnTo>
                  <a:lnTo>
                    <a:pt x="370" y="47"/>
                  </a:lnTo>
                  <a:lnTo>
                    <a:pt x="374" y="46"/>
                  </a:lnTo>
                  <a:lnTo>
                    <a:pt x="378" y="43"/>
                  </a:lnTo>
                  <a:lnTo>
                    <a:pt x="383" y="42"/>
                  </a:lnTo>
                  <a:lnTo>
                    <a:pt x="391" y="42"/>
                  </a:lnTo>
                  <a:lnTo>
                    <a:pt x="398" y="42"/>
                  </a:lnTo>
                  <a:lnTo>
                    <a:pt x="405" y="43"/>
                  </a:lnTo>
                  <a:lnTo>
                    <a:pt x="411" y="46"/>
                  </a:lnTo>
                  <a:lnTo>
                    <a:pt x="417" y="48"/>
                  </a:lnTo>
                  <a:lnTo>
                    <a:pt x="426" y="54"/>
                  </a:lnTo>
                  <a:lnTo>
                    <a:pt x="435" y="62"/>
                  </a:lnTo>
                  <a:lnTo>
                    <a:pt x="442" y="71"/>
                  </a:lnTo>
                  <a:lnTo>
                    <a:pt x="450" y="80"/>
                  </a:lnTo>
                  <a:lnTo>
                    <a:pt x="459" y="88"/>
                  </a:lnTo>
                  <a:lnTo>
                    <a:pt x="469" y="96"/>
                  </a:lnTo>
                  <a:lnTo>
                    <a:pt x="475" y="9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4" name="Freeform 62" descr="Широкий диагональный 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1471613" y="3516313"/>
              <a:ext cx="284162" cy="260350"/>
            </a:xfrm>
            <a:custGeom>
              <a:avLst/>
              <a:gdLst/>
              <a:ahLst/>
              <a:cxnLst>
                <a:cxn ang="0">
                  <a:pos x="663" y="505"/>
                </a:cxn>
                <a:cxn ang="0">
                  <a:pos x="663" y="459"/>
                </a:cxn>
                <a:cxn ang="0">
                  <a:pos x="647" y="447"/>
                </a:cxn>
                <a:cxn ang="0">
                  <a:pos x="610" y="442"/>
                </a:cxn>
                <a:cxn ang="0">
                  <a:pos x="587" y="395"/>
                </a:cxn>
                <a:cxn ang="0">
                  <a:pos x="539" y="294"/>
                </a:cxn>
                <a:cxn ang="0">
                  <a:pos x="486" y="217"/>
                </a:cxn>
                <a:cxn ang="0">
                  <a:pos x="442" y="201"/>
                </a:cxn>
                <a:cxn ang="0">
                  <a:pos x="391" y="160"/>
                </a:cxn>
                <a:cxn ang="0">
                  <a:pos x="376" y="126"/>
                </a:cxn>
                <a:cxn ang="0">
                  <a:pos x="379" y="92"/>
                </a:cxn>
                <a:cxn ang="0">
                  <a:pos x="372" y="77"/>
                </a:cxn>
                <a:cxn ang="0">
                  <a:pos x="344" y="61"/>
                </a:cxn>
                <a:cxn ang="0">
                  <a:pos x="311" y="25"/>
                </a:cxn>
                <a:cxn ang="0">
                  <a:pos x="288" y="8"/>
                </a:cxn>
                <a:cxn ang="0">
                  <a:pos x="252" y="5"/>
                </a:cxn>
                <a:cxn ang="0">
                  <a:pos x="220" y="4"/>
                </a:cxn>
                <a:cxn ang="0">
                  <a:pos x="202" y="26"/>
                </a:cxn>
                <a:cxn ang="0">
                  <a:pos x="155" y="97"/>
                </a:cxn>
                <a:cxn ang="0">
                  <a:pos x="135" y="148"/>
                </a:cxn>
                <a:cxn ang="0">
                  <a:pos x="119" y="178"/>
                </a:cxn>
                <a:cxn ang="0">
                  <a:pos x="120" y="198"/>
                </a:cxn>
                <a:cxn ang="0">
                  <a:pos x="152" y="237"/>
                </a:cxn>
                <a:cxn ang="0">
                  <a:pos x="126" y="262"/>
                </a:cxn>
                <a:cxn ang="0">
                  <a:pos x="120" y="293"/>
                </a:cxn>
                <a:cxn ang="0">
                  <a:pos x="123" y="337"/>
                </a:cxn>
                <a:cxn ang="0">
                  <a:pos x="96" y="381"/>
                </a:cxn>
                <a:cxn ang="0">
                  <a:pos x="51" y="425"/>
                </a:cxn>
                <a:cxn ang="0">
                  <a:pos x="11" y="474"/>
                </a:cxn>
                <a:cxn ang="0">
                  <a:pos x="0" y="514"/>
                </a:cxn>
                <a:cxn ang="0">
                  <a:pos x="10" y="569"/>
                </a:cxn>
                <a:cxn ang="0">
                  <a:pos x="36" y="646"/>
                </a:cxn>
                <a:cxn ang="0">
                  <a:pos x="47" y="641"/>
                </a:cxn>
                <a:cxn ang="0">
                  <a:pos x="71" y="639"/>
                </a:cxn>
                <a:cxn ang="0">
                  <a:pos x="111" y="657"/>
                </a:cxn>
                <a:cxn ang="0">
                  <a:pos x="160" y="693"/>
                </a:cxn>
                <a:cxn ang="0">
                  <a:pos x="206" y="698"/>
                </a:cxn>
                <a:cxn ang="0">
                  <a:pos x="247" y="686"/>
                </a:cxn>
                <a:cxn ang="0">
                  <a:pos x="287" y="682"/>
                </a:cxn>
                <a:cxn ang="0">
                  <a:pos x="308" y="682"/>
                </a:cxn>
                <a:cxn ang="0">
                  <a:pos x="335" y="631"/>
                </a:cxn>
                <a:cxn ang="0">
                  <a:pos x="390" y="554"/>
                </a:cxn>
                <a:cxn ang="0">
                  <a:pos x="443" y="518"/>
                </a:cxn>
                <a:cxn ang="0">
                  <a:pos x="535" y="518"/>
                </a:cxn>
                <a:cxn ang="0">
                  <a:pos x="567" y="541"/>
                </a:cxn>
                <a:cxn ang="0">
                  <a:pos x="619" y="590"/>
                </a:cxn>
                <a:cxn ang="0">
                  <a:pos x="647" y="595"/>
                </a:cxn>
                <a:cxn ang="0">
                  <a:pos x="662" y="546"/>
                </a:cxn>
              </a:cxnLst>
              <a:rect l="0" t="0" r="r" b="b"/>
              <a:pathLst>
                <a:path w="664" h="698">
                  <a:moveTo>
                    <a:pt x="663" y="535"/>
                  </a:moveTo>
                  <a:lnTo>
                    <a:pt x="663" y="531"/>
                  </a:lnTo>
                  <a:lnTo>
                    <a:pt x="663" y="521"/>
                  </a:lnTo>
                  <a:lnTo>
                    <a:pt x="663" y="505"/>
                  </a:lnTo>
                  <a:lnTo>
                    <a:pt x="663" y="487"/>
                  </a:lnTo>
                  <a:lnTo>
                    <a:pt x="664" y="475"/>
                  </a:lnTo>
                  <a:lnTo>
                    <a:pt x="664" y="466"/>
                  </a:lnTo>
                  <a:lnTo>
                    <a:pt x="663" y="459"/>
                  </a:lnTo>
                  <a:lnTo>
                    <a:pt x="660" y="454"/>
                  </a:lnTo>
                  <a:lnTo>
                    <a:pt x="656" y="450"/>
                  </a:lnTo>
                  <a:lnTo>
                    <a:pt x="651" y="447"/>
                  </a:lnTo>
                  <a:lnTo>
                    <a:pt x="647" y="447"/>
                  </a:lnTo>
                  <a:lnTo>
                    <a:pt x="640" y="446"/>
                  </a:lnTo>
                  <a:lnTo>
                    <a:pt x="628" y="446"/>
                  </a:lnTo>
                  <a:lnTo>
                    <a:pt x="616" y="445"/>
                  </a:lnTo>
                  <a:lnTo>
                    <a:pt x="610" y="442"/>
                  </a:lnTo>
                  <a:lnTo>
                    <a:pt x="604" y="439"/>
                  </a:lnTo>
                  <a:lnTo>
                    <a:pt x="600" y="434"/>
                  </a:lnTo>
                  <a:lnTo>
                    <a:pt x="596" y="427"/>
                  </a:lnTo>
                  <a:lnTo>
                    <a:pt x="587" y="395"/>
                  </a:lnTo>
                  <a:lnTo>
                    <a:pt x="576" y="367"/>
                  </a:lnTo>
                  <a:lnTo>
                    <a:pt x="564" y="342"/>
                  </a:lnTo>
                  <a:lnTo>
                    <a:pt x="552" y="318"/>
                  </a:lnTo>
                  <a:lnTo>
                    <a:pt x="539" y="294"/>
                  </a:lnTo>
                  <a:lnTo>
                    <a:pt x="524" y="270"/>
                  </a:lnTo>
                  <a:lnTo>
                    <a:pt x="510" y="245"/>
                  </a:lnTo>
                  <a:lnTo>
                    <a:pt x="494" y="217"/>
                  </a:lnTo>
                  <a:lnTo>
                    <a:pt x="486" y="217"/>
                  </a:lnTo>
                  <a:lnTo>
                    <a:pt x="478" y="214"/>
                  </a:lnTo>
                  <a:lnTo>
                    <a:pt x="468" y="213"/>
                  </a:lnTo>
                  <a:lnTo>
                    <a:pt x="460" y="210"/>
                  </a:lnTo>
                  <a:lnTo>
                    <a:pt x="442" y="201"/>
                  </a:lnTo>
                  <a:lnTo>
                    <a:pt x="426" y="192"/>
                  </a:lnTo>
                  <a:lnTo>
                    <a:pt x="410" y="180"/>
                  </a:lnTo>
                  <a:lnTo>
                    <a:pt x="396" y="166"/>
                  </a:lnTo>
                  <a:lnTo>
                    <a:pt x="391" y="160"/>
                  </a:lnTo>
                  <a:lnTo>
                    <a:pt x="386" y="152"/>
                  </a:lnTo>
                  <a:lnTo>
                    <a:pt x="382" y="145"/>
                  </a:lnTo>
                  <a:lnTo>
                    <a:pt x="379" y="138"/>
                  </a:lnTo>
                  <a:lnTo>
                    <a:pt x="376" y="126"/>
                  </a:lnTo>
                  <a:lnTo>
                    <a:pt x="376" y="114"/>
                  </a:lnTo>
                  <a:lnTo>
                    <a:pt x="378" y="105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78" y="88"/>
                  </a:lnTo>
                  <a:lnTo>
                    <a:pt x="378" y="84"/>
                  </a:lnTo>
                  <a:lnTo>
                    <a:pt x="375" y="80"/>
                  </a:lnTo>
                  <a:lnTo>
                    <a:pt x="372" y="77"/>
                  </a:lnTo>
                  <a:lnTo>
                    <a:pt x="368" y="73"/>
                  </a:lnTo>
                  <a:lnTo>
                    <a:pt x="362" y="69"/>
                  </a:lnTo>
                  <a:lnTo>
                    <a:pt x="355" y="66"/>
                  </a:lnTo>
                  <a:lnTo>
                    <a:pt x="344" y="61"/>
                  </a:lnTo>
                  <a:lnTo>
                    <a:pt x="335" y="53"/>
                  </a:lnTo>
                  <a:lnTo>
                    <a:pt x="327" y="44"/>
                  </a:lnTo>
                  <a:lnTo>
                    <a:pt x="319" y="34"/>
                  </a:lnTo>
                  <a:lnTo>
                    <a:pt x="311" y="25"/>
                  </a:lnTo>
                  <a:lnTo>
                    <a:pt x="303" y="16"/>
                  </a:lnTo>
                  <a:lnTo>
                    <a:pt x="298" y="13"/>
                  </a:lnTo>
                  <a:lnTo>
                    <a:pt x="294" y="10"/>
                  </a:lnTo>
                  <a:lnTo>
                    <a:pt x="288" y="8"/>
                  </a:lnTo>
                  <a:lnTo>
                    <a:pt x="283" y="6"/>
                  </a:lnTo>
                  <a:lnTo>
                    <a:pt x="271" y="5"/>
                  </a:lnTo>
                  <a:lnTo>
                    <a:pt x="260" y="4"/>
                  </a:lnTo>
                  <a:lnTo>
                    <a:pt x="252" y="5"/>
                  </a:lnTo>
                  <a:lnTo>
                    <a:pt x="244" y="5"/>
                  </a:lnTo>
                  <a:lnTo>
                    <a:pt x="238" y="5"/>
                  </a:lnTo>
                  <a:lnTo>
                    <a:pt x="230" y="5"/>
                  </a:lnTo>
                  <a:lnTo>
                    <a:pt x="220" y="4"/>
                  </a:lnTo>
                  <a:lnTo>
                    <a:pt x="211" y="0"/>
                  </a:lnTo>
                  <a:lnTo>
                    <a:pt x="208" y="8"/>
                  </a:lnTo>
                  <a:lnTo>
                    <a:pt x="206" y="17"/>
                  </a:lnTo>
                  <a:lnTo>
                    <a:pt x="202" y="26"/>
                  </a:lnTo>
                  <a:lnTo>
                    <a:pt x="196" y="37"/>
                  </a:lnTo>
                  <a:lnTo>
                    <a:pt x="183" y="57"/>
                  </a:lnTo>
                  <a:lnTo>
                    <a:pt x="170" y="77"/>
                  </a:lnTo>
                  <a:lnTo>
                    <a:pt x="155" y="97"/>
                  </a:lnTo>
                  <a:lnTo>
                    <a:pt x="144" y="113"/>
                  </a:lnTo>
                  <a:lnTo>
                    <a:pt x="135" y="125"/>
                  </a:lnTo>
                  <a:lnTo>
                    <a:pt x="132" y="133"/>
                  </a:lnTo>
                  <a:lnTo>
                    <a:pt x="135" y="148"/>
                  </a:lnTo>
                  <a:lnTo>
                    <a:pt x="139" y="162"/>
                  </a:lnTo>
                  <a:lnTo>
                    <a:pt x="130" y="170"/>
                  </a:lnTo>
                  <a:lnTo>
                    <a:pt x="122" y="176"/>
                  </a:lnTo>
                  <a:lnTo>
                    <a:pt x="119" y="178"/>
                  </a:lnTo>
                  <a:lnTo>
                    <a:pt x="116" y="182"/>
                  </a:lnTo>
                  <a:lnTo>
                    <a:pt x="115" y="186"/>
                  </a:lnTo>
                  <a:lnTo>
                    <a:pt x="114" y="193"/>
                  </a:lnTo>
                  <a:lnTo>
                    <a:pt x="120" y="198"/>
                  </a:lnTo>
                  <a:lnTo>
                    <a:pt x="134" y="210"/>
                  </a:lnTo>
                  <a:lnTo>
                    <a:pt x="147" y="224"/>
                  </a:lnTo>
                  <a:lnTo>
                    <a:pt x="156" y="229"/>
                  </a:lnTo>
                  <a:lnTo>
                    <a:pt x="152" y="237"/>
                  </a:lnTo>
                  <a:lnTo>
                    <a:pt x="147" y="245"/>
                  </a:lnTo>
                  <a:lnTo>
                    <a:pt x="140" y="252"/>
                  </a:lnTo>
                  <a:lnTo>
                    <a:pt x="134" y="257"/>
                  </a:lnTo>
                  <a:lnTo>
                    <a:pt x="126" y="262"/>
                  </a:lnTo>
                  <a:lnTo>
                    <a:pt x="120" y="268"/>
                  </a:lnTo>
                  <a:lnTo>
                    <a:pt x="116" y="273"/>
                  </a:lnTo>
                  <a:lnTo>
                    <a:pt x="114" y="277"/>
                  </a:lnTo>
                  <a:lnTo>
                    <a:pt x="120" y="293"/>
                  </a:lnTo>
                  <a:lnTo>
                    <a:pt x="126" y="313"/>
                  </a:lnTo>
                  <a:lnTo>
                    <a:pt x="126" y="321"/>
                  </a:lnTo>
                  <a:lnTo>
                    <a:pt x="124" y="329"/>
                  </a:lnTo>
                  <a:lnTo>
                    <a:pt x="123" y="337"/>
                  </a:lnTo>
                  <a:lnTo>
                    <a:pt x="120" y="343"/>
                  </a:lnTo>
                  <a:lnTo>
                    <a:pt x="115" y="357"/>
                  </a:lnTo>
                  <a:lnTo>
                    <a:pt x="107" y="370"/>
                  </a:lnTo>
                  <a:lnTo>
                    <a:pt x="96" y="381"/>
                  </a:lnTo>
                  <a:lnTo>
                    <a:pt x="86" y="393"/>
                  </a:lnTo>
                  <a:lnTo>
                    <a:pt x="75" y="403"/>
                  </a:lnTo>
                  <a:lnTo>
                    <a:pt x="63" y="414"/>
                  </a:lnTo>
                  <a:lnTo>
                    <a:pt x="51" y="425"/>
                  </a:lnTo>
                  <a:lnTo>
                    <a:pt x="40" y="435"/>
                  </a:lnTo>
                  <a:lnTo>
                    <a:pt x="30" y="447"/>
                  </a:lnTo>
                  <a:lnTo>
                    <a:pt x="19" y="461"/>
                  </a:lnTo>
                  <a:lnTo>
                    <a:pt x="11" y="474"/>
                  </a:lnTo>
                  <a:lnTo>
                    <a:pt x="6" y="489"/>
                  </a:lnTo>
                  <a:lnTo>
                    <a:pt x="3" y="497"/>
                  </a:lnTo>
                  <a:lnTo>
                    <a:pt x="2" y="506"/>
                  </a:lnTo>
                  <a:lnTo>
                    <a:pt x="0" y="514"/>
                  </a:lnTo>
                  <a:lnTo>
                    <a:pt x="0" y="523"/>
                  </a:lnTo>
                  <a:lnTo>
                    <a:pt x="2" y="534"/>
                  </a:lnTo>
                  <a:lnTo>
                    <a:pt x="4" y="550"/>
                  </a:lnTo>
                  <a:lnTo>
                    <a:pt x="10" y="569"/>
                  </a:lnTo>
                  <a:lnTo>
                    <a:pt x="16" y="590"/>
                  </a:lnTo>
                  <a:lnTo>
                    <a:pt x="23" y="611"/>
                  </a:lnTo>
                  <a:lnTo>
                    <a:pt x="30" y="630"/>
                  </a:lnTo>
                  <a:lnTo>
                    <a:pt x="36" y="646"/>
                  </a:lnTo>
                  <a:lnTo>
                    <a:pt x="42" y="657"/>
                  </a:lnTo>
                  <a:lnTo>
                    <a:pt x="42" y="649"/>
                  </a:lnTo>
                  <a:lnTo>
                    <a:pt x="44" y="643"/>
                  </a:lnTo>
                  <a:lnTo>
                    <a:pt x="47" y="641"/>
                  </a:lnTo>
                  <a:lnTo>
                    <a:pt x="50" y="639"/>
                  </a:lnTo>
                  <a:lnTo>
                    <a:pt x="54" y="638"/>
                  </a:lnTo>
                  <a:lnTo>
                    <a:pt x="60" y="638"/>
                  </a:lnTo>
                  <a:lnTo>
                    <a:pt x="71" y="639"/>
                  </a:lnTo>
                  <a:lnTo>
                    <a:pt x="80" y="641"/>
                  </a:lnTo>
                  <a:lnTo>
                    <a:pt x="88" y="643"/>
                  </a:lnTo>
                  <a:lnTo>
                    <a:pt x="96" y="647"/>
                  </a:lnTo>
                  <a:lnTo>
                    <a:pt x="111" y="657"/>
                  </a:lnTo>
                  <a:lnTo>
                    <a:pt x="124" y="669"/>
                  </a:lnTo>
                  <a:lnTo>
                    <a:pt x="138" y="679"/>
                  </a:lnTo>
                  <a:lnTo>
                    <a:pt x="152" y="689"/>
                  </a:lnTo>
                  <a:lnTo>
                    <a:pt x="160" y="693"/>
                  </a:lnTo>
                  <a:lnTo>
                    <a:pt x="170" y="695"/>
                  </a:lnTo>
                  <a:lnTo>
                    <a:pt x="180" y="698"/>
                  </a:lnTo>
                  <a:lnTo>
                    <a:pt x="192" y="698"/>
                  </a:lnTo>
                  <a:lnTo>
                    <a:pt x="206" y="698"/>
                  </a:lnTo>
                  <a:lnTo>
                    <a:pt x="216" y="695"/>
                  </a:lnTo>
                  <a:lnTo>
                    <a:pt x="227" y="693"/>
                  </a:lnTo>
                  <a:lnTo>
                    <a:pt x="238" y="690"/>
                  </a:lnTo>
                  <a:lnTo>
                    <a:pt x="247" y="686"/>
                  </a:lnTo>
                  <a:lnTo>
                    <a:pt x="256" y="683"/>
                  </a:lnTo>
                  <a:lnTo>
                    <a:pt x="266" y="681"/>
                  </a:lnTo>
                  <a:lnTo>
                    <a:pt x="276" y="681"/>
                  </a:lnTo>
                  <a:lnTo>
                    <a:pt x="287" y="682"/>
                  </a:lnTo>
                  <a:lnTo>
                    <a:pt x="296" y="686"/>
                  </a:lnTo>
                  <a:lnTo>
                    <a:pt x="304" y="690"/>
                  </a:lnTo>
                  <a:lnTo>
                    <a:pt x="307" y="693"/>
                  </a:lnTo>
                  <a:lnTo>
                    <a:pt x="308" y="682"/>
                  </a:lnTo>
                  <a:lnTo>
                    <a:pt x="311" y="673"/>
                  </a:lnTo>
                  <a:lnTo>
                    <a:pt x="315" y="662"/>
                  </a:lnTo>
                  <a:lnTo>
                    <a:pt x="320" y="651"/>
                  </a:lnTo>
                  <a:lnTo>
                    <a:pt x="335" y="631"/>
                  </a:lnTo>
                  <a:lnTo>
                    <a:pt x="351" y="610"/>
                  </a:lnTo>
                  <a:lnTo>
                    <a:pt x="367" y="587"/>
                  </a:lnTo>
                  <a:lnTo>
                    <a:pt x="383" y="566"/>
                  </a:lnTo>
                  <a:lnTo>
                    <a:pt x="390" y="554"/>
                  </a:lnTo>
                  <a:lnTo>
                    <a:pt x="396" y="542"/>
                  </a:lnTo>
                  <a:lnTo>
                    <a:pt x="400" y="530"/>
                  </a:lnTo>
                  <a:lnTo>
                    <a:pt x="403" y="518"/>
                  </a:lnTo>
                  <a:lnTo>
                    <a:pt x="443" y="518"/>
                  </a:lnTo>
                  <a:lnTo>
                    <a:pt x="474" y="518"/>
                  </a:lnTo>
                  <a:lnTo>
                    <a:pt x="500" y="518"/>
                  </a:lnTo>
                  <a:lnTo>
                    <a:pt x="530" y="518"/>
                  </a:lnTo>
                  <a:lnTo>
                    <a:pt x="535" y="518"/>
                  </a:lnTo>
                  <a:lnTo>
                    <a:pt x="542" y="521"/>
                  </a:lnTo>
                  <a:lnTo>
                    <a:pt x="547" y="525"/>
                  </a:lnTo>
                  <a:lnTo>
                    <a:pt x="554" y="529"/>
                  </a:lnTo>
                  <a:lnTo>
                    <a:pt x="567" y="541"/>
                  </a:lnTo>
                  <a:lnTo>
                    <a:pt x="580" y="555"/>
                  </a:lnTo>
                  <a:lnTo>
                    <a:pt x="595" y="570"/>
                  </a:lnTo>
                  <a:lnTo>
                    <a:pt x="611" y="583"/>
                  </a:lnTo>
                  <a:lnTo>
                    <a:pt x="619" y="590"/>
                  </a:lnTo>
                  <a:lnTo>
                    <a:pt x="627" y="595"/>
                  </a:lnTo>
                  <a:lnTo>
                    <a:pt x="635" y="599"/>
                  </a:lnTo>
                  <a:lnTo>
                    <a:pt x="644" y="602"/>
                  </a:lnTo>
                  <a:lnTo>
                    <a:pt x="647" y="595"/>
                  </a:lnTo>
                  <a:lnTo>
                    <a:pt x="654" y="578"/>
                  </a:lnTo>
                  <a:lnTo>
                    <a:pt x="656" y="567"/>
                  </a:lnTo>
                  <a:lnTo>
                    <a:pt x="659" y="557"/>
                  </a:lnTo>
                  <a:lnTo>
                    <a:pt x="662" y="546"/>
                  </a:lnTo>
                  <a:lnTo>
                    <a:pt x="663" y="53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5" name="Freeform 63" descr="Широкий диагональный 1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1441450" y="3302000"/>
              <a:ext cx="188913" cy="192088"/>
            </a:xfrm>
            <a:custGeom>
              <a:avLst/>
              <a:gdLst/>
              <a:ahLst/>
              <a:cxnLst>
                <a:cxn ang="0">
                  <a:pos x="346" y="63"/>
                </a:cxn>
                <a:cxn ang="0">
                  <a:pos x="350" y="113"/>
                </a:cxn>
                <a:cxn ang="0">
                  <a:pos x="361" y="163"/>
                </a:cxn>
                <a:cxn ang="0">
                  <a:pos x="374" y="181"/>
                </a:cxn>
                <a:cxn ang="0">
                  <a:pos x="404" y="207"/>
                </a:cxn>
                <a:cxn ang="0">
                  <a:pos x="428" y="239"/>
                </a:cxn>
                <a:cxn ang="0">
                  <a:pos x="433" y="265"/>
                </a:cxn>
                <a:cxn ang="0">
                  <a:pos x="433" y="279"/>
                </a:cxn>
                <a:cxn ang="0">
                  <a:pos x="434" y="306"/>
                </a:cxn>
                <a:cxn ang="0">
                  <a:pos x="424" y="337"/>
                </a:cxn>
                <a:cxn ang="0">
                  <a:pos x="389" y="374"/>
                </a:cxn>
                <a:cxn ang="0">
                  <a:pos x="366" y="424"/>
                </a:cxn>
                <a:cxn ang="0">
                  <a:pos x="354" y="465"/>
                </a:cxn>
                <a:cxn ang="0">
                  <a:pos x="334" y="480"/>
                </a:cxn>
                <a:cxn ang="0">
                  <a:pos x="308" y="484"/>
                </a:cxn>
                <a:cxn ang="0">
                  <a:pos x="281" y="488"/>
                </a:cxn>
                <a:cxn ang="0">
                  <a:pos x="262" y="500"/>
                </a:cxn>
                <a:cxn ang="0">
                  <a:pos x="246" y="512"/>
                </a:cxn>
                <a:cxn ang="0">
                  <a:pos x="216" y="476"/>
                </a:cxn>
                <a:cxn ang="0">
                  <a:pos x="200" y="437"/>
                </a:cxn>
                <a:cxn ang="0">
                  <a:pos x="190" y="382"/>
                </a:cxn>
                <a:cxn ang="0">
                  <a:pos x="178" y="324"/>
                </a:cxn>
                <a:cxn ang="0">
                  <a:pos x="165" y="291"/>
                </a:cxn>
                <a:cxn ang="0">
                  <a:pos x="152" y="281"/>
                </a:cxn>
                <a:cxn ang="0">
                  <a:pos x="116" y="269"/>
                </a:cxn>
                <a:cxn ang="0">
                  <a:pos x="98" y="263"/>
                </a:cxn>
                <a:cxn ang="0">
                  <a:pos x="92" y="237"/>
                </a:cxn>
                <a:cxn ang="0">
                  <a:pos x="80" y="196"/>
                </a:cxn>
                <a:cxn ang="0">
                  <a:pos x="65" y="172"/>
                </a:cxn>
                <a:cxn ang="0">
                  <a:pos x="44" y="155"/>
                </a:cxn>
                <a:cxn ang="0">
                  <a:pos x="13" y="145"/>
                </a:cxn>
                <a:cxn ang="0">
                  <a:pos x="34" y="128"/>
                </a:cxn>
                <a:cxn ang="0">
                  <a:pos x="70" y="104"/>
                </a:cxn>
                <a:cxn ang="0">
                  <a:pos x="85" y="83"/>
                </a:cxn>
                <a:cxn ang="0">
                  <a:pos x="94" y="55"/>
                </a:cxn>
                <a:cxn ang="0">
                  <a:pos x="121" y="48"/>
                </a:cxn>
                <a:cxn ang="0">
                  <a:pos x="141" y="53"/>
                </a:cxn>
                <a:cxn ang="0">
                  <a:pos x="158" y="52"/>
                </a:cxn>
                <a:cxn ang="0">
                  <a:pos x="169" y="40"/>
                </a:cxn>
                <a:cxn ang="0">
                  <a:pos x="184" y="13"/>
                </a:cxn>
                <a:cxn ang="0">
                  <a:pos x="208" y="8"/>
                </a:cxn>
                <a:cxn ang="0">
                  <a:pos x="244" y="24"/>
                </a:cxn>
                <a:cxn ang="0">
                  <a:pos x="289" y="29"/>
                </a:cxn>
                <a:cxn ang="0">
                  <a:pos x="322" y="29"/>
                </a:cxn>
                <a:cxn ang="0">
                  <a:pos x="337" y="31"/>
                </a:cxn>
              </a:cxnLst>
              <a:rect l="0" t="0" r="r" b="b"/>
              <a:pathLst>
                <a:path w="440" h="518">
                  <a:moveTo>
                    <a:pt x="337" y="31"/>
                  </a:moveTo>
                  <a:lnTo>
                    <a:pt x="342" y="47"/>
                  </a:lnTo>
                  <a:lnTo>
                    <a:pt x="346" y="63"/>
                  </a:lnTo>
                  <a:lnTo>
                    <a:pt x="348" y="80"/>
                  </a:lnTo>
                  <a:lnTo>
                    <a:pt x="349" y="96"/>
                  </a:lnTo>
                  <a:lnTo>
                    <a:pt x="350" y="113"/>
                  </a:lnTo>
                  <a:lnTo>
                    <a:pt x="352" y="131"/>
                  </a:lnTo>
                  <a:lnTo>
                    <a:pt x="356" y="147"/>
                  </a:lnTo>
                  <a:lnTo>
                    <a:pt x="361" y="163"/>
                  </a:lnTo>
                  <a:lnTo>
                    <a:pt x="365" y="169"/>
                  </a:lnTo>
                  <a:lnTo>
                    <a:pt x="369" y="175"/>
                  </a:lnTo>
                  <a:lnTo>
                    <a:pt x="374" y="181"/>
                  </a:lnTo>
                  <a:lnTo>
                    <a:pt x="380" y="187"/>
                  </a:lnTo>
                  <a:lnTo>
                    <a:pt x="392" y="197"/>
                  </a:lnTo>
                  <a:lnTo>
                    <a:pt x="404" y="207"/>
                  </a:lnTo>
                  <a:lnTo>
                    <a:pt x="416" y="219"/>
                  </a:lnTo>
                  <a:lnTo>
                    <a:pt x="425" y="231"/>
                  </a:lnTo>
                  <a:lnTo>
                    <a:pt x="428" y="239"/>
                  </a:lnTo>
                  <a:lnTo>
                    <a:pt x="430" y="247"/>
                  </a:lnTo>
                  <a:lnTo>
                    <a:pt x="433" y="256"/>
                  </a:lnTo>
                  <a:lnTo>
                    <a:pt x="433" y="265"/>
                  </a:lnTo>
                  <a:lnTo>
                    <a:pt x="433" y="276"/>
                  </a:lnTo>
                  <a:lnTo>
                    <a:pt x="433" y="277"/>
                  </a:lnTo>
                  <a:lnTo>
                    <a:pt x="433" y="279"/>
                  </a:lnTo>
                  <a:lnTo>
                    <a:pt x="433" y="289"/>
                  </a:lnTo>
                  <a:lnTo>
                    <a:pt x="433" y="298"/>
                  </a:lnTo>
                  <a:lnTo>
                    <a:pt x="434" y="306"/>
                  </a:lnTo>
                  <a:lnTo>
                    <a:pt x="436" y="316"/>
                  </a:lnTo>
                  <a:lnTo>
                    <a:pt x="440" y="325"/>
                  </a:lnTo>
                  <a:lnTo>
                    <a:pt x="424" y="337"/>
                  </a:lnTo>
                  <a:lnTo>
                    <a:pt x="410" y="348"/>
                  </a:lnTo>
                  <a:lnTo>
                    <a:pt x="400" y="361"/>
                  </a:lnTo>
                  <a:lnTo>
                    <a:pt x="389" y="374"/>
                  </a:lnTo>
                  <a:lnTo>
                    <a:pt x="380" y="389"/>
                  </a:lnTo>
                  <a:lnTo>
                    <a:pt x="373" y="405"/>
                  </a:lnTo>
                  <a:lnTo>
                    <a:pt x="366" y="424"/>
                  </a:lnTo>
                  <a:lnTo>
                    <a:pt x="361" y="445"/>
                  </a:lnTo>
                  <a:lnTo>
                    <a:pt x="358" y="457"/>
                  </a:lnTo>
                  <a:lnTo>
                    <a:pt x="354" y="465"/>
                  </a:lnTo>
                  <a:lnTo>
                    <a:pt x="349" y="472"/>
                  </a:lnTo>
                  <a:lnTo>
                    <a:pt x="342" y="476"/>
                  </a:lnTo>
                  <a:lnTo>
                    <a:pt x="334" y="480"/>
                  </a:lnTo>
                  <a:lnTo>
                    <a:pt x="326" y="481"/>
                  </a:lnTo>
                  <a:lnTo>
                    <a:pt x="317" y="482"/>
                  </a:lnTo>
                  <a:lnTo>
                    <a:pt x="308" y="484"/>
                  </a:lnTo>
                  <a:lnTo>
                    <a:pt x="298" y="485"/>
                  </a:lnTo>
                  <a:lnTo>
                    <a:pt x="289" y="486"/>
                  </a:lnTo>
                  <a:lnTo>
                    <a:pt x="281" y="488"/>
                  </a:lnTo>
                  <a:lnTo>
                    <a:pt x="274" y="490"/>
                  </a:lnTo>
                  <a:lnTo>
                    <a:pt x="268" y="494"/>
                  </a:lnTo>
                  <a:lnTo>
                    <a:pt x="262" y="500"/>
                  </a:lnTo>
                  <a:lnTo>
                    <a:pt x="260" y="508"/>
                  </a:lnTo>
                  <a:lnTo>
                    <a:pt x="258" y="518"/>
                  </a:lnTo>
                  <a:lnTo>
                    <a:pt x="246" y="512"/>
                  </a:lnTo>
                  <a:lnTo>
                    <a:pt x="234" y="500"/>
                  </a:lnTo>
                  <a:lnTo>
                    <a:pt x="224" y="489"/>
                  </a:lnTo>
                  <a:lnTo>
                    <a:pt x="216" y="476"/>
                  </a:lnTo>
                  <a:lnTo>
                    <a:pt x="209" y="464"/>
                  </a:lnTo>
                  <a:lnTo>
                    <a:pt x="204" y="450"/>
                  </a:lnTo>
                  <a:lnTo>
                    <a:pt x="200" y="437"/>
                  </a:lnTo>
                  <a:lnTo>
                    <a:pt x="196" y="424"/>
                  </a:lnTo>
                  <a:lnTo>
                    <a:pt x="194" y="410"/>
                  </a:lnTo>
                  <a:lnTo>
                    <a:pt x="190" y="382"/>
                  </a:lnTo>
                  <a:lnTo>
                    <a:pt x="185" y="353"/>
                  </a:lnTo>
                  <a:lnTo>
                    <a:pt x="182" y="338"/>
                  </a:lnTo>
                  <a:lnTo>
                    <a:pt x="178" y="324"/>
                  </a:lnTo>
                  <a:lnTo>
                    <a:pt x="174" y="309"/>
                  </a:lnTo>
                  <a:lnTo>
                    <a:pt x="168" y="295"/>
                  </a:lnTo>
                  <a:lnTo>
                    <a:pt x="165" y="291"/>
                  </a:lnTo>
                  <a:lnTo>
                    <a:pt x="161" y="287"/>
                  </a:lnTo>
                  <a:lnTo>
                    <a:pt x="157" y="284"/>
                  </a:lnTo>
                  <a:lnTo>
                    <a:pt x="152" y="281"/>
                  </a:lnTo>
                  <a:lnTo>
                    <a:pt x="140" y="276"/>
                  </a:lnTo>
                  <a:lnTo>
                    <a:pt x="128" y="272"/>
                  </a:lnTo>
                  <a:lnTo>
                    <a:pt x="116" y="269"/>
                  </a:lnTo>
                  <a:lnTo>
                    <a:pt x="105" y="267"/>
                  </a:lnTo>
                  <a:lnTo>
                    <a:pt x="101" y="265"/>
                  </a:lnTo>
                  <a:lnTo>
                    <a:pt x="98" y="263"/>
                  </a:lnTo>
                  <a:lnTo>
                    <a:pt x="97" y="261"/>
                  </a:lnTo>
                  <a:lnTo>
                    <a:pt x="96" y="259"/>
                  </a:lnTo>
                  <a:lnTo>
                    <a:pt x="92" y="237"/>
                  </a:lnTo>
                  <a:lnTo>
                    <a:pt x="86" y="216"/>
                  </a:lnTo>
                  <a:lnTo>
                    <a:pt x="82" y="205"/>
                  </a:lnTo>
                  <a:lnTo>
                    <a:pt x="80" y="196"/>
                  </a:lnTo>
                  <a:lnTo>
                    <a:pt x="76" y="188"/>
                  </a:lnTo>
                  <a:lnTo>
                    <a:pt x="70" y="179"/>
                  </a:lnTo>
                  <a:lnTo>
                    <a:pt x="65" y="172"/>
                  </a:lnTo>
                  <a:lnTo>
                    <a:pt x="58" y="165"/>
                  </a:lnTo>
                  <a:lnTo>
                    <a:pt x="52" y="159"/>
                  </a:lnTo>
                  <a:lnTo>
                    <a:pt x="44" y="155"/>
                  </a:lnTo>
                  <a:lnTo>
                    <a:pt x="34" y="151"/>
                  </a:lnTo>
                  <a:lnTo>
                    <a:pt x="24" y="147"/>
                  </a:lnTo>
                  <a:lnTo>
                    <a:pt x="13" y="145"/>
                  </a:lnTo>
                  <a:lnTo>
                    <a:pt x="0" y="144"/>
                  </a:lnTo>
                  <a:lnTo>
                    <a:pt x="17" y="136"/>
                  </a:lnTo>
                  <a:lnTo>
                    <a:pt x="34" y="128"/>
                  </a:lnTo>
                  <a:lnTo>
                    <a:pt x="49" y="119"/>
                  </a:lnTo>
                  <a:lnTo>
                    <a:pt x="64" y="109"/>
                  </a:lnTo>
                  <a:lnTo>
                    <a:pt x="70" y="104"/>
                  </a:lnTo>
                  <a:lnTo>
                    <a:pt x="76" y="97"/>
                  </a:lnTo>
                  <a:lnTo>
                    <a:pt x="81" y="91"/>
                  </a:lnTo>
                  <a:lnTo>
                    <a:pt x="85" y="83"/>
                  </a:lnTo>
                  <a:lnTo>
                    <a:pt x="89" y="75"/>
                  </a:lnTo>
                  <a:lnTo>
                    <a:pt x="92" y="64"/>
                  </a:lnTo>
                  <a:lnTo>
                    <a:pt x="94" y="55"/>
                  </a:lnTo>
                  <a:lnTo>
                    <a:pt x="96" y="43"/>
                  </a:lnTo>
                  <a:lnTo>
                    <a:pt x="109" y="44"/>
                  </a:lnTo>
                  <a:lnTo>
                    <a:pt x="121" y="48"/>
                  </a:lnTo>
                  <a:lnTo>
                    <a:pt x="128" y="51"/>
                  </a:lnTo>
                  <a:lnTo>
                    <a:pt x="134" y="52"/>
                  </a:lnTo>
                  <a:lnTo>
                    <a:pt x="141" y="53"/>
                  </a:lnTo>
                  <a:lnTo>
                    <a:pt x="150" y="55"/>
                  </a:lnTo>
                  <a:lnTo>
                    <a:pt x="154" y="53"/>
                  </a:lnTo>
                  <a:lnTo>
                    <a:pt x="158" y="52"/>
                  </a:lnTo>
                  <a:lnTo>
                    <a:pt x="161" y="51"/>
                  </a:lnTo>
                  <a:lnTo>
                    <a:pt x="165" y="48"/>
                  </a:lnTo>
                  <a:lnTo>
                    <a:pt x="169" y="40"/>
                  </a:lnTo>
                  <a:lnTo>
                    <a:pt x="174" y="32"/>
                  </a:lnTo>
                  <a:lnTo>
                    <a:pt x="178" y="23"/>
                  </a:lnTo>
                  <a:lnTo>
                    <a:pt x="184" y="13"/>
                  </a:lnTo>
                  <a:lnTo>
                    <a:pt x="190" y="5"/>
                  </a:lnTo>
                  <a:lnTo>
                    <a:pt x="198" y="0"/>
                  </a:lnTo>
                  <a:lnTo>
                    <a:pt x="208" y="8"/>
                  </a:lnTo>
                  <a:lnTo>
                    <a:pt x="218" y="15"/>
                  </a:lnTo>
                  <a:lnTo>
                    <a:pt x="230" y="20"/>
                  </a:lnTo>
                  <a:lnTo>
                    <a:pt x="244" y="24"/>
                  </a:lnTo>
                  <a:lnTo>
                    <a:pt x="257" y="27"/>
                  </a:lnTo>
                  <a:lnTo>
                    <a:pt x="273" y="29"/>
                  </a:lnTo>
                  <a:lnTo>
                    <a:pt x="289" y="29"/>
                  </a:lnTo>
                  <a:lnTo>
                    <a:pt x="306" y="31"/>
                  </a:lnTo>
                  <a:lnTo>
                    <a:pt x="314" y="31"/>
                  </a:lnTo>
                  <a:lnTo>
                    <a:pt x="322" y="29"/>
                  </a:lnTo>
                  <a:lnTo>
                    <a:pt x="329" y="28"/>
                  </a:lnTo>
                  <a:lnTo>
                    <a:pt x="337" y="24"/>
                  </a:lnTo>
                  <a:lnTo>
                    <a:pt x="337" y="3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6" name="Freeform 64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1284288" y="3167063"/>
              <a:ext cx="244475" cy="203200"/>
            </a:xfrm>
            <a:custGeom>
              <a:avLst/>
              <a:gdLst/>
              <a:ahLst/>
              <a:cxnLst>
                <a:cxn ang="0">
                  <a:pos x="314" y="85"/>
                </a:cxn>
                <a:cxn ang="0">
                  <a:pos x="308" y="100"/>
                </a:cxn>
                <a:cxn ang="0">
                  <a:pos x="294" y="108"/>
                </a:cxn>
                <a:cxn ang="0">
                  <a:pos x="256" y="98"/>
                </a:cxn>
                <a:cxn ang="0">
                  <a:pos x="226" y="74"/>
                </a:cxn>
                <a:cxn ang="0">
                  <a:pos x="193" y="35"/>
                </a:cxn>
                <a:cxn ang="0">
                  <a:pos x="158" y="4"/>
                </a:cxn>
                <a:cxn ang="0">
                  <a:pos x="133" y="0"/>
                </a:cxn>
                <a:cxn ang="0">
                  <a:pos x="122" y="8"/>
                </a:cxn>
                <a:cxn ang="0">
                  <a:pos x="118" y="45"/>
                </a:cxn>
                <a:cxn ang="0">
                  <a:pos x="118" y="71"/>
                </a:cxn>
                <a:cxn ang="0">
                  <a:pos x="109" y="89"/>
                </a:cxn>
                <a:cxn ang="0">
                  <a:pos x="60" y="126"/>
                </a:cxn>
                <a:cxn ang="0">
                  <a:pos x="28" y="150"/>
                </a:cxn>
                <a:cxn ang="0">
                  <a:pos x="5" y="182"/>
                </a:cxn>
                <a:cxn ang="0">
                  <a:pos x="0" y="202"/>
                </a:cxn>
                <a:cxn ang="0">
                  <a:pos x="2" y="237"/>
                </a:cxn>
                <a:cxn ang="0">
                  <a:pos x="20" y="258"/>
                </a:cxn>
                <a:cxn ang="0">
                  <a:pos x="48" y="265"/>
                </a:cxn>
                <a:cxn ang="0">
                  <a:pos x="70" y="260"/>
                </a:cxn>
                <a:cxn ang="0">
                  <a:pos x="84" y="249"/>
                </a:cxn>
                <a:cxn ang="0">
                  <a:pos x="106" y="265"/>
                </a:cxn>
                <a:cxn ang="0">
                  <a:pos x="150" y="337"/>
                </a:cxn>
                <a:cxn ang="0">
                  <a:pos x="174" y="350"/>
                </a:cxn>
                <a:cxn ang="0">
                  <a:pos x="221" y="362"/>
                </a:cxn>
                <a:cxn ang="0">
                  <a:pos x="245" y="374"/>
                </a:cxn>
                <a:cxn ang="0">
                  <a:pos x="261" y="394"/>
                </a:cxn>
                <a:cxn ang="0">
                  <a:pos x="264" y="426"/>
                </a:cxn>
                <a:cxn ang="0">
                  <a:pos x="252" y="458"/>
                </a:cxn>
                <a:cxn ang="0">
                  <a:pos x="241" y="548"/>
                </a:cxn>
                <a:cxn ang="0">
                  <a:pos x="264" y="521"/>
                </a:cxn>
                <a:cxn ang="0">
                  <a:pos x="278" y="516"/>
                </a:cxn>
                <a:cxn ang="0">
                  <a:pos x="289" y="522"/>
                </a:cxn>
                <a:cxn ang="0">
                  <a:pos x="337" y="517"/>
                </a:cxn>
                <a:cxn ang="0">
                  <a:pos x="407" y="492"/>
                </a:cxn>
                <a:cxn ang="0">
                  <a:pos x="447" y="458"/>
                </a:cxn>
                <a:cxn ang="0">
                  <a:pos x="462" y="436"/>
                </a:cxn>
                <a:cxn ang="0">
                  <a:pos x="469" y="404"/>
                </a:cxn>
                <a:cxn ang="0">
                  <a:pos x="501" y="412"/>
                </a:cxn>
                <a:cxn ang="0">
                  <a:pos x="523" y="416"/>
                </a:cxn>
                <a:cxn ang="0">
                  <a:pos x="534" y="412"/>
                </a:cxn>
                <a:cxn ang="0">
                  <a:pos x="547" y="393"/>
                </a:cxn>
                <a:cxn ang="0">
                  <a:pos x="563" y="366"/>
                </a:cxn>
                <a:cxn ang="0">
                  <a:pos x="559" y="345"/>
                </a:cxn>
                <a:cxn ang="0">
                  <a:pos x="546" y="314"/>
                </a:cxn>
                <a:cxn ang="0">
                  <a:pos x="541" y="277"/>
                </a:cxn>
                <a:cxn ang="0">
                  <a:pos x="551" y="246"/>
                </a:cxn>
                <a:cxn ang="0">
                  <a:pos x="566" y="220"/>
                </a:cxn>
                <a:cxn ang="0">
                  <a:pos x="571" y="193"/>
                </a:cxn>
                <a:cxn ang="0">
                  <a:pos x="563" y="180"/>
                </a:cxn>
                <a:cxn ang="0">
                  <a:pos x="538" y="158"/>
                </a:cxn>
                <a:cxn ang="0">
                  <a:pos x="525" y="142"/>
                </a:cxn>
                <a:cxn ang="0">
                  <a:pos x="529" y="117"/>
                </a:cxn>
                <a:cxn ang="0">
                  <a:pos x="541" y="90"/>
                </a:cxn>
                <a:cxn ang="0">
                  <a:pos x="539" y="73"/>
                </a:cxn>
                <a:cxn ang="0">
                  <a:pos x="529" y="55"/>
                </a:cxn>
                <a:cxn ang="0">
                  <a:pos x="447" y="84"/>
                </a:cxn>
                <a:cxn ang="0">
                  <a:pos x="390" y="90"/>
                </a:cxn>
                <a:cxn ang="0">
                  <a:pos x="345" y="88"/>
                </a:cxn>
                <a:cxn ang="0">
                  <a:pos x="336" y="80"/>
                </a:cxn>
                <a:cxn ang="0">
                  <a:pos x="332" y="67"/>
                </a:cxn>
              </a:cxnLst>
              <a:rect l="0" t="0" r="r" b="b"/>
              <a:pathLst>
                <a:path w="571" h="548">
                  <a:moveTo>
                    <a:pt x="325" y="78"/>
                  </a:moveTo>
                  <a:lnTo>
                    <a:pt x="318" y="81"/>
                  </a:lnTo>
                  <a:lnTo>
                    <a:pt x="314" y="85"/>
                  </a:lnTo>
                  <a:lnTo>
                    <a:pt x="312" y="90"/>
                  </a:lnTo>
                  <a:lnTo>
                    <a:pt x="309" y="96"/>
                  </a:lnTo>
                  <a:lnTo>
                    <a:pt x="308" y="100"/>
                  </a:lnTo>
                  <a:lnTo>
                    <a:pt x="305" y="104"/>
                  </a:lnTo>
                  <a:lnTo>
                    <a:pt x="300" y="106"/>
                  </a:lnTo>
                  <a:lnTo>
                    <a:pt x="294" y="108"/>
                  </a:lnTo>
                  <a:lnTo>
                    <a:pt x="281" y="106"/>
                  </a:lnTo>
                  <a:lnTo>
                    <a:pt x="268" y="104"/>
                  </a:lnTo>
                  <a:lnTo>
                    <a:pt x="256" y="98"/>
                  </a:lnTo>
                  <a:lnTo>
                    <a:pt x="245" y="92"/>
                  </a:lnTo>
                  <a:lnTo>
                    <a:pt x="236" y="82"/>
                  </a:lnTo>
                  <a:lnTo>
                    <a:pt x="226" y="74"/>
                  </a:lnTo>
                  <a:lnTo>
                    <a:pt x="218" y="64"/>
                  </a:lnTo>
                  <a:lnTo>
                    <a:pt x="209" y="55"/>
                  </a:lnTo>
                  <a:lnTo>
                    <a:pt x="193" y="35"/>
                  </a:lnTo>
                  <a:lnTo>
                    <a:pt x="177" y="17"/>
                  </a:lnTo>
                  <a:lnTo>
                    <a:pt x="168" y="9"/>
                  </a:lnTo>
                  <a:lnTo>
                    <a:pt x="158" y="4"/>
                  </a:lnTo>
                  <a:lnTo>
                    <a:pt x="149" y="1"/>
                  </a:lnTo>
                  <a:lnTo>
                    <a:pt x="138" y="0"/>
                  </a:lnTo>
                  <a:lnTo>
                    <a:pt x="133" y="0"/>
                  </a:lnTo>
                  <a:lnTo>
                    <a:pt x="129" y="3"/>
                  </a:lnTo>
                  <a:lnTo>
                    <a:pt x="125" y="4"/>
                  </a:lnTo>
                  <a:lnTo>
                    <a:pt x="122" y="8"/>
                  </a:lnTo>
                  <a:lnTo>
                    <a:pt x="118" y="16"/>
                  </a:lnTo>
                  <a:lnTo>
                    <a:pt x="117" y="25"/>
                  </a:lnTo>
                  <a:lnTo>
                    <a:pt x="118" y="45"/>
                  </a:lnTo>
                  <a:lnTo>
                    <a:pt x="120" y="60"/>
                  </a:lnTo>
                  <a:lnTo>
                    <a:pt x="120" y="65"/>
                  </a:lnTo>
                  <a:lnTo>
                    <a:pt x="118" y="71"/>
                  </a:lnTo>
                  <a:lnTo>
                    <a:pt x="117" y="76"/>
                  </a:lnTo>
                  <a:lnTo>
                    <a:pt x="114" y="80"/>
                  </a:lnTo>
                  <a:lnTo>
                    <a:pt x="109" y="89"/>
                  </a:lnTo>
                  <a:lnTo>
                    <a:pt x="101" y="97"/>
                  </a:lnTo>
                  <a:lnTo>
                    <a:pt x="82" y="112"/>
                  </a:lnTo>
                  <a:lnTo>
                    <a:pt x="60" y="126"/>
                  </a:lnTo>
                  <a:lnTo>
                    <a:pt x="49" y="133"/>
                  </a:lnTo>
                  <a:lnTo>
                    <a:pt x="37" y="141"/>
                  </a:lnTo>
                  <a:lnTo>
                    <a:pt x="28" y="150"/>
                  </a:lnTo>
                  <a:lnTo>
                    <a:pt x="18" y="160"/>
                  </a:lnTo>
                  <a:lnTo>
                    <a:pt x="10" y="170"/>
                  </a:lnTo>
                  <a:lnTo>
                    <a:pt x="5" y="182"/>
                  </a:lnTo>
                  <a:lnTo>
                    <a:pt x="2" y="189"/>
                  </a:lnTo>
                  <a:lnTo>
                    <a:pt x="1" y="196"/>
                  </a:lnTo>
                  <a:lnTo>
                    <a:pt x="0" y="202"/>
                  </a:lnTo>
                  <a:lnTo>
                    <a:pt x="0" y="210"/>
                  </a:lnTo>
                  <a:lnTo>
                    <a:pt x="0" y="225"/>
                  </a:lnTo>
                  <a:lnTo>
                    <a:pt x="2" y="237"/>
                  </a:lnTo>
                  <a:lnTo>
                    <a:pt x="6" y="246"/>
                  </a:lnTo>
                  <a:lnTo>
                    <a:pt x="12" y="253"/>
                  </a:lnTo>
                  <a:lnTo>
                    <a:pt x="20" y="258"/>
                  </a:lnTo>
                  <a:lnTo>
                    <a:pt x="28" y="262"/>
                  </a:lnTo>
                  <a:lnTo>
                    <a:pt x="37" y="264"/>
                  </a:lnTo>
                  <a:lnTo>
                    <a:pt x="48" y="265"/>
                  </a:lnTo>
                  <a:lnTo>
                    <a:pt x="56" y="264"/>
                  </a:lnTo>
                  <a:lnTo>
                    <a:pt x="64" y="262"/>
                  </a:lnTo>
                  <a:lnTo>
                    <a:pt x="70" y="260"/>
                  </a:lnTo>
                  <a:lnTo>
                    <a:pt x="76" y="257"/>
                  </a:lnTo>
                  <a:lnTo>
                    <a:pt x="80" y="253"/>
                  </a:lnTo>
                  <a:lnTo>
                    <a:pt x="84" y="249"/>
                  </a:lnTo>
                  <a:lnTo>
                    <a:pt x="88" y="245"/>
                  </a:lnTo>
                  <a:lnTo>
                    <a:pt x="90" y="241"/>
                  </a:lnTo>
                  <a:lnTo>
                    <a:pt x="106" y="265"/>
                  </a:lnTo>
                  <a:lnTo>
                    <a:pt x="122" y="290"/>
                  </a:lnTo>
                  <a:lnTo>
                    <a:pt x="137" y="316"/>
                  </a:lnTo>
                  <a:lnTo>
                    <a:pt x="150" y="337"/>
                  </a:lnTo>
                  <a:lnTo>
                    <a:pt x="157" y="342"/>
                  </a:lnTo>
                  <a:lnTo>
                    <a:pt x="165" y="346"/>
                  </a:lnTo>
                  <a:lnTo>
                    <a:pt x="174" y="350"/>
                  </a:lnTo>
                  <a:lnTo>
                    <a:pt x="184" y="353"/>
                  </a:lnTo>
                  <a:lnTo>
                    <a:pt x="202" y="357"/>
                  </a:lnTo>
                  <a:lnTo>
                    <a:pt x="221" y="362"/>
                  </a:lnTo>
                  <a:lnTo>
                    <a:pt x="229" y="365"/>
                  </a:lnTo>
                  <a:lnTo>
                    <a:pt x="238" y="369"/>
                  </a:lnTo>
                  <a:lnTo>
                    <a:pt x="245" y="374"/>
                  </a:lnTo>
                  <a:lnTo>
                    <a:pt x="252" y="380"/>
                  </a:lnTo>
                  <a:lnTo>
                    <a:pt x="257" y="386"/>
                  </a:lnTo>
                  <a:lnTo>
                    <a:pt x="261" y="394"/>
                  </a:lnTo>
                  <a:lnTo>
                    <a:pt x="264" y="404"/>
                  </a:lnTo>
                  <a:lnTo>
                    <a:pt x="265" y="416"/>
                  </a:lnTo>
                  <a:lnTo>
                    <a:pt x="264" y="426"/>
                  </a:lnTo>
                  <a:lnTo>
                    <a:pt x="261" y="437"/>
                  </a:lnTo>
                  <a:lnTo>
                    <a:pt x="257" y="449"/>
                  </a:lnTo>
                  <a:lnTo>
                    <a:pt x="252" y="458"/>
                  </a:lnTo>
                  <a:lnTo>
                    <a:pt x="241" y="478"/>
                  </a:lnTo>
                  <a:lnTo>
                    <a:pt x="234" y="493"/>
                  </a:lnTo>
                  <a:lnTo>
                    <a:pt x="241" y="548"/>
                  </a:lnTo>
                  <a:lnTo>
                    <a:pt x="246" y="538"/>
                  </a:lnTo>
                  <a:lnTo>
                    <a:pt x="254" y="530"/>
                  </a:lnTo>
                  <a:lnTo>
                    <a:pt x="264" y="521"/>
                  </a:lnTo>
                  <a:lnTo>
                    <a:pt x="277" y="512"/>
                  </a:lnTo>
                  <a:lnTo>
                    <a:pt x="277" y="514"/>
                  </a:lnTo>
                  <a:lnTo>
                    <a:pt x="278" y="516"/>
                  </a:lnTo>
                  <a:lnTo>
                    <a:pt x="280" y="518"/>
                  </a:lnTo>
                  <a:lnTo>
                    <a:pt x="282" y="520"/>
                  </a:lnTo>
                  <a:lnTo>
                    <a:pt x="289" y="522"/>
                  </a:lnTo>
                  <a:lnTo>
                    <a:pt x="301" y="524"/>
                  </a:lnTo>
                  <a:lnTo>
                    <a:pt x="318" y="522"/>
                  </a:lnTo>
                  <a:lnTo>
                    <a:pt x="337" y="517"/>
                  </a:lnTo>
                  <a:lnTo>
                    <a:pt x="357" y="513"/>
                  </a:lnTo>
                  <a:lnTo>
                    <a:pt x="378" y="512"/>
                  </a:lnTo>
                  <a:lnTo>
                    <a:pt x="407" y="492"/>
                  </a:lnTo>
                  <a:lnTo>
                    <a:pt x="435" y="470"/>
                  </a:lnTo>
                  <a:lnTo>
                    <a:pt x="442" y="465"/>
                  </a:lnTo>
                  <a:lnTo>
                    <a:pt x="447" y="458"/>
                  </a:lnTo>
                  <a:lnTo>
                    <a:pt x="453" y="452"/>
                  </a:lnTo>
                  <a:lnTo>
                    <a:pt x="458" y="444"/>
                  </a:lnTo>
                  <a:lnTo>
                    <a:pt x="462" y="436"/>
                  </a:lnTo>
                  <a:lnTo>
                    <a:pt x="465" y="425"/>
                  </a:lnTo>
                  <a:lnTo>
                    <a:pt x="467" y="416"/>
                  </a:lnTo>
                  <a:lnTo>
                    <a:pt x="469" y="404"/>
                  </a:lnTo>
                  <a:lnTo>
                    <a:pt x="482" y="405"/>
                  </a:lnTo>
                  <a:lnTo>
                    <a:pt x="494" y="409"/>
                  </a:lnTo>
                  <a:lnTo>
                    <a:pt x="501" y="412"/>
                  </a:lnTo>
                  <a:lnTo>
                    <a:pt x="507" y="413"/>
                  </a:lnTo>
                  <a:lnTo>
                    <a:pt x="514" y="414"/>
                  </a:lnTo>
                  <a:lnTo>
                    <a:pt x="523" y="416"/>
                  </a:lnTo>
                  <a:lnTo>
                    <a:pt x="527" y="414"/>
                  </a:lnTo>
                  <a:lnTo>
                    <a:pt x="531" y="413"/>
                  </a:lnTo>
                  <a:lnTo>
                    <a:pt x="534" y="412"/>
                  </a:lnTo>
                  <a:lnTo>
                    <a:pt x="538" y="409"/>
                  </a:lnTo>
                  <a:lnTo>
                    <a:pt x="542" y="401"/>
                  </a:lnTo>
                  <a:lnTo>
                    <a:pt x="547" y="393"/>
                  </a:lnTo>
                  <a:lnTo>
                    <a:pt x="551" y="384"/>
                  </a:lnTo>
                  <a:lnTo>
                    <a:pt x="557" y="374"/>
                  </a:lnTo>
                  <a:lnTo>
                    <a:pt x="563" y="366"/>
                  </a:lnTo>
                  <a:lnTo>
                    <a:pt x="571" y="361"/>
                  </a:lnTo>
                  <a:lnTo>
                    <a:pt x="565" y="354"/>
                  </a:lnTo>
                  <a:lnTo>
                    <a:pt x="559" y="345"/>
                  </a:lnTo>
                  <a:lnTo>
                    <a:pt x="554" y="336"/>
                  </a:lnTo>
                  <a:lnTo>
                    <a:pt x="550" y="325"/>
                  </a:lnTo>
                  <a:lnTo>
                    <a:pt x="546" y="314"/>
                  </a:lnTo>
                  <a:lnTo>
                    <a:pt x="543" y="302"/>
                  </a:lnTo>
                  <a:lnTo>
                    <a:pt x="542" y="290"/>
                  </a:lnTo>
                  <a:lnTo>
                    <a:pt x="541" y="277"/>
                  </a:lnTo>
                  <a:lnTo>
                    <a:pt x="542" y="266"/>
                  </a:lnTo>
                  <a:lnTo>
                    <a:pt x="546" y="256"/>
                  </a:lnTo>
                  <a:lnTo>
                    <a:pt x="551" y="246"/>
                  </a:lnTo>
                  <a:lnTo>
                    <a:pt x="557" y="237"/>
                  </a:lnTo>
                  <a:lnTo>
                    <a:pt x="562" y="229"/>
                  </a:lnTo>
                  <a:lnTo>
                    <a:pt x="566" y="220"/>
                  </a:lnTo>
                  <a:lnTo>
                    <a:pt x="570" y="209"/>
                  </a:lnTo>
                  <a:lnTo>
                    <a:pt x="571" y="198"/>
                  </a:lnTo>
                  <a:lnTo>
                    <a:pt x="571" y="193"/>
                  </a:lnTo>
                  <a:lnTo>
                    <a:pt x="569" y="188"/>
                  </a:lnTo>
                  <a:lnTo>
                    <a:pt x="567" y="184"/>
                  </a:lnTo>
                  <a:lnTo>
                    <a:pt x="563" y="180"/>
                  </a:lnTo>
                  <a:lnTo>
                    <a:pt x="557" y="172"/>
                  </a:lnTo>
                  <a:lnTo>
                    <a:pt x="547" y="165"/>
                  </a:lnTo>
                  <a:lnTo>
                    <a:pt x="538" y="158"/>
                  </a:lnTo>
                  <a:lnTo>
                    <a:pt x="531" y="150"/>
                  </a:lnTo>
                  <a:lnTo>
                    <a:pt x="527" y="146"/>
                  </a:lnTo>
                  <a:lnTo>
                    <a:pt x="525" y="142"/>
                  </a:lnTo>
                  <a:lnTo>
                    <a:pt x="523" y="137"/>
                  </a:lnTo>
                  <a:lnTo>
                    <a:pt x="523" y="132"/>
                  </a:lnTo>
                  <a:lnTo>
                    <a:pt x="529" y="117"/>
                  </a:lnTo>
                  <a:lnTo>
                    <a:pt x="538" y="100"/>
                  </a:lnTo>
                  <a:lnTo>
                    <a:pt x="539" y="94"/>
                  </a:lnTo>
                  <a:lnTo>
                    <a:pt x="541" y="90"/>
                  </a:lnTo>
                  <a:lnTo>
                    <a:pt x="541" y="85"/>
                  </a:lnTo>
                  <a:lnTo>
                    <a:pt x="541" y="78"/>
                  </a:lnTo>
                  <a:lnTo>
                    <a:pt x="539" y="73"/>
                  </a:lnTo>
                  <a:lnTo>
                    <a:pt x="538" y="67"/>
                  </a:lnTo>
                  <a:lnTo>
                    <a:pt x="534" y="61"/>
                  </a:lnTo>
                  <a:lnTo>
                    <a:pt x="529" y="55"/>
                  </a:lnTo>
                  <a:lnTo>
                    <a:pt x="498" y="68"/>
                  </a:lnTo>
                  <a:lnTo>
                    <a:pt x="465" y="78"/>
                  </a:lnTo>
                  <a:lnTo>
                    <a:pt x="447" y="84"/>
                  </a:lnTo>
                  <a:lnTo>
                    <a:pt x="429" y="86"/>
                  </a:lnTo>
                  <a:lnTo>
                    <a:pt x="410" y="89"/>
                  </a:lnTo>
                  <a:lnTo>
                    <a:pt x="390" y="90"/>
                  </a:lnTo>
                  <a:lnTo>
                    <a:pt x="369" y="90"/>
                  </a:lnTo>
                  <a:lnTo>
                    <a:pt x="349" y="89"/>
                  </a:lnTo>
                  <a:lnTo>
                    <a:pt x="345" y="88"/>
                  </a:lnTo>
                  <a:lnTo>
                    <a:pt x="342" y="85"/>
                  </a:lnTo>
                  <a:lnTo>
                    <a:pt x="338" y="82"/>
                  </a:lnTo>
                  <a:lnTo>
                    <a:pt x="336" y="80"/>
                  </a:lnTo>
                  <a:lnTo>
                    <a:pt x="334" y="76"/>
                  </a:lnTo>
                  <a:lnTo>
                    <a:pt x="332" y="72"/>
                  </a:lnTo>
                  <a:lnTo>
                    <a:pt x="332" y="67"/>
                  </a:lnTo>
                  <a:lnTo>
                    <a:pt x="330" y="60"/>
                  </a:lnTo>
                  <a:lnTo>
                    <a:pt x="325" y="7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7" name="Freeform 65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1555750" y="3424238"/>
              <a:ext cx="203200" cy="171450"/>
            </a:xfrm>
            <a:custGeom>
              <a:avLst/>
              <a:gdLst/>
              <a:ahLst/>
              <a:cxnLst>
                <a:cxn ang="0">
                  <a:pos x="195" y="25"/>
                </a:cxn>
                <a:cxn ang="0">
                  <a:pos x="215" y="55"/>
                </a:cxn>
                <a:cxn ang="0">
                  <a:pos x="242" y="72"/>
                </a:cxn>
                <a:cxn ang="0">
                  <a:pos x="286" y="51"/>
                </a:cxn>
                <a:cxn ang="0">
                  <a:pos x="298" y="29"/>
                </a:cxn>
                <a:cxn ang="0">
                  <a:pos x="316" y="17"/>
                </a:cxn>
                <a:cxn ang="0">
                  <a:pos x="368" y="12"/>
                </a:cxn>
                <a:cxn ang="0">
                  <a:pos x="378" y="36"/>
                </a:cxn>
                <a:cxn ang="0">
                  <a:pos x="375" y="69"/>
                </a:cxn>
                <a:cxn ang="0">
                  <a:pos x="383" y="88"/>
                </a:cxn>
                <a:cxn ang="0">
                  <a:pos x="402" y="96"/>
                </a:cxn>
                <a:cxn ang="0">
                  <a:pos x="438" y="96"/>
                </a:cxn>
                <a:cxn ang="0">
                  <a:pos x="458" y="97"/>
                </a:cxn>
                <a:cxn ang="0">
                  <a:pos x="468" y="104"/>
                </a:cxn>
                <a:cxn ang="0">
                  <a:pos x="475" y="152"/>
                </a:cxn>
                <a:cxn ang="0">
                  <a:pos x="440" y="204"/>
                </a:cxn>
                <a:cxn ang="0">
                  <a:pos x="383" y="251"/>
                </a:cxn>
                <a:cxn ang="0">
                  <a:pos x="359" y="285"/>
                </a:cxn>
                <a:cxn ang="0">
                  <a:pos x="356" y="317"/>
                </a:cxn>
                <a:cxn ang="0">
                  <a:pos x="356" y="385"/>
                </a:cxn>
                <a:cxn ang="0">
                  <a:pos x="354" y="432"/>
                </a:cxn>
                <a:cxn ang="0">
                  <a:pos x="343" y="452"/>
                </a:cxn>
                <a:cxn ang="0">
                  <a:pos x="327" y="461"/>
                </a:cxn>
                <a:cxn ang="0">
                  <a:pos x="302" y="464"/>
                </a:cxn>
                <a:cxn ang="0">
                  <a:pos x="276" y="460"/>
                </a:cxn>
                <a:cxn ang="0">
                  <a:pos x="234" y="439"/>
                </a:cxn>
                <a:cxn ang="0">
                  <a:pos x="199" y="407"/>
                </a:cxn>
                <a:cxn ang="0">
                  <a:pos x="187" y="385"/>
                </a:cxn>
                <a:cxn ang="0">
                  <a:pos x="186" y="352"/>
                </a:cxn>
                <a:cxn ang="0">
                  <a:pos x="186" y="335"/>
                </a:cxn>
                <a:cxn ang="0">
                  <a:pos x="180" y="324"/>
                </a:cxn>
                <a:cxn ang="0">
                  <a:pos x="163" y="313"/>
                </a:cxn>
                <a:cxn ang="0">
                  <a:pos x="135" y="291"/>
                </a:cxn>
                <a:cxn ang="0">
                  <a:pos x="111" y="263"/>
                </a:cxn>
                <a:cxn ang="0">
                  <a:pos x="96" y="255"/>
                </a:cxn>
                <a:cxn ang="0">
                  <a:pos x="46" y="251"/>
                </a:cxn>
                <a:cxn ang="0">
                  <a:pos x="20" y="243"/>
                </a:cxn>
                <a:cxn ang="0">
                  <a:pos x="2" y="216"/>
                </a:cxn>
                <a:cxn ang="0">
                  <a:pos x="2" y="183"/>
                </a:cxn>
                <a:cxn ang="0">
                  <a:pos x="16" y="165"/>
                </a:cxn>
                <a:cxn ang="0">
                  <a:pos x="40" y="160"/>
                </a:cxn>
                <a:cxn ang="0">
                  <a:pos x="68" y="156"/>
                </a:cxn>
                <a:cxn ang="0">
                  <a:pos x="91" y="147"/>
                </a:cxn>
                <a:cxn ang="0">
                  <a:pos x="103" y="120"/>
                </a:cxn>
                <a:cxn ang="0">
                  <a:pos x="122" y="64"/>
                </a:cxn>
                <a:cxn ang="0">
                  <a:pos x="151" y="23"/>
                </a:cxn>
                <a:cxn ang="0">
                  <a:pos x="187" y="7"/>
                </a:cxn>
              </a:cxnLst>
              <a:rect l="0" t="0" r="r" b="b"/>
              <a:pathLst>
                <a:path w="476" h="464">
                  <a:moveTo>
                    <a:pt x="187" y="7"/>
                  </a:moveTo>
                  <a:lnTo>
                    <a:pt x="191" y="16"/>
                  </a:lnTo>
                  <a:lnTo>
                    <a:pt x="195" y="25"/>
                  </a:lnTo>
                  <a:lnTo>
                    <a:pt x="200" y="36"/>
                  </a:lnTo>
                  <a:lnTo>
                    <a:pt x="207" y="45"/>
                  </a:lnTo>
                  <a:lnTo>
                    <a:pt x="215" y="55"/>
                  </a:lnTo>
                  <a:lnTo>
                    <a:pt x="224" y="63"/>
                  </a:lnTo>
                  <a:lnTo>
                    <a:pt x="232" y="69"/>
                  </a:lnTo>
                  <a:lnTo>
                    <a:pt x="242" y="72"/>
                  </a:lnTo>
                  <a:lnTo>
                    <a:pt x="284" y="72"/>
                  </a:lnTo>
                  <a:lnTo>
                    <a:pt x="284" y="61"/>
                  </a:lnTo>
                  <a:lnTo>
                    <a:pt x="286" y="51"/>
                  </a:lnTo>
                  <a:lnTo>
                    <a:pt x="290" y="43"/>
                  </a:lnTo>
                  <a:lnTo>
                    <a:pt x="292" y="35"/>
                  </a:lnTo>
                  <a:lnTo>
                    <a:pt x="298" y="29"/>
                  </a:lnTo>
                  <a:lnTo>
                    <a:pt x="303" y="24"/>
                  </a:lnTo>
                  <a:lnTo>
                    <a:pt x="310" y="20"/>
                  </a:lnTo>
                  <a:lnTo>
                    <a:pt x="316" y="17"/>
                  </a:lnTo>
                  <a:lnTo>
                    <a:pt x="332" y="13"/>
                  </a:lnTo>
                  <a:lnTo>
                    <a:pt x="350" y="12"/>
                  </a:lnTo>
                  <a:lnTo>
                    <a:pt x="368" y="12"/>
                  </a:lnTo>
                  <a:lnTo>
                    <a:pt x="386" y="12"/>
                  </a:lnTo>
                  <a:lnTo>
                    <a:pt x="382" y="25"/>
                  </a:lnTo>
                  <a:lnTo>
                    <a:pt x="378" y="36"/>
                  </a:lnTo>
                  <a:lnTo>
                    <a:pt x="375" y="48"/>
                  </a:lnTo>
                  <a:lnTo>
                    <a:pt x="374" y="60"/>
                  </a:lnTo>
                  <a:lnTo>
                    <a:pt x="375" y="69"/>
                  </a:lnTo>
                  <a:lnTo>
                    <a:pt x="376" y="76"/>
                  </a:lnTo>
                  <a:lnTo>
                    <a:pt x="379" y="83"/>
                  </a:lnTo>
                  <a:lnTo>
                    <a:pt x="383" y="88"/>
                  </a:lnTo>
                  <a:lnTo>
                    <a:pt x="388" y="91"/>
                  </a:lnTo>
                  <a:lnTo>
                    <a:pt x="395" y="95"/>
                  </a:lnTo>
                  <a:lnTo>
                    <a:pt x="402" y="96"/>
                  </a:lnTo>
                  <a:lnTo>
                    <a:pt x="410" y="96"/>
                  </a:lnTo>
                  <a:lnTo>
                    <a:pt x="426" y="96"/>
                  </a:lnTo>
                  <a:lnTo>
                    <a:pt x="438" y="96"/>
                  </a:lnTo>
                  <a:lnTo>
                    <a:pt x="447" y="96"/>
                  </a:lnTo>
                  <a:lnTo>
                    <a:pt x="452" y="96"/>
                  </a:lnTo>
                  <a:lnTo>
                    <a:pt x="458" y="97"/>
                  </a:lnTo>
                  <a:lnTo>
                    <a:pt x="462" y="99"/>
                  </a:lnTo>
                  <a:lnTo>
                    <a:pt x="466" y="101"/>
                  </a:lnTo>
                  <a:lnTo>
                    <a:pt x="468" y="104"/>
                  </a:lnTo>
                  <a:lnTo>
                    <a:pt x="471" y="113"/>
                  </a:lnTo>
                  <a:lnTo>
                    <a:pt x="474" y="125"/>
                  </a:lnTo>
                  <a:lnTo>
                    <a:pt x="475" y="152"/>
                  </a:lnTo>
                  <a:lnTo>
                    <a:pt x="476" y="181"/>
                  </a:lnTo>
                  <a:lnTo>
                    <a:pt x="459" y="191"/>
                  </a:lnTo>
                  <a:lnTo>
                    <a:pt x="440" y="204"/>
                  </a:lnTo>
                  <a:lnTo>
                    <a:pt x="420" y="219"/>
                  </a:lnTo>
                  <a:lnTo>
                    <a:pt x="400" y="235"/>
                  </a:lnTo>
                  <a:lnTo>
                    <a:pt x="383" y="251"/>
                  </a:lnTo>
                  <a:lnTo>
                    <a:pt x="368" y="268"/>
                  </a:lnTo>
                  <a:lnTo>
                    <a:pt x="363" y="276"/>
                  </a:lnTo>
                  <a:lnTo>
                    <a:pt x="359" y="285"/>
                  </a:lnTo>
                  <a:lnTo>
                    <a:pt x="356" y="293"/>
                  </a:lnTo>
                  <a:lnTo>
                    <a:pt x="356" y="301"/>
                  </a:lnTo>
                  <a:lnTo>
                    <a:pt x="356" y="317"/>
                  </a:lnTo>
                  <a:lnTo>
                    <a:pt x="356" y="335"/>
                  </a:lnTo>
                  <a:lnTo>
                    <a:pt x="356" y="356"/>
                  </a:lnTo>
                  <a:lnTo>
                    <a:pt x="356" y="385"/>
                  </a:lnTo>
                  <a:lnTo>
                    <a:pt x="356" y="403"/>
                  </a:lnTo>
                  <a:lnTo>
                    <a:pt x="355" y="419"/>
                  </a:lnTo>
                  <a:lnTo>
                    <a:pt x="354" y="432"/>
                  </a:lnTo>
                  <a:lnTo>
                    <a:pt x="350" y="443"/>
                  </a:lnTo>
                  <a:lnTo>
                    <a:pt x="347" y="448"/>
                  </a:lnTo>
                  <a:lnTo>
                    <a:pt x="343" y="452"/>
                  </a:lnTo>
                  <a:lnTo>
                    <a:pt x="339" y="456"/>
                  </a:lnTo>
                  <a:lnTo>
                    <a:pt x="334" y="459"/>
                  </a:lnTo>
                  <a:lnTo>
                    <a:pt x="327" y="461"/>
                  </a:lnTo>
                  <a:lnTo>
                    <a:pt x="320" y="463"/>
                  </a:lnTo>
                  <a:lnTo>
                    <a:pt x="311" y="464"/>
                  </a:lnTo>
                  <a:lnTo>
                    <a:pt x="302" y="464"/>
                  </a:lnTo>
                  <a:lnTo>
                    <a:pt x="294" y="464"/>
                  </a:lnTo>
                  <a:lnTo>
                    <a:pt x="286" y="461"/>
                  </a:lnTo>
                  <a:lnTo>
                    <a:pt x="276" y="460"/>
                  </a:lnTo>
                  <a:lnTo>
                    <a:pt x="268" y="457"/>
                  </a:lnTo>
                  <a:lnTo>
                    <a:pt x="250" y="448"/>
                  </a:lnTo>
                  <a:lnTo>
                    <a:pt x="234" y="439"/>
                  </a:lnTo>
                  <a:lnTo>
                    <a:pt x="218" y="427"/>
                  </a:lnTo>
                  <a:lnTo>
                    <a:pt x="204" y="413"/>
                  </a:lnTo>
                  <a:lnTo>
                    <a:pt x="199" y="407"/>
                  </a:lnTo>
                  <a:lnTo>
                    <a:pt x="194" y="399"/>
                  </a:lnTo>
                  <a:lnTo>
                    <a:pt x="190" y="392"/>
                  </a:lnTo>
                  <a:lnTo>
                    <a:pt x="187" y="385"/>
                  </a:lnTo>
                  <a:lnTo>
                    <a:pt x="184" y="373"/>
                  </a:lnTo>
                  <a:lnTo>
                    <a:pt x="184" y="361"/>
                  </a:lnTo>
                  <a:lnTo>
                    <a:pt x="186" y="352"/>
                  </a:lnTo>
                  <a:lnTo>
                    <a:pt x="187" y="343"/>
                  </a:lnTo>
                  <a:lnTo>
                    <a:pt x="187" y="339"/>
                  </a:lnTo>
                  <a:lnTo>
                    <a:pt x="186" y="335"/>
                  </a:lnTo>
                  <a:lnTo>
                    <a:pt x="186" y="331"/>
                  </a:lnTo>
                  <a:lnTo>
                    <a:pt x="183" y="327"/>
                  </a:lnTo>
                  <a:lnTo>
                    <a:pt x="180" y="324"/>
                  </a:lnTo>
                  <a:lnTo>
                    <a:pt x="176" y="320"/>
                  </a:lnTo>
                  <a:lnTo>
                    <a:pt x="170" y="316"/>
                  </a:lnTo>
                  <a:lnTo>
                    <a:pt x="163" y="313"/>
                  </a:lnTo>
                  <a:lnTo>
                    <a:pt x="152" y="308"/>
                  </a:lnTo>
                  <a:lnTo>
                    <a:pt x="143" y="300"/>
                  </a:lnTo>
                  <a:lnTo>
                    <a:pt x="135" y="291"/>
                  </a:lnTo>
                  <a:lnTo>
                    <a:pt x="127" y="281"/>
                  </a:lnTo>
                  <a:lnTo>
                    <a:pt x="119" y="272"/>
                  </a:lnTo>
                  <a:lnTo>
                    <a:pt x="111" y="263"/>
                  </a:lnTo>
                  <a:lnTo>
                    <a:pt x="106" y="260"/>
                  </a:lnTo>
                  <a:lnTo>
                    <a:pt x="102" y="257"/>
                  </a:lnTo>
                  <a:lnTo>
                    <a:pt x="96" y="255"/>
                  </a:lnTo>
                  <a:lnTo>
                    <a:pt x="91" y="253"/>
                  </a:lnTo>
                  <a:lnTo>
                    <a:pt x="66" y="251"/>
                  </a:lnTo>
                  <a:lnTo>
                    <a:pt x="46" y="251"/>
                  </a:lnTo>
                  <a:lnTo>
                    <a:pt x="36" y="249"/>
                  </a:lnTo>
                  <a:lnTo>
                    <a:pt x="27" y="247"/>
                  </a:lnTo>
                  <a:lnTo>
                    <a:pt x="20" y="243"/>
                  </a:lnTo>
                  <a:lnTo>
                    <a:pt x="12" y="235"/>
                  </a:lnTo>
                  <a:lnTo>
                    <a:pt x="6" y="224"/>
                  </a:lnTo>
                  <a:lnTo>
                    <a:pt x="2" y="216"/>
                  </a:lnTo>
                  <a:lnTo>
                    <a:pt x="0" y="207"/>
                  </a:lnTo>
                  <a:lnTo>
                    <a:pt x="0" y="193"/>
                  </a:lnTo>
                  <a:lnTo>
                    <a:pt x="2" y="183"/>
                  </a:lnTo>
                  <a:lnTo>
                    <a:pt x="4" y="175"/>
                  </a:lnTo>
                  <a:lnTo>
                    <a:pt x="10" y="169"/>
                  </a:lnTo>
                  <a:lnTo>
                    <a:pt x="16" y="165"/>
                  </a:lnTo>
                  <a:lnTo>
                    <a:pt x="23" y="163"/>
                  </a:lnTo>
                  <a:lnTo>
                    <a:pt x="31" y="161"/>
                  </a:lnTo>
                  <a:lnTo>
                    <a:pt x="40" y="160"/>
                  </a:lnTo>
                  <a:lnTo>
                    <a:pt x="50" y="159"/>
                  </a:lnTo>
                  <a:lnTo>
                    <a:pt x="59" y="157"/>
                  </a:lnTo>
                  <a:lnTo>
                    <a:pt x="68" y="156"/>
                  </a:lnTo>
                  <a:lnTo>
                    <a:pt x="76" y="155"/>
                  </a:lnTo>
                  <a:lnTo>
                    <a:pt x="84" y="151"/>
                  </a:lnTo>
                  <a:lnTo>
                    <a:pt x="91" y="147"/>
                  </a:lnTo>
                  <a:lnTo>
                    <a:pt x="96" y="140"/>
                  </a:lnTo>
                  <a:lnTo>
                    <a:pt x="100" y="132"/>
                  </a:lnTo>
                  <a:lnTo>
                    <a:pt x="103" y="120"/>
                  </a:lnTo>
                  <a:lnTo>
                    <a:pt x="108" y="99"/>
                  </a:lnTo>
                  <a:lnTo>
                    <a:pt x="114" y="80"/>
                  </a:lnTo>
                  <a:lnTo>
                    <a:pt x="122" y="64"/>
                  </a:lnTo>
                  <a:lnTo>
                    <a:pt x="130" y="49"/>
                  </a:lnTo>
                  <a:lnTo>
                    <a:pt x="140" y="36"/>
                  </a:lnTo>
                  <a:lnTo>
                    <a:pt x="151" y="23"/>
                  </a:lnTo>
                  <a:lnTo>
                    <a:pt x="162" y="12"/>
                  </a:lnTo>
                  <a:lnTo>
                    <a:pt x="175" y="0"/>
                  </a:lnTo>
                  <a:lnTo>
                    <a:pt x="187" y="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8" name="Freeform 66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2127250" y="3736975"/>
              <a:ext cx="301625" cy="227013"/>
            </a:xfrm>
            <a:custGeom>
              <a:avLst/>
              <a:gdLst/>
              <a:ahLst/>
              <a:cxnLst>
                <a:cxn ang="0">
                  <a:pos x="201" y="601"/>
                </a:cxn>
                <a:cxn ang="0">
                  <a:pos x="237" y="590"/>
                </a:cxn>
                <a:cxn ang="0">
                  <a:pos x="293" y="580"/>
                </a:cxn>
                <a:cxn ang="0">
                  <a:pos x="319" y="570"/>
                </a:cxn>
                <a:cxn ang="0">
                  <a:pos x="380" y="502"/>
                </a:cxn>
                <a:cxn ang="0">
                  <a:pos x="407" y="478"/>
                </a:cxn>
                <a:cxn ang="0">
                  <a:pos x="436" y="461"/>
                </a:cxn>
                <a:cxn ang="0">
                  <a:pos x="471" y="457"/>
                </a:cxn>
                <a:cxn ang="0">
                  <a:pos x="503" y="445"/>
                </a:cxn>
                <a:cxn ang="0">
                  <a:pos x="525" y="422"/>
                </a:cxn>
                <a:cxn ang="0">
                  <a:pos x="555" y="376"/>
                </a:cxn>
                <a:cxn ang="0">
                  <a:pos x="583" y="338"/>
                </a:cxn>
                <a:cxn ang="0">
                  <a:pos x="595" y="326"/>
                </a:cxn>
                <a:cxn ang="0">
                  <a:pos x="627" y="310"/>
                </a:cxn>
                <a:cxn ang="0">
                  <a:pos x="647" y="295"/>
                </a:cxn>
                <a:cxn ang="0">
                  <a:pos x="660" y="279"/>
                </a:cxn>
                <a:cxn ang="0">
                  <a:pos x="664" y="259"/>
                </a:cxn>
                <a:cxn ang="0">
                  <a:pos x="668" y="221"/>
                </a:cxn>
                <a:cxn ang="0">
                  <a:pos x="675" y="204"/>
                </a:cxn>
                <a:cxn ang="0">
                  <a:pos x="691" y="193"/>
                </a:cxn>
                <a:cxn ang="0">
                  <a:pos x="676" y="157"/>
                </a:cxn>
                <a:cxn ang="0">
                  <a:pos x="631" y="69"/>
                </a:cxn>
                <a:cxn ang="0">
                  <a:pos x="593" y="29"/>
                </a:cxn>
                <a:cxn ang="0">
                  <a:pos x="581" y="44"/>
                </a:cxn>
                <a:cxn ang="0">
                  <a:pos x="579" y="67"/>
                </a:cxn>
                <a:cxn ang="0">
                  <a:pos x="549" y="67"/>
                </a:cxn>
                <a:cxn ang="0">
                  <a:pos x="513" y="61"/>
                </a:cxn>
                <a:cxn ang="0">
                  <a:pos x="477" y="40"/>
                </a:cxn>
                <a:cxn ang="0">
                  <a:pos x="447" y="0"/>
                </a:cxn>
                <a:cxn ang="0">
                  <a:pos x="440" y="29"/>
                </a:cxn>
                <a:cxn ang="0">
                  <a:pos x="427" y="56"/>
                </a:cxn>
                <a:cxn ang="0">
                  <a:pos x="409" y="79"/>
                </a:cxn>
                <a:cxn ang="0">
                  <a:pos x="387" y="95"/>
                </a:cxn>
                <a:cxn ang="0">
                  <a:pos x="360" y="101"/>
                </a:cxn>
                <a:cxn ang="0">
                  <a:pos x="331" y="99"/>
                </a:cxn>
                <a:cxn ang="0">
                  <a:pos x="281" y="73"/>
                </a:cxn>
                <a:cxn ang="0">
                  <a:pos x="193" y="27"/>
                </a:cxn>
                <a:cxn ang="0">
                  <a:pos x="152" y="13"/>
                </a:cxn>
                <a:cxn ang="0">
                  <a:pos x="127" y="16"/>
                </a:cxn>
                <a:cxn ang="0">
                  <a:pos x="113" y="33"/>
                </a:cxn>
                <a:cxn ang="0">
                  <a:pos x="109" y="55"/>
                </a:cxn>
                <a:cxn ang="0">
                  <a:pos x="64" y="47"/>
                </a:cxn>
                <a:cxn ang="0">
                  <a:pos x="37" y="65"/>
                </a:cxn>
                <a:cxn ang="0">
                  <a:pos x="31" y="92"/>
                </a:cxn>
                <a:cxn ang="0">
                  <a:pos x="32" y="123"/>
                </a:cxn>
                <a:cxn ang="0">
                  <a:pos x="40" y="152"/>
                </a:cxn>
                <a:cxn ang="0">
                  <a:pos x="40" y="184"/>
                </a:cxn>
                <a:cxn ang="0">
                  <a:pos x="29" y="203"/>
                </a:cxn>
                <a:cxn ang="0">
                  <a:pos x="7" y="221"/>
                </a:cxn>
                <a:cxn ang="0">
                  <a:pos x="1" y="235"/>
                </a:cxn>
                <a:cxn ang="0">
                  <a:pos x="4" y="263"/>
                </a:cxn>
                <a:cxn ang="0">
                  <a:pos x="17" y="291"/>
                </a:cxn>
                <a:cxn ang="0">
                  <a:pos x="40" y="316"/>
                </a:cxn>
                <a:cxn ang="0">
                  <a:pos x="104" y="380"/>
                </a:cxn>
                <a:cxn ang="0">
                  <a:pos x="124" y="420"/>
                </a:cxn>
                <a:cxn ang="0">
                  <a:pos x="155" y="513"/>
                </a:cxn>
                <a:cxn ang="0">
                  <a:pos x="179" y="572"/>
                </a:cxn>
                <a:cxn ang="0">
                  <a:pos x="187" y="608"/>
                </a:cxn>
              </a:cxnLst>
              <a:rect l="0" t="0" r="r" b="b"/>
              <a:pathLst>
                <a:path w="698" h="608">
                  <a:moveTo>
                    <a:pt x="187" y="608"/>
                  </a:moveTo>
                  <a:lnTo>
                    <a:pt x="195" y="604"/>
                  </a:lnTo>
                  <a:lnTo>
                    <a:pt x="201" y="601"/>
                  </a:lnTo>
                  <a:lnTo>
                    <a:pt x="211" y="597"/>
                  </a:lnTo>
                  <a:lnTo>
                    <a:pt x="219" y="594"/>
                  </a:lnTo>
                  <a:lnTo>
                    <a:pt x="237" y="590"/>
                  </a:lnTo>
                  <a:lnTo>
                    <a:pt x="256" y="588"/>
                  </a:lnTo>
                  <a:lnTo>
                    <a:pt x="276" y="584"/>
                  </a:lnTo>
                  <a:lnTo>
                    <a:pt x="293" y="580"/>
                  </a:lnTo>
                  <a:lnTo>
                    <a:pt x="303" y="577"/>
                  </a:lnTo>
                  <a:lnTo>
                    <a:pt x="311" y="574"/>
                  </a:lnTo>
                  <a:lnTo>
                    <a:pt x="319" y="570"/>
                  </a:lnTo>
                  <a:lnTo>
                    <a:pt x="325" y="566"/>
                  </a:lnTo>
                  <a:lnTo>
                    <a:pt x="351" y="538"/>
                  </a:lnTo>
                  <a:lnTo>
                    <a:pt x="380" y="502"/>
                  </a:lnTo>
                  <a:lnTo>
                    <a:pt x="389" y="494"/>
                  </a:lnTo>
                  <a:lnTo>
                    <a:pt x="397" y="485"/>
                  </a:lnTo>
                  <a:lnTo>
                    <a:pt x="407" y="478"/>
                  </a:lnTo>
                  <a:lnTo>
                    <a:pt x="416" y="472"/>
                  </a:lnTo>
                  <a:lnTo>
                    <a:pt x="427" y="465"/>
                  </a:lnTo>
                  <a:lnTo>
                    <a:pt x="436" y="461"/>
                  </a:lnTo>
                  <a:lnTo>
                    <a:pt x="447" y="458"/>
                  </a:lnTo>
                  <a:lnTo>
                    <a:pt x="459" y="457"/>
                  </a:lnTo>
                  <a:lnTo>
                    <a:pt x="471" y="457"/>
                  </a:lnTo>
                  <a:lnTo>
                    <a:pt x="483" y="454"/>
                  </a:lnTo>
                  <a:lnTo>
                    <a:pt x="493" y="450"/>
                  </a:lnTo>
                  <a:lnTo>
                    <a:pt x="503" y="445"/>
                  </a:lnTo>
                  <a:lnTo>
                    <a:pt x="511" y="438"/>
                  </a:lnTo>
                  <a:lnTo>
                    <a:pt x="519" y="430"/>
                  </a:lnTo>
                  <a:lnTo>
                    <a:pt x="525" y="422"/>
                  </a:lnTo>
                  <a:lnTo>
                    <a:pt x="532" y="414"/>
                  </a:lnTo>
                  <a:lnTo>
                    <a:pt x="544" y="396"/>
                  </a:lnTo>
                  <a:lnTo>
                    <a:pt x="555" y="376"/>
                  </a:lnTo>
                  <a:lnTo>
                    <a:pt x="565" y="358"/>
                  </a:lnTo>
                  <a:lnTo>
                    <a:pt x="579" y="344"/>
                  </a:lnTo>
                  <a:lnTo>
                    <a:pt x="583" y="338"/>
                  </a:lnTo>
                  <a:lnTo>
                    <a:pt x="587" y="333"/>
                  </a:lnTo>
                  <a:lnTo>
                    <a:pt x="591" y="329"/>
                  </a:lnTo>
                  <a:lnTo>
                    <a:pt x="595" y="326"/>
                  </a:lnTo>
                  <a:lnTo>
                    <a:pt x="605" y="320"/>
                  </a:lnTo>
                  <a:lnTo>
                    <a:pt x="616" y="316"/>
                  </a:lnTo>
                  <a:lnTo>
                    <a:pt x="627" y="310"/>
                  </a:lnTo>
                  <a:lnTo>
                    <a:pt x="637" y="304"/>
                  </a:lnTo>
                  <a:lnTo>
                    <a:pt x="643" y="300"/>
                  </a:lnTo>
                  <a:lnTo>
                    <a:pt x="647" y="295"/>
                  </a:lnTo>
                  <a:lnTo>
                    <a:pt x="652" y="289"/>
                  </a:lnTo>
                  <a:lnTo>
                    <a:pt x="657" y="283"/>
                  </a:lnTo>
                  <a:lnTo>
                    <a:pt x="660" y="279"/>
                  </a:lnTo>
                  <a:lnTo>
                    <a:pt x="661" y="272"/>
                  </a:lnTo>
                  <a:lnTo>
                    <a:pt x="664" y="265"/>
                  </a:lnTo>
                  <a:lnTo>
                    <a:pt x="664" y="259"/>
                  </a:lnTo>
                  <a:lnTo>
                    <a:pt x="665" y="244"/>
                  </a:lnTo>
                  <a:lnTo>
                    <a:pt x="667" y="229"/>
                  </a:lnTo>
                  <a:lnTo>
                    <a:pt x="668" y="221"/>
                  </a:lnTo>
                  <a:lnTo>
                    <a:pt x="669" y="215"/>
                  </a:lnTo>
                  <a:lnTo>
                    <a:pt x="672" y="209"/>
                  </a:lnTo>
                  <a:lnTo>
                    <a:pt x="675" y="204"/>
                  </a:lnTo>
                  <a:lnTo>
                    <a:pt x="679" y="199"/>
                  </a:lnTo>
                  <a:lnTo>
                    <a:pt x="684" y="196"/>
                  </a:lnTo>
                  <a:lnTo>
                    <a:pt x="691" y="193"/>
                  </a:lnTo>
                  <a:lnTo>
                    <a:pt x="698" y="193"/>
                  </a:lnTo>
                  <a:lnTo>
                    <a:pt x="688" y="176"/>
                  </a:lnTo>
                  <a:lnTo>
                    <a:pt x="676" y="157"/>
                  </a:lnTo>
                  <a:lnTo>
                    <a:pt x="665" y="137"/>
                  </a:lnTo>
                  <a:lnTo>
                    <a:pt x="653" y="115"/>
                  </a:lnTo>
                  <a:lnTo>
                    <a:pt x="631" y="69"/>
                  </a:lnTo>
                  <a:lnTo>
                    <a:pt x="609" y="24"/>
                  </a:lnTo>
                  <a:lnTo>
                    <a:pt x="600" y="27"/>
                  </a:lnTo>
                  <a:lnTo>
                    <a:pt x="593" y="29"/>
                  </a:lnTo>
                  <a:lnTo>
                    <a:pt x="588" y="33"/>
                  </a:lnTo>
                  <a:lnTo>
                    <a:pt x="584" y="39"/>
                  </a:lnTo>
                  <a:lnTo>
                    <a:pt x="581" y="44"/>
                  </a:lnTo>
                  <a:lnTo>
                    <a:pt x="580" y="51"/>
                  </a:lnTo>
                  <a:lnTo>
                    <a:pt x="579" y="57"/>
                  </a:lnTo>
                  <a:lnTo>
                    <a:pt x="579" y="67"/>
                  </a:lnTo>
                  <a:lnTo>
                    <a:pt x="569" y="67"/>
                  </a:lnTo>
                  <a:lnTo>
                    <a:pt x="560" y="67"/>
                  </a:lnTo>
                  <a:lnTo>
                    <a:pt x="549" y="67"/>
                  </a:lnTo>
                  <a:lnTo>
                    <a:pt x="536" y="67"/>
                  </a:lnTo>
                  <a:lnTo>
                    <a:pt x="525" y="65"/>
                  </a:lnTo>
                  <a:lnTo>
                    <a:pt x="513" y="61"/>
                  </a:lnTo>
                  <a:lnTo>
                    <a:pt x="501" y="56"/>
                  </a:lnTo>
                  <a:lnTo>
                    <a:pt x="489" y="49"/>
                  </a:lnTo>
                  <a:lnTo>
                    <a:pt x="477" y="40"/>
                  </a:lnTo>
                  <a:lnTo>
                    <a:pt x="467" y="28"/>
                  </a:lnTo>
                  <a:lnTo>
                    <a:pt x="456" y="15"/>
                  </a:lnTo>
                  <a:lnTo>
                    <a:pt x="447" y="0"/>
                  </a:lnTo>
                  <a:lnTo>
                    <a:pt x="444" y="11"/>
                  </a:lnTo>
                  <a:lnTo>
                    <a:pt x="443" y="20"/>
                  </a:lnTo>
                  <a:lnTo>
                    <a:pt x="440" y="29"/>
                  </a:lnTo>
                  <a:lnTo>
                    <a:pt x="436" y="39"/>
                  </a:lnTo>
                  <a:lnTo>
                    <a:pt x="432" y="48"/>
                  </a:lnTo>
                  <a:lnTo>
                    <a:pt x="427" y="56"/>
                  </a:lnTo>
                  <a:lnTo>
                    <a:pt x="421" y="64"/>
                  </a:lnTo>
                  <a:lnTo>
                    <a:pt x="416" y="72"/>
                  </a:lnTo>
                  <a:lnTo>
                    <a:pt x="409" y="79"/>
                  </a:lnTo>
                  <a:lnTo>
                    <a:pt x="403" y="84"/>
                  </a:lnTo>
                  <a:lnTo>
                    <a:pt x="395" y="89"/>
                  </a:lnTo>
                  <a:lnTo>
                    <a:pt x="387" y="95"/>
                  </a:lnTo>
                  <a:lnTo>
                    <a:pt x="379" y="97"/>
                  </a:lnTo>
                  <a:lnTo>
                    <a:pt x="369" y="100"/>
                  </a:lnTo>
                  <a:lnTo>
                    <a:pt x="360" y="101"/>
                  </a:lnTo>
                  <a:lnTo>
                    <a:pt x="349" y="103"/>
                  </a:lnTo>
                  <a:lnTo>
                    <a:pt x="341" y="101"/>
                  </a:lnTo>
                  <a:lnTo>
                    <a:pt x="331" y="99"/>
                  </a:lnTo>
                  <a:lnTo>
                    <a:pt x="320" y="95"/>
                  </a:lnTo>
                  <a:lnTo>
                    <a:pt x="308" y="88"/>
                  </a:lnTo>
                  <a:lnTo>
                    <a:pt x="281" y="73"/>
                  </a:lnTo>
                  <a:lnTo>
                    <a:pt x="253" y="57"/>
                  </a:lnTo>
                  <a:lnTo>
                    <a:pt x="224" y="41"/>
                  </a:lnTo>
                  <a:lnTo>
                    <a:pt x="193" y="27"/>
                  </a:lnTo>
                  <a:lnTo>
                    <a:pt x="179" y="20"/>
                  </a:lnTo>
                  <a:lnTo>
                    <a:pt x="165" y="16"/>
                  </a:lnTo>
                  <a:lnTo>
                    <a:pt x="152" y="13"/>
                  </a:lnTo>
                  <a:lnTo>
                    <a:pt x="139" y="12"/>
                  </a:lnTo>
                  <a:lnTo>
                    <a:pt x="132" y="13"/>
                  </a:lnTo>
                  <a:lnTo>
                    <a:pt x="127" y="16"/>
                  </a:lnTo>
                  <a:lnTo>
                    <a:pt x="121" y="20"/>
                  </a:lnTo>
                  <a:lnTo>
                    <a:pt x="117" y="27"/>
                  </a:lnTo>
                  <a:lnTo>
                    <a:pt x="113" y="33"/>
                  </a:lnTo>
                  <a:lnTo>
                    <a:pt x="111" y="40"/>
                  </a:lnTo>
                  <a:lnTo>
                    <a:pt x="109" y="47"/>
                  </a:lnTo>
                  <a:lnTo>
                    <a:pt x="109" y="55"/>
                  </a:lnTo>
                  <a:lnTo>
                    <a:pt x="92" y="53"/>
                  </a:lnTo>
                  <a:lnTo>
                    <a:pt x="77" y="51"/>
                  </a:lnTo>
                  <a:lnTo>
                    <a:pt x="64" y="47"/>
                  </a:lnTo>
                  <a:lnTo>
                    <a:pt x="55" y="43"/>
                  </a:lnTo>
                  <a:lnTo>
                    <a:pt x="45" y="52"/>
                  </a:lnTo>
                  <a:lnTo>
                    <a:pt x="37" y="65"/>
                  </a:lnTo>
                  <a:lnTo>
                    <a:pt x="35" y="73"/>
                  </a:lnTo>
                  <a:lnTo>
                    <a:pt x="32" y="83"/>
                  </a:lnTo>
                  <a:lnTo>
                    <a:pt x="31" y="92"/>
                  </a:lnTo>
                  <a:lnTo>
                    <a:pt x="31" y="103"/>
                  </a:lnTo>
                  <a:lnTo>
                    <a:pt x="31" y="113"/>
                  </a:lnTo>
                  <a:lnTo>
                    <a:pt x="32" y="123"/>
                  </a:lnTo>
                  <a:lnTo>
                    <a:pt x="35" y="131"/>
                  </a:lnTo>
                  <a:lnTo>
                    <a:pt x="36" y="137"/>
                  </a:lnTo>
                  <a:lnTo>
                    <a:pt x="40" y="152"/>
                  </a:lnTo>
                  <a:lnTo>
                    <a:pt x="43" y="169"/>
                  </a:lnTo>
                  <a:lnTo>
                    <a:pt x="41" y="177"/>
                  </a:lnTo>
                  <a:lnTo>
                    <a:pt x="40" y="184"/>
                  </a:lnTo>
                  <a:lnTo>
                    <a:pt x="39" y="191"/>
                  </a:lnTo>
                  <a:lnTo>
                    <a:pt x="36" y="195"/>
                  </a:lnTo>
                  <a:lnTo>
                    <a:pt x="29" y="203"/>
                  </a:lnTo>
                  <a:lnTo>
                    <a:pt x="21" y="209"/>
                  </a:lnTo>
                  <a:lnTo>
                    <a:pt x="13" y="215"/>
                  </a:lnTo>
                  <a:lnTo>
                    <a:pt x="7" y="221"/>
                  </a:lnTo>
                  <a:lnTo>
                    <a:pt x="4" y="225"/>
                  </a:lnTo>
                  <a:lnTo>
                    <a:pt x="3" y="229"/>
                  </a:lnTo>
                  <a:lnTo>
                    <a:pt x="1" y="235"/>
                  </a:lnTo>
                  <a:lnTo>
                    <a:pt x="0" y="241"/>
                  </a:lnTo>
                  <a:lnTo>
                    <a:pt x="1" y="252"/>
                  </a:lnTo>
                  <a:lnTo>
                    <a:pt x="4" y="263"/>
                  </a:lnTo>
                  <a:lnTo>
                    <a:pt x="7" y="272"/>
                  </a:lnTo>
                  <a:lnTo>
                    <a:pt x="12" y="281"/>
                  </a:lnTo>
                  <a:lnTo>
                    <a:pt x="17" y="291"/>
                  </a:lnTo>
                  <a:lnTo>
                    <a:pt x="24" y="300"/>
                  </a:lnTo>
                  <a:lnTo>
                    <a:pt x="32" y="308"/>
                  </a:lnTo>
                  <a:lnTo>
                    <a:pt x="40" y="316"/>
                  </a:lnTo>
                  <a:lnTo>
                    <a:pt x="72" y="344"/>
                  </a:lnTo>
                  <a:lnTo>
                    <a:pt x="96" y="368"/>
                  </a:lnTo>
                  <a:lnTo>
                    <a:pt x="104" y="380"/>
                  </a:lnTo>
                  <a:lnTo>
                    <a:pt x="111" y="392"/>
                  </a:lnTo>
                  <a:lnTo>
                    <a:pt x="117" y="405"/>
                  </a:lnTo>
                  <a:lnTo>
                    <a:pt x="124" y="420"/>
                  </a:lnTo>
                  <a:lnTo>
                    <a:pt x="135" y="450"/>
                  </a:lnTo>
                  <a:lnTo>
                    <a:pt x="145" y="481"/>
                  </a:lnTo>
                  <a:lnTo>
                    <a:pt x="155" y="513"/>
                  </a:lnTo>
                  <a:lnTo>
                    <a:pt x="167" y="544"/>
                  </a:lnTo>
                  <a:lnTo>
                    <a:pt x="172" y="558"/>
                  </a:lnTo>
                  <a:lnTo>
                    <a:pt x="179" y="572"/>
                  </a:lnTo>
                  <a:lnTo>
                    <a:pt x="185" y="584"/>
                  </a:lnTo>
                  <a:lnTo>
                    <a:pt x="193" y="596"/>
                  </a:lnTo>
                  <a:lnTo>
                    <a:pt x="187" y="60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99" name="Freeform 67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2043113" y="3603625"/>
              <a:ext cx="276225" cy="206374"/>
            </a:xfrm>
            <a:custGeom>
              <a:avLst/>
              <a:gdLst/>
              <a:ahLst/>
              <a:cxnLst>
                <a:cxn ang="0">
                  <a:pos x="143" y="533"/>
                </a:cxn>
                <a:cxn ang="0">
                  <a:pos x="46" y="503"/>
                </a:cxn>
                <a:cxn ang="0">
                  <a:pos x="5" y="476"/>
                </a:cxn>
                <a:cxn ang="0">
                  <a:pos x="1" y="455"/>
                </a:cxn>
                <a:cxn ang="0">
                  <a:pos x="34" y="412"/>
                </a:cxn>
                <a:cxn ang="0">
                  <a:pos x="84" y="372"/>
                </a:cxn>
                <a:cxn ang="0">
                  <a:pos x="108" y="332"/>
                </a:cxn>
                <a:cxn ang="0">
                  <a:pos x="105" y="307"/>
                </a:cxn>
                <a:cxn ang="0">
                  <a:pos x="88" y="288"/>
                </a:cxn>
                <a:cxn ang="0">
                  <a:pos x="78" y="271"/>
                </a:cxn>
                <a:cxn ang="0">
                  <a:pos x="88" y="233"/>
                </a:cxn>
                <a:cxn ang="0">
                  <a:pos x="106" y="192"/>
                </a:cxn>
                <a:cxn ang="0">
                  <a:pos x="105" y="140"/>
                </a:cxn>
                <a:cxn ang="0">
                  <a:pos x="86" y="112"/>
                </a:cxn>
                <a:cxn ang="0">
                  <a:pos x="108" y="74"/>
                </a:cxn>
                <a:cxn ang="0">
                  <a:pos x="151" y="88"/>
                </a:cxn>
                <a:cxn ang="0">
                  <a:pos x="198" y="103"/>
                </a:cxn>
                <a:cxn ang="0">
                  <a:pos x="222" y="93"/>
                </a:cxn>
                <a:cxn ang="0">
                  <a:pos x="235" y="68"/>
                </a:cxn>
                <a:cxn ang="0">
                  <a:pos x="241" y="0"/>
                </a:cxn>
                <a:cxn ang="0">
                  <a:pos x="262" y="36"/>
                </a:cxn>
                <a:cxn ang="0">
                  <a:pos x="329" y="107"/>
                </a:cxn>
                <a:cxn ang="0">
                  <a:pos x="373" y="123"/>
                </a:cxn>
                <a:cxn ang="0">
                  <a:pos x="422" y="123"/>
                </a:cxn>
                <a:cxn ang="0">
                  <a:pos x="453" y="136"/>
                </a:cxn>
                <a:cxn ang="0">
                  <a:pos x="466" y="171"/>
                </a:cxn>
                <a:cxn ang="0">
                  <a:pos x="479" y="193"/>
                </a:cxn>
                <a:cxn ang="0">
                  <a:pos x="506" y="205"/>
                </a:cxn>
                <a:cxn ang="0">
                  <a:pos x="578" y="200"/>
                </a:cxn>
                <a:cxn ang="0">
                  <a:pos x="595" y="204"/>
                </a:cxn>
                <a:cxn ang="0">
                  <a:pos x="601" y="219"/>
                </a:cxn>
                <a:cxn ang="0">
                  <a:pos x="605" y="280"/>
                </a:cxn>
                <a:cxn ang="0">
                  <a:pos x="627" y="332"/>
                </a:cxn>
                <a:cxn ang="0">
                  <a:pos x="641" y="376"/>
                </a:cxn>
                <a:cxn ang="0">
                  <a:pos x="625" y="412"/>
                </a:cxn>
                <a:cxn ang="0">
                  <a:pos x="601" y="440"/>
                </a:cxn>
                <a:cxn ang="0">
                  <a:pos x="567" y="456"/>
                </a:cxn>
                <a:cxn ang="0">
                  <a:pos x="529" y="455"/>
                </a:cxn>
                <a:cxn ang="0">
                  <a:pos x="451" y="413"/>
                </a:cxn>
                <a:cxn ang="0">
                  <a:pos x="363" y="372"/>
                </a:cxn>
                <a:cxn ang="0">
                  <a:pos x="325" y="372"/>
                </a:cxn>
                <a:cxn ang="0">
                  <a:pos x="309" y="396"/>
                </a:cxn>
                <a:cxn ang="0">
                  <a:pos x="275" y="407"/>
                </a:cxn>
                <a:cxn ang="0">
                  <a:pos x="235" y="421"/>
                </a:cxn>
                <a:cxn ang="0">
                  <a:pos x="229" y="459"/>
                </a:cxn>
                <a:cxn ang="0">
                  <a:pos x="234" y="493"/>
                </a:cxn>
                <a:cxn ang="0">
                  <a:pos x="245" y="541"/>
                </a:cxn>
                <a:cxn ang="0">
                  <a:pos x="241" y="549"/>
                </a:cxn>
              </a:cxnLst>
              <a:rect l="0" t="0" r="r" b="b"/>
              <a:pathLst>
                <a:path w="645" h="549">
                  <a:moveTo>
                    <a:pt x="241" y="549"/>
                  </a:moveTo>
                  <a:lnTo>
                    <a:pt x="217" y="547"/>
                  </a:lnTo>
                  <a:lnTo>
                    <a:pt x="182" y="541"/>
                  </a:lnTo>
                  <a:lnTo>
                    <a:pt x="143" y="533"/>
                  </a:lnTo>
                  <a:lnTo>
                    <a:pt x="102" y="523"/>
                  </a:lnTo>
                  <a:lnTo>
                    <a:pt x="82" y="516"/>
                  </a:lnTo>
                  <a:lnTo>
                    <a:pt x="64" y="509"/>
                  </a:lnTo>
                  <a:lnTo>
                    <a:pt x="46" y="503"/>
                  </a:lnTo>
                  <a:lnTo>
                    <a:pt x="30" y="496"/>
                  </a:lnTo>
                  <a:lnTo>
                    <a:pt x="18" y="488"/>
                  </a:lnTo>
                  <a:lnTo>
                    <a:pt x="8" y="480"/>
                  </a:lnTo>
                  <a:lnTo>
                    <a:pt x="5" y="476"/>
                  </a:lnTo>
                  <a:lnTo>
                    <a:pt x="2" y="472"/>
                  </a:lnTo>
                  <a:lnTo>
                    <a:pt x="1" y="468"/>
                  </a:lnTo>
                  <a:lnTo>
                    <a:pt x="0" y="464"/>
                  </a:lnTo>
                  <a:lnTo>
                    <a:pt x="1" y="455"/>
                  </a:lnTo>
                  <a:lnTo>
                    <a:pt x="5" y="445"/>
                  </a:lnTo>
                  <a:lnTo>
                    <a:pt x="10" y="437"/>
                  </a:lnTo>
                  <a:lnTo>
                    <a:pt x="17" y="428"/>
                  </a:lnTo>
                  <a:lnTo>
                    <a:pt x="34" y="412"/>
                  </a:lnTo>
                  <a:lnTo>
                    <a:pt x="54" y="397"/>
                  </a:lnTo>
                  <a:lnTo>
                    <a:pt x="64" y="389"/>
                  </a:lnTo>
                  <a:lnTo>
                    <a:pt x="74" y="380"/>
                  </a:lnTo>
                  <a:lnTo>
                    <a:pt x="84" y="372"/>
                  </a:lnTo>
                  <a:lnTo>
                    <a:pt x="92" y="363"/>
                  </a:lnTo>
                  <a:lnTo>
                    <a:pt x="98" y="353"/>
                  </a:lnTo>
                  <a:lnTo>
                    <a:pt x="104" y="343"/>
                  </a:lnTo>
                  <a:lnTo>
                    <a:pt x="108" y="332"/>
                  </a:lnTo>
                  <a:lnTo>
                    <a:pt x="108" y="320"/>
                  </a:lnTo>
                  <a:lnTo>
                    <a:pt x="108" y="315"/>
                  </a:lnTo>
                  <a:lnTo>
                    <a:pt x="106" y="311"/>
                  </a:lnTo>
                  <a:lnTo>
                    <a:pt x="105" y="307"/>
                  </a:lnTo>
                  <a:lnTo>
                    <a:pt x="104" y="303"/>
                  </a:lnTo>
                  <a:lnTo>
                    <a:pt x="98" y="297"/>
                  </a:lnTo>
                  <a:lnTo>
                    <a:pt x="93" y="293"/>
                  </a:lnTo>
                  <a:lnTo>
                    <a:pt x="88" y="288"/>
                  </a:lnTo>
                  <a:lnTo>
                    <a:pt x="82" y="283"/>
                  </a:lnTo>
                  <a:lnTo>
                    <a:pt x="81" y="279"/>
                  </a:lnTo>
                  <a:lnTo>
                    <a:pt x="80" y="276"/>
                  </a:lnTo>
                  <a:lnTo>
                    <a:pt x="78" y="271"/>
                  </a:lnTo>
                  <a:lnTo>
                    <a:pt x="78" y="265"/>
                  </a:lnTo>
                  <a:lnTo>
                    <a:pt x="80" y="253"/>
                  </a:lnTo>
                  <a:lnTo>
                    <a:pt x="82" y="243"/>
                  </a:lnTo>
                  <a:lnTo>
                    <a:pt x="88" y="233"/>
                  </a:lnTo>
                  <a:lnTo>
                    <a:pt x="93" y="225"/>
                  </a:lnTo>
                  <a:lnTo>
                    <a:pt x="98" y="216"/>
                  </a:lnTo>
                  <a:lnTo>
                    <a:pt x="104" y="205"/>
                  </a:lnTo>
                  <a:lnTo>
                    <a:pt x="106" y="192"/>
                  </a:lnTo>
                  <a:lnTo>
                    <a:pt x="108" y="175"/>
                  </a:lnTo>
                  <a:lnTo>
                    <a:pt x="108" y="163"/>
                  </a:lnTo>
                  <a:lnTo>
                    <a:pt x="106" y="151"/>
                  </a:lnTo>
                  <a:lnTo>
                    <a:pt x="105" y="140"/>
                  </a:lnTo>
                  <a:lnTo>
                    <a:pt x="102" y="131"/>
                  </a:lnTo>
                  <a:lnTo>
                    <a:pt x="98" y="123"/>
                  </a:lnTo>
                  <a:lnTo>
                    <a:pt x="93" y="117"/>
                  </a:lnTo>
                  <a:lnTo>
                    <a:pt x="86" y="112"/>
                  </a:lnTo>
                  <a:lnTo>
                    <a:pt x="78" y="109"/>
                  </a:lnTo>
                  <a:lnTo>
                    <a:pt x="78" y="74"/>
                  </a:lnTo>
                  <a:lnTo>
                    <a:pt x="90" y="74"/>
                  </a:lnTo>
                  <a:lnTo>
                    <a:pt x="108" y="74"/>
                  </a:lnTo>
                  <a:lnTo>
                    <a:pt x="121" y="75"/>
                  </a:lnTo>
                  <a:lnTo>
                    <a:pt x="131" y="77"/>
                  </a:lnTo>
                  <a:lnTo>
                    <a:pt x="141" y="83"/>
                  </a:lnTo>
                  <a:lnTo>
                    <a:pt x="151" y="88"/>
                  </a:lnTo>
                  <a:lnTo>
                    <a:pt x="161" y="93"/>
                  </a:lnTo>
                  <a:lnTo>
                    <a:pt x="171" y="99"/>
                  </a:lnTo>
                  <a:lnTo>
                    <a:pt x="183" y="101"/>
                  </a:lnTo>
                  <a:lnTo>
                    <a:pt x="198" y="103"/>
                  </a:lnTo>
                  <a:lnTo>
                    <a:pt x="206" y="103"/>
                  </a:lnTo>
                  <a:lnTo>
                    <a:pt x="213" y="100"/>
                  </a:lnTo>
                  <a:lnTo>
                    <a:pt x="218" y="97"/>
                  </a:lnTo>
                  <a:lnTo>
                    <a:pt x="222" y="93"/>
                  </a:lnTo>
                  <a:lnTo>
                    <a:pt x="227" y="88"/>
                  </a:lnTo>
                  <a:lnTo>
                    <a:pt x="230" y="81"/>
                  </a:lnTo>
                  <a:lnTo>
                    <a:pt x="233" y="75"/>
                  </a:lnTo>
                  <a:lnTo>
                    <a:pt x="235" y="68"/>
                  </a:lnTo>
                  <a:lnTo>
                    <a:pt x="238" y="52"/>
                  </a:lnTo>
                  <a:lnTo>
                    <a:pt x="239" y="35"/>
                  </a:lnTo>
                  <a:lnTo>
                    <a:pt x="241" y="18"/>
                  </a:lnTo>
                  <a:lnTo>
                    <a:pt x="241" y="0"/>
                  </a:lnTo>
                  <a:lnTo>
                    <a:pt x="242" y="7"/>
                  </a:lnTo>
                  <a:lnTo>
                    <a:pt x="246" y="15"/>
                  </a:lnTo>
                  <a:lnTo>
                    <a:pt x="254" y="24"/>
                  </a:lnTo>
                  <a:lnTo>
                    <a:pt x="262" y="36"/>
                  </a:lnTo>
                  <a:lnTo>
                    <a:pt x="283" y="62"/>
                  </a:lnTo>
                  <a:lnTo>
                    <a:pt x="307" y="85"/>
                  </a:lnTo>
                  <a:lnTo>
                    <a:pt x="319" y="97"/>
                  </a:lnTo>
                  <a:lnTo>
                    <a:pt x="329" y="107"/>
                  </a:lnTo>
                  <a:lnTo>
                    <a:pt x="337" y="113"/>
                  </a:lnTo>
                  <a:lnTo>
                    <a:pt x="343" y="115"/>
                  </a:lnTo>
                  <a:lnTo>
                    <a:pt x="358" y="120"/>
                  </a:lnTo>
                  <a:lnTo>
                    <a:pt x="373" y="123"/>
                  </a:lnTo>
                  <a:lnTo>
                    <a:pt x="386" y="124"/>
                  </a:lnTo>
                  <a:lnTo>
                    <a:pt x="398" y="124"/>
                  </a:lnTo>
                  <a:lnTo>
                    <a:pt x="411" y="123"/>
                  </a:lnTo>
                  <a:lnTo>
                    <a:pt x="422" y="123"/>
                  </a:lnTo>
                  <a:lnTo>
                    <a:pt x="434" y="124"/>
                  </a:lnTo>
                  <a:lnTo>
                    <a:pt x="445" y="127"/>
                  </a:lnTo>
                  <a:lnTo>
                    <a:pt x="450" y="131"/>
                  </a:lnTo>
                  <a:lnTo>
                    <a:pt x="453" y="136"/>
                  </a:lnTo>
                  <a:lnTo>
                    <a:pt x="455" y="140"/>
                  </a:lnTo>
                  <a:lnTo>
                    <a:pt x="458" y="147"/>
                  </a:lnTo>
                  <a:lnTo>
                    <a:pt x="462" y="159"/>
                  </a:lnTo>
                  <a:lnTo>
                    <a:pt x="466" y="171"/>
                  </a:lnTo>
                  <a:lnTo>
                    <a:pt x="469" y="177"/>
                  </a:lnTo>
                  <a:lnTo>
                    <a:pt x="471" y="183"/>
                  </a:lnTo>
                  <a:lnTo>
                    <a:pt x="475" y="188"/>
                  </a:lnTo>
                  <a:lnTo>
                    <a:pt x="479" y="193"/>
                  </a:lnTo>
                  <a:lnTo>
                    <a:pt x="485" y="197"/>
                  </a:lnTo>
                  <a:lnTo>
                    <a:pt x="490" y="201"/>
                  </a:lnTo>
                  <a:lnTo>
                    <a:pt x="497" y="204"/>
                  </a:lnTo>
                  <a:lnTo>
                    <a:pt x="506" y="205"/>
                  </a:lnTo>
                  <a:lnTo>
                    <a:pt x="525" y="204"/>
                  </a:lnTo>
                  <a:lnTo>
                    <a:pt x="546" y="203"/>
                  </a:lnTo>
                  <a:lnTo>
                    <a:pt x="565" y="200"/>
                  </a:lnTo>
                  <a:lnTo>
                    <a:pt x="578" y="200"/>
                  </a:lnTo>
                  <a:lnTo>
                    <a:pt x="583" y="200"/>
                  </a:lnTo>
                  <a:lnTo>
                    <a:pt x="589" y="201"/>
                  </a:lnTo>
                  <a:lnTo>
                    <a:pt x="593" y="203"/>
                  </a:lnTo>
                  <a:lnTo>
                    <a:pt x="595" y="204"/>
                  </a:lnTo>
                  <a:lnTo>
                    <a:pt x="598" y="207"/>
                  </a:lnTo>
                  <a:lnTo>
                    <a:pt x="599" y="211"/>
                  </a:lnTo>
                  <a:lnTo>
                    <a:pt x="601" y="215"/>
                  </a:lnTo>
                  <a:lnTo>
                    <a:pt x="601" y="219"/>
                  </a:lnTo>
                  <a:lnTo>
                    <a:pt x="601" y="237"/>
                  </a:lnTo>
                  <a:lnTo>
                    <a:pt x="602" y="260"/>
                  </a:lnTo>
                  <a:lnTo>
                    <a:pt x="603" y="269"/>
                  </a:lnTo>
                  <a:lnTo>
                    <a:pt x="605" y="280"/>
                  </a:lnTo>
                  <a:lnTo>
                    <a:pt x="609" y="293"/>
                  </a:lnTo>
                  <a:lnTo>
                    <a:pt x="614" y="305"/>
                  </a:lnTo>
                  <a:lnTo>
                    <a:pt x="621" y="319"/>
                  </a:lnTo>
                  <a:lnTo>
                    <a:pt x="627" y="332"/>
                  </a:lnTo>
                  <a:lnTo>
                    <a:pt x="635" y="344"/>
                  </a:lnTo>
                  <a:lnTo>
                    <a:pt x="645" y="356"/>
                  </a:lnTo>
                  <a:lnTo>
                    <a:pt x="642" y="367"/>
                  </a:lnTo>
                  <a:lnTo>
                    <a:pt x="641" y="376"/>
                  </a:lnTo>
                  <a:lnTo>
                    <a:pt x="638" y="385"/>
                  </a:lnTo>
                  <a:lnTo>
                    <a:pt x="634" y="395"/>
                  </a:lnTo>
                  <a:lnTo>
                    <a:pt x="630" y="404"/>
                  </a:lnTo>
                  <a:lnTo>
                    <a:pt x="625" y="412"/>
                  </a:lnTo>
                  <a:lnTo>
                    <a:pt x="619" y="420"/>
                  </a:lnTo>
                  <a:lnTo>
                    <a:pt x="614" y="428"/>
                  </a:lnTo>
                  <a:lnTo>
                    <a:pt x="607" y="435"/>
                  </a:lnTo>
                  <a:lnTo>
                    <a:pt x="601" y="440"/>
                  </a:lnTo>
                  <a:lnTo>
                    <a:pt x="593" y="445"/>
                  </a:lnTo>
                  <a:lnTo>
                    <a:pt x="585" y="451"/>
                  </a:lnTo>
                  <a:lnTo>
                    <a:pt x="577" y="453"/>
                  </a:lnTo>
                  <a:lnTo>
                    <a:pt x="567" y="456"/>
                  </a:lnTo>
                  <a:lnTo>
                    <a:pt x="558" y="457"/>
                  </a:lnTo>
                  <a:lnTo>
                    <a:pt x="547" y="459"/>
                  </a:lnTo>
                  <a:lnTo>
                    <a:pt x="539" y="457"/>
                  </a:lnTo>
                  <a:lnTo>
                    <a:pt x="529" y="455"/>
                  </a:lnTo>
                  <a:lnTo>
                    <a:pt x="518" y="451"/>
                  </a:lnTo>
                  <a:lnTo>
                    <a:pt x="506" y="444"/>
                  </a:lnTo>
                  <a:lnTo>
                    <a:pt x="479" y="429"/>
                  </a:lnTo>
                  <a:lnTo>
                    <a:pt x="451" y="413"/>
                  </a:lnTo>
                  <a:lnTo>
                    <a:pt x="422" y="397"/>
                  </a:lnTo>
                  <a:lnTo>
                    <a:pt x="391" y="383"/>
                  </a:lnTo>
                  <a:lnTo>
                    <a:pt x="377" y="376"/>
                  </a:lnTo>
                  <a:lnTo>
                    <a:pt x="363" y="372"/>
                  </a:lnTo>
                  <a:lnTo>
                    <a:pt x="350" y="369"/>
                  </a:lnTo>
                  <a:lnTo>
                    <a:pt x="337" y="368"/>
                  </a:lnTo>
                  <a:lnTo>
                    <a:pt x="330" y="369"/>
                  </a:lnTo>
                  <a:lnTo>
                    <a:pt x="325" y="372"/>
                  </a:lnTo>
                  <a:lnTo>
                    <a:pt x="319" y="376"/>
                  </a:lnTo>
                  <a:lnTo>
                    <a:pt x="315" y="383"/>
                  </a:lnTo>
                  <a:lnTo>
                    <a:pt x="311" y="389"/>
                  </a:lnTo>
                  <a:lnTo>
                    <a:pt x="309" y="396"/>
                  </a:lnTo>
                  <a:lnTo>
                    <a:pt x="307" y="403"/>
                  </a:lnTo>
                  <a:lnTo>
                    <a:pt x="307" y="411"/>
                  </a:lnTo>
                  <a:lnTo>
                    <a:pt x="290" y="409"/>
                  </a:lnTo>
                  <a:lnTo>
                    <a:pt x="275" y="407"/>
                  </a:lnTo>
                  <a:lnTo>
                    <a:pt x="262" y="403"/>
                  </a:lnTo>
                  <a:lnTo>
                    <a:pt x="253" y="399"/>
                  </a:lnTo>
                  <a:lnTo>
                    <a:pt x="243" y="408"/>
                  </a:lnTo>
                  <a:lnTo>
                    <a:pt x="235" y="421"/>
                  </a:lnTo>
                  <a:lnTo>
                    <a:pt x="233" y="429"/>
                  </a:lnTo>
                  <a:lnTo>
                    <a:pt x="230" y="439"/>
                  </a:lnTo>
                  <a:lnTo>
                    <a:pt x="229" y="448"/>
                  </a:lnTo>
                  <a:lnTo>
                    <a:pt x="229" y="459"/>
                  </a:lnTo>
                  <a:lnTo>
                    <a:pt x="229" y="469"/>
                  </a:lnTo>
                  <a:lnTo>
                    <a:pt x="230" y="479"/>
                  </a:lnTo>
                  <a:lnTo>
                    <a:pt x="233" y="487"/>
                  </a:lnTo>
                  <a:lnTo>
                    <a:pt x="234" y="493"/>
                  </a:lnTo>
                  <a:lnTo>
                    <a:pt x="238" y="508"/>
                  </a:lnTo>
                  <a:lnTo>
                    <a:pt x="241" y="525"/>
                  </a:lnTo>
                  <a:lnTo>
                    <a:pt x="242" y="535"/>
                  </a:lnTo>
                  <a:lnTo>
                    <a:pt x="245" y="541"/>
                  </a:lnTo>
                  <a:lnTo>
                    <a:pt x="246" y="543"/>
                  </a:lnTo>
                  <a:lnTo>
                    <a:pt x="246" y="545"/>
                  </a:lnTo>
                  <a:lnTo>
                    <a:pt x="243" y="547"/>
                  </a:lnTo>
                  <a:lnTo>
                    <a:pt x="241" y="54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0" name="Freeform 68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1589088" y="3282950"/>
              <a:ext cx="177800" cy="166688"/>
            </a:xfrm>
            <a:custGeom>
              <a:avLst/>
              <a:gdLst/>
              <a:ahLst/>
              <a:cxnLst>
                <a:cxn ang="0">
                  <a:pos x="9" y="118"/>
                </a:cxn>
                <a:cxn ang="0">
                  <a:pos x="13" y="168"/>
                </a:cxn>
                <a:cxn ang="0">
                  <a:pos x="24" y="218"/>
                </a:cxn>
                <a:cxn ang="0">
                  <a:pos x="37" y="236"/>
                </a:cxn>
                <a:cxn ang="0">
                  <a:pos x="67" y="262"/>
                </a:cxn>
                <a:cxn ang="0">
                  <a:pos x="91" y="294"/>
                </a:cxn>
                <a:cxn ang="0">
                  <a:pos x="96" y="320"/>
                </a:cxn>
                <a:cxn ang="0">
                  <a:pos x="96" y="334"/>
                </a:cxn>
                <a:cxn ang="0">
                  <a:pos x="101" y="373"/>
                </a:cxn>
                <a:cxn ang="0">
                  <a:pos x="125" y="420"/>
                </a:cxn>
                <a:cxn ang="0">
                  <a:pos x="149" y="444"/>
                </a:cxn>
                <a:cxn ang="0">
                  <a:pos x="205" y="452"/>
                </a:cxn>
                <a:cxn ang="0">
                  <a:pos x="211" y="423"/>
                </a:cxn>
                <a:cxn ang="0">
                  <a:pos x="224" y="404"/>
                </a:cxn>
                <a:cxn ang="0">
                  <a:pos x="253" y="393"/>
                </a:cxn>
                <a:cxn ang="0">
                  <a:pos x="307" y="392"/>
                </a:cxn>
                <a:cxn ang="0">
                  <a:pos x="328" y="322"/>
                </a:cxn>
                <a:cxn ang="0">
                  <a:pos x="349" y="278"/>
                </a:cxn>
                <a:cxn ang="0">
                  <a:pos x="385" y="236"/>
                </a:cxn>
                <a:cxn ang="0">
                  <a:pos x="387" y="210"/>
                </a:cxn>
                <a:cxn ang="0">
                  <a:pos x="400" y="187"/>
                </a:cxn>
                <a:cxn ang="0">
                  <a:pos x="415" y="166"/>
                </a:cxn>
                <a:cxn ang="0">
                  <a:pos x="412" y="130"/>
                </a:cxn>
                <a:cxn ang="0">
                  <a:pos x="397" y="100"/>
                </a:cxn>
                <a:cxn ang="0">
                  <a:pos x="376" y="79"/>
                </a:cxn>
                <a:cxn ang="0">
                  <a:pos x="356" y="58"/>
                </a:cxn>
                <a:cxn ang="0">
                  <a:pos x="340" y="28"/>
                </a:cxn>
                <a:cxn ang="0">
                  <a:pos x="331" y="0"/>
                </a:cxn>
                <a:cxn ang="0">
                  <a:pos x="300" y="23"/>
                </a:cxn>
                <a:cxn ang="0">
                  <a:pos x="277" y="31"/>
                </a:cxn>
                <a:cxn ang="0">
                  <a:pos x="237" y="14"/>
                </a:cxn>
                <a:cxn ang="0">
                  <a:pos x="228" y="19"/>
                </a:cxn>
                <a:cxn ang="0">
                  <a:pos x="215" y="42"/>
                </a:cxn>
                <a:cxn ang="0">
                  <a:pos x="203" y="54"/>
                </a:cxn>
                <a:cxn ang="0">
                  <a:pos x="187" y="55"/>
                </a:cxn>
                <a:cxn ang="0">
                  <a:pos x="171" y="47"/>
                </a:cxn>
                <a:cxn ang="0">
                  <a:pos x="144" y="22"/>
                </a:cxn>
                <a:cxn ang="0">
                  <a:pos x="123" y="8"/>
                </a:cxn>
                <a:cxn ang="0">
                  <a:pos x="99" y="7"/>
                </a:cxn>
                <a:cxn ang="0">
                  <a:pos x="75" y="15"/>
                </a:cxn>
                <a:cxn ang="0">
                  <a:pos x="39" y="48"/>
                </a:cxn>
                <a:cxn ang="0">
                  <a:pos x="15" y="71"/>
                </a:cxn>
                <a:cxn ang="0">
                  <a:pos x="0" y="86"/>
                </a:cxn>
              </a:cxnLst>
              <a:rect l="0" t="0" r="r" b="b"/>
              <a:pathLst>
                <a:path w="416" h="452">
                  <a:moveTo>
                    <a:pt x="0" y="86"/>
                  </a:moveTo>
                  <a:lnTo>
                    <a:pt x="5" y="102"/>
                  </a:lnTo>
                  <a:lnTo>
                    <a:pt x="9" y="118"/>
                  </a:lnTo>
                  <a:lnTo>
                    <a:pt x="11" y="135"/>
                  </a:lnTo>
                  <a:lnTo>
                    <a:pt x="12" y="151"/>
                  </a:lnTo>
                  <a:lnTo>
                    <a:pt x="13" y="168"/>
                  </a:lnTo>
                  <a:lnTo>
                    <a:pt x="15" y="186"/>
                  </a:lnTo>
                  <a:lnTo>
                    <a:pt x="19" y="202"/>
                  </a:lnTo>
                  <a:lnTo>
                    <a:pt x="24" y="218"/>
                  </a:lnTo>
                  <a:lnTo>
                    <a:pt x="28" y="224"/>
                  </a:lnTo>
                  <a:lnTo>
                    <a:pt x="32" y="230"/>
                  </a:lnTo>
                  <a:lnTo>
                    <a:pt x="37" y="236"/>
                  </a:lnTo>
                  <a:lnTo>
                    <a:pt x="43" y="242"/>
                  </a:lnTo>
                  <a:lnTo>
                    <a:pt x="55" y="252"/>
                  </a:lnTo>
                  <a:lnTo>
                    <a:pt x="67" y="262"/>
                  </a:lnTo>
                  <a:lnTo>
                    <a:pt x="79" y="274"/>
                  </a:lnTo>
                  <a:lnTo>
                    <a:pt x="88" y="286"/>
                  </a:lnTo>
                  <a:lnTo>
                    <a:pt x="91" y="294"/>
                  </a:lnTo>
                  <a:lnTo>
                    <a:pt x="93" y="302"/>
                  </a:lnTo>
                  <a:lnTo>
                    <a:pt x="96" y="311"/>
                  </a:lnTo>
                  <a:lnTo>
                    <a:pt x="96" y="320"/>
                  </a:lnTo>
                  <a:lnTo>
                    <a:pt x="96" y="331"/>
                  </a:lnTo>
                  <a:lnTo>
                    <a:pt x="96" y="332"/>
                  </a:lnTo>
                  <a:lnTo>
                    <a:pt x="96" y="334"/>
                  </a:lnTo>
                  <a:lnTo>
                    <a:pt x="96" y="344"/>
                  </a:lnTo>
                  <a:lnTo>
                    <a:pt x="97" y="359"/>
                  </a:lnTo>
                  <a:lnTo>
                    <a:pt x="101" y="373"/>
                  </a:lnTo>
                  <a:lnTo>
                    <a:pt x="108" y="389"/>
                  </a:lnTo>
                  <a:lnTo>
                    <a:pt x="116" y="405"/>
                  </a:lnTo>
                  <a:lnTo>
                    <a:pt x="125" y="420"/>
                  </a:lnTo>
                  <a:lnTo>
                    <a:pt x="137" y="433"/>
                  </a:lnTo>
                  <a:lnTo>
                    <a:pt x="143" y="439"/>
                  </a:lnTo>
                  <a:lnTo>
                    <a:pt x="149" y="444"/>
                  </a:lnTo>
                  <a:lnTo>
                    <a:pt x="156" y="448"/>
                  </a:lnTo>
                  <a:lnTo>
                    <a:pt x="163" y="452"/>
                  </a:lnTo>
                  <a:lnTo>
                    <a:pt x="205" y="452"/>
                  </a:lnTo>
                  <a:lnTo>
                    <a:pt x="205" y="441"/>
                  </a:lnTo>
                  <a:lnTo>
                    <a:pt x="207" y="431"/>
                  </a:lnTo>
                  <a:lnTo>
                    <a:pt x="211" y="423"/>
                  </a:lnTo>
                  <a:lnTo>
                    <a:pt x="213" y="415"/>
                  </a:lnTo>
                  <a:lnTo>
                    <a:pt x="219" y="409"/>
                  </a:lnTo>
                  <a:lnTo>
                    <a:pt x="224" y="404"/>
                  </a:lnTo>
                  <a:lnTo>
                    <a:pt x="231" y="400"/>
                  </a:lnTo>
                  <a:lnTo>
                    <a:pt x="237" y="397"/>
                  </a:lnTo>
                  <a:lnTo>
                    <a:pt x="253" y="393"/>
                  </a:lnTo>
                  <a:lnTo>
                    <a:pt x="271" y="392"/>
                  </a:lnTo>
                  <a:lnTo>
                    <a:pt x="289" y="392"/>
                  </a:lnTo>
                  <a:lnTo>
                    <a:pt x="307" y="392"/>
                  </a:lnTo>
                  <a:lnTo>
                    <a:pt x="315" y="364"/>
                  </a:lnTo>
                  <a:lnTo>
                    <a:pt x="321" y="342"/>
                  </a:lnTo>
                  <a:lnTo>
                    <a:pt x="328" y="322"/>
                  </a:lnTo>
                  <a:lnTo>
                    <a:pt x="335" y="306"/>
                  </a:lnTo>
                  <a:lnTo>
                    <a:pt x="345" y="284"/>
                  </a:lnTo>
                  <a:lnTo>
                    <a:pt x="349" y="278"/>
                  </a:lnTo>
                  <a:lnTo>
                    <a:pt x="385" y="218"/>
                  </a:lnTo>
                  <a:lnTo>
                    <a:pt x="385" y="231"/>
                  </a:lnTo>
                  <a:lnTo>
                    <a:pt x="385" y="236"/>
                  </a:lnTo>
                  <a:lnTo>
                    <a:pt x="385" y="231"/>
                  </a:lnTo>
                  <a:lnTo>
                    <a:pt x="385" y="218"/>
                  </a:lnTo>
                  <a:lnTo>
                    <a:pt x="387" y="210"/>
                  </a:lnTo>
                  <a:lnTo>
                    <a:pt x="391" y="202"/>
                  </a:lnTo>
                  <a:lnTo>
                    <a:pt x="395" y="195"/>
                  </a:lnTo>
                  <a:lnTo>
                    <a:pt x="400" y="187"/>
                  </a:lnTo>
                  <a:lnTo>
                    <a:pt x="407" y="180"/>
                  </a:lnTo>
                  <a:lnTo>
                    <a:pt x="411" y="174"/>
                  </a:lnTo>
                  <a:lnTo>
                    <a:pt x="415" y="166"/>
                  </a:lnTo>
                  <a:lnTo>
                    <a:pt x="416" y="158"/>
                  </a:lnTo>
                  <a:lnTo>
                    <a:pt x="415" y="143"/>
                  </a:lnTo>
                  <a:lnTo>
                    <a:pt x="412" y="130"/>
                  </a:lnTo>
                  <a:lnTo>
                    <a:pt x="408" y="119"/>
                  </a:lnTo>
                  <a:lnTo>
                    <a:pt x="403" y="110"/>
                  </a:lnTo>
                  <a:lnTo>
                    <a:pt x="397" y="100"/>
                  </a:lnTo>
                  <a:lnTo>
                    <a:pt x="391" y="94"/>
                  </a:lnTo>
                  <a:lnTo>
                    <a:pt x="384" y="86"/>
                  </a:lnTo>
                  <a:lnTo>
                    <a:pt x="376" y="79"/>
                  </a:lnTo>
                  <a:lnTo>
                    <a:pt x="369" y="72"/>
                  </a:lnTo>
                  <a:lnTo>
                    <a:pt x="363" y="66"/>
                  </a:lnTo>
                  <a:lnTo>
                    <a:pt x="356" y="58"/>
                  </a:lnTo>
                  <a:lnTo>
                    <a:pt x="349" y="50"/>
                  </a:lnTo>
                  <a:lnTo>
                    <a:pt x="344" y="39"/>
                  </a:lnTo>
                  <a:lnTo>
                    <a:pt x="340" y="28"/>
                  </a:lnTo>
                  <a:lnTo>
                    <a:pt x="339" y="15"/>
                  </a:lnTo>
                  <a:lnTo>
                    <a:pt x="337" y="0"/>
                  </a:lnTo>
                  <a:lnTo>
                    <a:pt x="331" y="0"/>
                  </a:lnTo>
                  <a:lnTo>
                    <a:pt x="323" y="8"/>
                  </a:lnTo>
                  <a:lnTo>
                    <a:pt x="308" y="18"/>
                  </a:lnTo>
                  <a:lnTo>
                    <a:pt x="300" y="23"/>
                  </a:lnTo>
                  <a:lnTo>
                    <a:pt x="292" y="27"/>
                  </a:lnTo>
                  <a:lnTo>
                    <a:pt x="284" y="30"/>
                  </a:lnTo>
                  <a:lnTo>
                    <a:pt x="277" y="31"/>
                  </a:lnTo>
                  <a:lnTo>
                    <a:pt x="259" y="22"/>
                  </a:lnTo>
                  <a:lnTo>
                    <a:pt x="241" y="12"/>
                  </a:lnTo>
                  <a:lnTo>
                    <a:pt x="237" y="14"/>
                  </a:lnTo>
                  <a:lnTo>
                    <a:pt x="233" y="15"/>
                  </a:lnTo>
                  <a:lnTo>
                    <a:pt x="231" y="16"/>
                  </a:lnTo>
                  <a:lnTo>
                    <a:pt x="228" y="19"/>
                  </a:lnTo>
                  <a:lnTo>
                    <a:pt x="223" y="26"/>
                  </a:lnTo>
                  <a:lnTo>
                    <a:pt x="219" y="34"/>
                  </a:lnTo>
                  <a:lnTo>
                    <a:pt x="215" y="42"/>
                  </a:lnTo>
                  <a:lnTo>
                    <a:pt x="209" y="48"/>
                  </a:lnTo>
                  <a:lnTo>
                    <a:pt x="207" y="51"/>
                  </a:lnTo>
                  <a:lnTo>
                    <a:pt x="203" y="54"/>
                  </a:lnTo>
                  <a:lnTo>
                    <a:pt x="197" y="55"/>
                  </a:lnTo>
                  <a:lnTo>
                    <a:pt x="192" y="55"/>
                  </a:lnTo>
                  <a:lnTo>
                    <a:pt x="187" y="55"/>
                  </a:lnTo>
                  <a:lnTo>
                    <a:pt x="180" y="52"/>
                  </a:lnTo>
                  <a:lnTo>
                    <a:pt x="175" y="51"/>
                  </a:lnTo>
                  <a:lnTo>
                    <a:pt x="171" y="47"/>
                  </a:lnTo>
                  <a:lnTo>
                    <a:pt x="161" y="40"/>
                  </a:lnTo>
                  <a:lnTo>
                    <a:pt x="153" y="31"/>
                  </a:lnTo>
                  <a:lnTo>
                    <a:pt x="144" y="22"/>
                  </a:lnTo>
                  <a:lnTo>
                    <a:pt x="135" y="15"/>
                  </a:lnTo>
                  <a:lnTo>
                    <a:pt x="128" y="11"/>
                  </a:lnTo>
                  <a:lnTo>
                    <a:pt x="123" y="8"/>
                  </a:lnTo>
                  <a:lnTo>
                    <a:pt x="116" y="7"/>
                  </a:lnTo>
                  <a:lnTo>
                    <a:pt x="108" y="7"/>
                  </a:lnTo>
                  <a:lnTo>
                    <a:pt x="99" y="7"/>
                  </a:lnTo>
                  <a:lnTo>
                    <a:pt x="89" y="10"/>
                  </a:lnTo>
                  <a:lnTo>
                    <a:pt x="81" y="12"/>
                  </a:lnTo>
                  <a:lnTo>
                    <a:pt x="75" y="15"/>
                  </a:lnTo>
                  <a:lnTo>
                    <a:pt x="61" y="24"/>
                  </a:lnTo>
                  <a:lnTo>
                    <a:pt x="49" y="36"/>
                  </a:lnTo>
                  <a:lnTo>
                    <a:pt x="39" y="48"/>
                  </a:lnTo>
                  <a:lnTo>
                    <a:pt x="27" y="60"/>
                  </a:lnTo>
                  <a:lnTo>
                    <a:pt x="21" y="66"/>
                  </a:lnTo>
                  <a:lnTo>
                    <a:pt x="15" y="71"/>
                  </a:lnTo>
                  <a:lnTo>
                    <a:pt x="8" y="75"/>
                  </a:lnTo>
                  <a:lnTo>
                    <a:pt x="0" y="79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1" name="Freeform 69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1628775" y="4033838"/>
              <a:ext cx="196850" cy="309562"/>
            </a:xfrm>
            <a:custGeom>
              <a:avLst/>
              <a:gdLst/>
              <a:ahLst/>
              <a:cxnLst>
                <a:cxn ang="0">
                  <a:pos x="336" y="194"/>
                </a:cxn>
                <a:cxn ang="0">
                  <a:pos x="327" y="149"/>
                </a:cxn>
                <a:cxn ang="0">
                  <a:pos x="348" y="112"/>
                </a:cxn>
                <a:cxn ang="0">
                  <a:pos x="368" y="80"/>
                </a:cxn>
                <a:cxn ang="0">
                  <a:pos x="353" y="29"/>
                </a:cxn>
                <a:cxn ang="0">
                  <a:pos x="334" y="7"/>
                </a:cxn>
                <a:cxn ang="0">
                  <a:pos x="299" y="0"/>
                </a:cxn>
                <a:cxn ang="0">
                  <a:pos x="273" y="8"/>
                </a:cxn>
                <a:cxn ang="0">
                  <a:pos x="233" y="12"/>
                </a:cxn>
                <a:cxn ang="0">
                  <a:pos x="189" y="4"/>
                </a:cxn>
                <a:cxn ang="0">
                  <a:pos x="143" y="0"/>
                </a:cxn>
                <a:cxn ang="0">
                  <a:pos x="117" y="11"/>
                </a:cxn>
                <a:cxn ang="0">
                  <a:pos x="129" y="95"/>
                </a:cxn>
                <a:cxn ang="0">
                  <a:pos x="153" y="181"/>
                </a:cxn>
                <a:cxn ang="0">
                  <a:pos x="157" y="256"/>
                </a:cxn>
                <a:cxn ang="0">
                  <a:pos x="164" y="294"/>
                </a:cxn>
                <a:cxn ang="0">
                  <a:pos x="179" y="313"/>
                </a:cxn>
                <a:cxn ang="0">
                  <a:pos x="208" y="324"/>
                </a:cxn>
                <a:cxn ang="0">
                  <a:pos x="192" y="390"/>
                </a:cxn>
                <a:cxn ang="0">
                  <a:pos x="181" y="416"/>
                </a:cxn>
                <a:cxn ang="0">
                  <a:pos x="191" y="469"/>
                </a:cxn>
                <a:cxn ang="0">
                  <a:pos x="199" y="524"/>
                </a:cxn>
                <a:cxn ang="0">
                  <a:pos x="188" y="538"/>
                </a:cxn>
                <a:cxn ang="0">
                  <a:pos x="139" y="566"/>
                </a:cxn>
                <a:cxn ang="0">
                  <a:pos x="84" y="554"/>
                </a:cxn>
                <a:cxn ang="0">
                  <a:pos x="65" y="565"/>
                </a:cxn>
                <a:cxn ang="0">
                  <a:pos x="60" y="590"/>
                </a:cxn>
                <a:cxn ang="0">
                  <a:pos x="72" y="624"/>
                </a:cxn>
                <a:cxn ang="0">
                  <a:pos x="84" y="656"/>
                </a:cxn>
                <a:cxn ang="0">
                  <a:pos x="72" y="686"/>
                </a:cxn>
                <a:cxn ang="0">
                  <a:pos x="13" y="722"/>
                </a:cxn>
                <a:cxn ang="0">
                  <a:pos x="0" y="753"/>
                </a:cxn>
                <a:cxn ang="0">
                  <a:pos x="9" y="771"/>
                </a:cxn>
                <a:cxn ang="0">
                  <a:pos x="48" y="793"/>
                </a:cxn>
                <a:cxn ang="0">
                  <a:pos x="100" y="807"/>
                </a:cxn>
                <a:cxn ang="0">
                  <a:pos x="160" y="823"/>
                </a:cxn>
                <a:cxn ang="0">
                  <a:pos x="229" y="826"/>
                </a:cxn>
                <a:cxn ang="0">
                  <a:pos x="328" y="821"/>
                </a:cxn>
                <a:cxn ang="0">
                  <a:pos x="388" y="814"/>
                </a:cxn>
                <a:cxn ang="0">
                  <a:pos x="368" y="674"/>
                </a:cxn>
                <a:cxn ang="0">
                  <a:pos x="409" y="698"/>
                </a:cxn>
                <a:cxn ang="0">
                  <a:pos x="446" y="722"/>
                </a:cxn>
                <a:cxn ang="0">
                  <a:pos x="458" y="654"/>
                </a:cxn>
                <a:cxn ang="0">
                  <a:pos x="458" y="481"/>
                </a:cxn>
                <a:cxn ang="0">
                  <a:pos x="448" y="438"/>
                </a:cxn>
                <a:cxn ang="0">
                  <a:pos x="421" y="404"/>
                </a:cxn>
                <a:cxn ang="0">
                  <a:pos x="394" y="392"/>
                </a:cxn>
                <a:cxn ang="0">
                  <a:pos x="348" y="378"/>
                </a:cxn>
                <a:cxn ang="0">
                  <a:pos x="328" y="356"/>
                </a:cxn>
                <a:cxn ang="0">
                  <a:pos x="328" y="321"/>
                </a:cxn>
                <a:cxn ang="0">
                  <a:pos x="349" y="286"/>
                </a:cxn>
                <a:cxn ang="0">
                  <a:pos x="385" y="241"/>
                </a:cxn>
              </a:cxnLst>
              <a:rect l="0" t="0" r="r" b="b"/>
              <a:pathLst>
                <a:path w="458" h="830">
                  <a:moveTo>
                    <a:pt x="368" y="222"/>
                  </a:moveTo>
                  <a:lnTo>
                    <a:pt x="356" y="213"/>
                  </a:lnTo>
                  <a:lnTo>
                    <a:pt x="342" y="201"/>
                  </a:lnTo>
                  <a:lnTo>
                    <a:pt x="336" y="194"/>
                  </a:lnTo>
                  <a:lnTo>
                    <a:pt x="331" y="185"/>
                  </a:lnTo>
                  <a:lnTo>
                    <a:pt x="327" y="174"/>
                  </a:lnTo>
                  <a:lnTo>
                    <a:pt x="325" y="162"/>
                  </a:lnTo>
                  <a:lnTo>
                    <a:pt x="327" y="149"/>
                  </a:lnTo>
                  <a:lnTo>
                    <a:pt x="329" y="138"/>
                  </a:lnTo>
                  <a:lnTo>
                    <a:pt x="334" y="128"/>
                  </a:lnTo>
                  <a:lnTo>
                    <a:pt x="340" y="120"/>
                  </a:lnTo>
                  <a:lnTo>
                    <a:pt x="348" y="112"/>
                  </a:lnTo>
                  <a:lnTo>
                    <a:pt x="356" y="104"/>
                  </a:lnTo>
                  <a:lnTo>
                    <a:pt x="365" y="97"/>
                  </a:lnTo>
                  <a:lnTo>
                    <a:pt x="373" y="91"/>
                  </a:lnTo>
                  <a:lnTo>
                    <a:pt x="368" y="80"/>
                  </a:lnTo>
                  <a:lnTo>
                    <a:pt x="364" y="65"/>
                  </a:lnTo>
                  <a:lnTo>
                    <a:pt x="361" y="51"/>
                  </a:lnTo>
                  <a:lnTo>
                    <a:pt x="356" y="36"/>
                  </a:lnTo>
                  <a:lnTo>
                    <a:pt x="353" y="29"/>
                  </a:lnTo>
                  <a:lnTo>
                    <a:pt x="350" y="23"/>
                  </a:lnTo>
                  <a:lnTo>
                    <a:pt x="345" y="16"/>
                  </a:lnTo>
                  <a:lnTo>
                    <a:pt x="341" y="11"/>
                  </a:lnTo>
                  <a:lnTo>
                    <a:pt x="334" y="7"/>
                  </a:lnTo>
                  <a:lnTo>
                    <a:pt x="327" y="3"/>
                  </a:lnTo>
                  <a:lnTo>
                    <a:pt x="317" y="0"/>
                  </a:lnTo>
                  <a:lnTo>
                    <a:pt x="308" y="0"/>
                  </a:lnTo>
                  <a:lnTo>
                    <a:pt x="299" y="0"/>
                  </a:lnTo>
                  <a:lnTo>
                    <a:pt x="292" y="1"/>
                  </a:lnTo>
                  <a:lnTo>
                    <a:pt x="285" y="4"/>
                  </a:lnTo>
                  <a:lnTo>
                    <a:pt x="280" y="5"/>
                  </a:lnTo>
                  <a:lnTo>
                    <a:pt x="273" y="8"/>
                  </a:lnTo>
                  <a:lnTo>
                    <a:pt x="265" y="11"/>
                  </a:lnTo>
                  <a:lnTo>
                    <a:pt x="257" y="12"/>
                  </a:lnTo>
                  <a:lnTo>
                    <a:pt x="247" y="12"/>
                  </a:lnTo>
                  <a:lnTo>
                    <a:pt x="233" y="12"/>
                  </a:lnTo>
                  <a:lnTo>
                    <a:pt x="220" y="11"/>
                  </a:lnTo>
                  <a:lnTo>
                    <a:pt x="209" y="8"/>
                  </a:lnTo>
                  <a:lnTo>
                    <a:pt x="199" y="5"/>
                  </a:lnTo>
                  <a:lnTo>
                    <a:pt x="189" y="4"/>
                  </a:lnTo>
                  <a:lnTo>
                    <a:pt x="177" y="1"/>
                  </a:lnTo>
                  <a:lnTo>
                    <a:pt x="165" y="0"/>
                  </a:lnTo>
                  <a:lnTo>
                    <a:pt x="151" y="0"/>
                  </a:lnTo>
                  <a:lnTo>
                    <a:pt x="143" y="0"/>
                  </a:lnTo>
                  <a:lnTo>
                    <a:pt x="136" y="1"/>
                  </a:lnTo>
                  <a:lnTo>
                    <a:pt x="131" y="3"/>
                  </a:lnTo>
                  <a:lnTo>
                    <a:pt x="125" y="4"/>
                  </a:lnTo>
                  <a:lnTo>
                    <a:pt x="117" y="11"/>
                  </a:lnTo>
                  <a:lnTo>
                    <a:pt x="109" y="17"/>
                  </a:lnTo>
                  <a:lnTo>
                    <a:pt x="115" y="47"/>
                  </a:lnTo>
                  <a:lnTo>
                    <a:pt x="121" y="72"/>
                  </a:lnTo>
                  <a:lnTo>
                    <a:pt x="129" y="95"/>
                  </a:lnTo>
                  <a:lnTo>
                    <a:pt x="137" y="117"/>
                  </a:lnTo>
                  <a:lnTo>
                    <a:pt x="145" y="141"/>
                  </a:lnTo>
                  <a:lnTo>
                    <a:pt x="151" y="166"/>
                  </a:lnTo>
                  <a:lnTo>
                    <a:pt x="153" y="181"/>
                  </a:lnTo>
                  <a:lnTo>
                    <a:pt x="155" y="197"/>
                  </a:lnTo>
                  <a:lnTo>
                    <a:pt x="156" y="216"/>
                  </a:lnTo>
                  <a:lnTo>
                    <a:pt x="157" y="234"/>
                  </a:lnTo>
                  <a:lnTo>
                    <a:pt x="157" y="256"/>
                  </a:lnTo>
                  <a:lnTo>
                    <a:pt x="159" y="273"/>
                  </a:lnTo>
                  <a:lnTo>
                    <a:pt x="160" y="281"/>
                  </a:lnTo>
                  <a:lnTo>
                    <a:pt x="161" y="288"/>
                  </a:lnTo>
                  <a:lnTo>
                    <a:pt x="164" y="294"/>
                  </a:lnTo>
                  <a:lnTo>
                    <a:pt x="167" y="300"/>
                  </a:lnTo>
                  <a:lnTo>
                    <a:pt x="171" y="305"/>
                  </a:lnTo>
                  <a:lnTo>
                    <a:pt x="175" y="309"/>
                  </a:lnTo>
                  <a:lnTo>
                    <a:pt x="179" y="313"/>
                  </a:lnTo>
                  <a:lnTo>
                    <a:pt x="185" y="317"/>
                  </a:lnTo>
                  <a:lnTo>
                    <a:pt x="192" y="320"/>
                  </a:lnTo>
                  <a:lnTo>
                    <a:pt x="199" y="322"/>
                  </a:lnTo>
                  <a:lnTo>
                    <a:pt x="208" y="324"/>
                  </a:lnTo>
                  <a:lnTo>
                    <a:pt x="217" y="325"/>
                  </a:lnTo>
                  <a:lnTo>
                    <a:pt x="217" y="361"/>
                  </a:lnTo>
                  <a:lnTo>
                    <a:pt x="204" y="377"/>
                  </a:lnTo>
                  <a:lnTo>
                    <a:pt x="192" y="390"/>
                  </a:lnTo>
                  <a:lnTo>
                    <a:pt x="188" y="397"/>
                  </a:lnTo>
                  <a:lnTo>
                    <a:pt x="184" y="402"/>
                  </a:lnTo>
                  <a:lnTo>
                    <a:pt x="181" y="409"/>
                  </a:lnTo>
                  <a:lnTo>
                    <a:pt x="181" y="416"/>
                  </a:lnTo>
                  <a:lnTo>
                    <a:pt x="181" y="430"/>
                  </a:lnTo>
                  <a:lnTo>
                    <a:pt x="184" y="444"/>
                  </a:lnTo>
                  <a:lnTo>
                    <a:pt x="187" y="457"/>
                  </a:lnTo>
                  <a:lnTo>
                    <a:pt x="191" y="469"/>
                  </a:lnTo>
                  <a:lnTo>
                    <a:pt x="193" y="482"/>
                  </a:lnTo>
                  <a:lnTo>
                    <a:pt x="196" y="494"/>
                  </a:lnTo>
                  <a:lnTo>
                    <a:pt x="199" y="509"/>
                  </a:lnTo>
                  <a:lnTo>
                    <a:pt x="199" y="524"/>
                  </a:lnTo>
                  <a:lnTo>
                    <a:pt x="199" y="528"/>
                  </a:lnTo>
                  <a:lnTo>
                    <a:pt x="196" y="530"/>
                  </a:lnTo>
                  <a:lnTo>
                    <a:pt x="193" y="534"/>
                  </a:lnTo>
                  <a:lnTo>
                    <a:pt x="188" y="538"/>
                  </a:lnTo>
                  <a:lnTo>
                    <a:pt x="177" y="546"/>
                  </a:lnTo>
                  <a:lnTo>
                    <a:pt x="164" y="554"/>
                  </a:lnTo>
                  <a:lnTo>
                    <a:pt x="151" y="561"/>
                  </a:lnTo>
                  <a:lnTo>
                    <a:pt x="139" y="566"/>
                  </a:lnTo>
                  <a:lnTo>
                    <a:pt x="128" y="570"/>
                  </a:lnTo>
                  <a:lnTo>
                    <a:pt x="121" y="572"/>
                  </a:lnTo>
                  <a:lnTo>
                    <a:pt x="103" y="562"/>
                  </a:lnTo>
                  <a:lnTo>
                    <a:pt x="84" y="554"/>
                  </a:lnTo>
                  <a:lnTo>
                    <a:pt x="79" y="554"/>
                  </a:lnTo>
                  <a:lnTo>
                    <a:pt x="73" y="557"/>
                  </a:lnTo>
                  <a:lnTo>
                    <a:pt x="69" y="561"/>
                  </a:lnTo>
                  <a:lnTo>
                    <a:pt x="65" y="565"/>
                  </a:lnTo>
                  <a:lnTo>
                    <a:pt x="64" y="570"/>
                  </a:lnTo>
                  <a:lnTo>
                    <a:pt x="61" y="577"/>
                  </a:lnTo>
                  <a:lnTo>
                    <a:pt x="61" y="584"/>
                  </a:lnTo>
                  <a:lnTo>
                    <a:pt x="60" y="590"/>
                  </a:lnTo>
                  <a:lnTo>
                    <a:pt x="61" y="598"/>
                  </a:lnTo>
                  <a:lnTo>
                    <a:pt x="64" y="608"/>
                  </a:lnTo>
                  <a:lnTo>
                    <a:pt x="68" y="616"/>
                  </a:lnTo>
                  <a:lnTo>
                    <a:pt x="72" y="624"/>
                  </a:lnTo>
                  <a:lnTo>
                    <a:pt x="77" y="630"/>
                  </a:lnTo>
                  <a:lnTo>
                    <a:pt x="81" y="640"/>
                  </a:lnTo>
                  <a:lnTo>
                    <a:pt x="84" y="648"/>
                  </a:lnTo>
                  <a:lnTo>
                    <a:pt x="84" y="656"/>
                  </a:lnTo>
                  <a:lnTo>
                    <a:pt x="84" y="665"/>
                  </a:lnTo>
                  <a:lnTo>
                    <a:pt x="81" y="673"/>
                  </a:lnTo>
                  <a:lnTo>
                    <a:pt x="77" y="681"/>
                  </a:lnTo>
                  <a:lnTo>
                    <a:pt x="72" y="686"/>
                  </a:lnTo>
                  <a:lnTo>
                    <a:pt x="57" y="695"/>
                  </a:lnTo>
                  <a:lnTo>
                    <a:pt x="43" y="705"/>
                  </a:lnTo>
                  <a:lnTo>
                    <a:pt x="27" y="713"/>
                  </a:lnTo>
                  <a:lnTo>
                    <a:pt x="13" y="722"/>
                  </a:lnTo>
                  <a:lnTo>
                    <a:pt x="8" y="727"/>
                  </a:lnTo>
                  <a:lnTo>
                    <a:pt x="4" y="735"/>
                  </a:lnTo>
                  <a:lnTo>
                    <a:pt x="1" y="743"/>
                  </a:lnTo>
                  <a:lnTo>
                    <a:pt x="0" y="753"/>
                  </a:lnTo>
                  <a:lnTo>
                    <a:pt x="1" y="758"/>
                  </a:lnTo>
                  <a:lnTo>
                    <a:pt x="3" y="762"/>
                  </a:lnTo>
                  <a:lnTo>
                    <a:pt x="5" y="767"/>
                  </a:lnTo>
                  <a:lnTo>
                    <a:pt x="9" y="771"/>
                  </a:lnTo>
                  <a:lnTo>
                    <a:pt x="17" y="778"/>
                  </a:lnTo>
                  <a:lnTo>
                    <a:pt x="28" y="783"/>
                  </a:lnTo>
                  <a:lnTo>
                    <a:pt x="39" y="787"/>
                  </a:lnTo>
                  <a:lnTo>
                    <a:pt x="48" y="793"/>
                  </a:lnTo>
                  <a:lnTo>
                    <a:pt x="56" y="797"/>
                  </a:lnTo>
                  <a:lnTo>
                    <a:pt x="60" y="801"/>
                  </a:lnTo>
                  <a:lnTo>
                    <a:pt x="84" y="806"/>
                  </a:lnTo>
                  <a:lnTo>
                    <a:pt x="100" y="807"/>
                  </a:lnTo>
                  <a:lnTo>
                    <a:pt x="115" y="810"/>
                  </a:lnTo>
                  <a:lnTo>
                    <a:pt x="131" y="814"/>
                  </a:lnTo>
                  <a:lnTo>
                    <a:pt x="145" y="818"/>
                  </a:lnTo>
                  <a:lnTo>
                    <a:pt x="160" y="823"/>
                  </a:lnTo>
                  <a:lnTo>
                    <a:pt x="175" y="827"/>
                  </a:lnTo>
                  <a:lnTo>
                    <a:pt x="189" y="830"/>
                  </a:lnTo>
                  <a:lnTo>
                    <a:pt x="205" y="830"/>
                  </a:lnTo>
                  <a:lnTo>
                    <a:pt x="229" y="826"/>
                  </a:lnTo>
                  <a:lnTo>
                    <a:pt x="255" y="823"/>
                  </a:lnTo>
                  <a:lnTo>
                    <a:pt x="279" y="822"/>
                  </a:lnTo>
                  <a:lnTo>
                    <a:pt x="304" y="821"/>
                  </a:lnTo>
                  <a:lnTo>
                    <a:pt x="328" y="821"/>
                  </a:lnTo>
                  <a:lnTo>
                    <a:pt x="352" y="821"/>
                  </a:lnTo>
                  <a:lnTo>
                    <a:pt x="374" y="822"/>
                  </a:lnTo>
                  <a:lnTo>
                    <a:pt x="397" y="825"/>
                  </a:lnTo>
                  <a:lnTo>
                    <a:pt x="388" y="814"/>
                  </a:lnTo>
                  <a:lnTo>
                    <a:pt x="382" y="806"/>
                  </a:lnTo>
                  <a:lnTo>
                    <a:pt x="377" y="799"/>
                  </a:lnTo>
                  <a:lnTo>
                    <a:pt x="368" y="789"/>
                  </a:lnTo>
                  <a:lnTo>
                    <a:pt x="368" y="674"/>
                  </a:lnTo>
                  <a:lnTo>
                    <a:pt x="381" y="680"/>
                  </a:lnTo>
                  <a:lnTo>
                    <a:pt x="393" y="685"/>
                  </a:lnTo>
                  <a:lnTo>
                    <a:pt x="401" y="691"/>
                  </a:lnTo>
                  <a:lnTo>
                    <a:pt x="409" y="698"/>
                  </a:lnTo>
                  <a:lnTo>
                    <a:pt x="416" y="705"/>
                  </a:lnTo>
                  <a:lnTo>
                    <a:pt x="424" y="711"/>
                  </a:lnTo>
                  <a:lnTo>
                    <a:pt x="434" y="717"/>
                  </a:lnTo>
                  <a:lnTo>
                    <a:pt x="446" y="722"/>
                  </a:lnTo>
                  <a:lnTo>
                    <a:pt x="452" y="703"/>
                  </a:lnTo>
                  <a:lnTo>
                    <a:pt x="456" y="686"/>
                  </a:lnTo>
                  <a:lnTo>
                    <a:pt x="457" y="670"/>
                  </a:lnTo>
                  <a:lnTo>
                    <a:pt x="458" y="654"/>
                  </a:lnTo>
                  <a:lnTo>
                    <a:pt x="458" y="621"/>
                  </a:lnTo>
                  <a:lnTo>
                    <a:pt x="458" y="578"/>
                  </a:lnTo>
                  <a:lnTo>
                    <a:pt x="458" y="529"/>
                  </a:lnTo>
                  <a:lnTo>
                    <a:pt x="458" y="481"/>
                  </a:lnTo>
                  <a:lnTo>
                    <a:pt x="457" y="470"/>
                  </a:lnTo>
                  <a:lnTo>
                    <a:pt x="454" y="460"/>
                  </a:lnTo>
                  <a:lnTo>
                    <a:pt x="452" y="449"/>
                  </a:lnTo>
                  <a:lnTo>
                    <a:pt x="448" y="438"/>
                  </a:lnTo>
                  <a:lnTo>
                    <a:pt x="442" y="429"/>
                  </a:lnTo>
                  <a:lnTo>
                    <a:pt x="437" y="420"/>
                  </a:lnTo>
                  <a:lnTo>
                    <a:pt x="430" y="412"/>
                  </a:lnTo>
                  <a:lnTo>
                    <a:pt x="421" y="404"/>
                  </a:lnTo>
                  <a:lnTo>
                    <a:pt x="416" y="400"/>
                  </a:lnTo>
                  <a:lnTo>
                    <a:pt x="409" y="396"/>
                  </a:lnTo>
                  <a:lnTo>
                    <a:pt x="401" y="393"/>
                  </a:lnTo>
                  <a:lnTo>
                    <a:pt x="394" y="392"/>
                  </a:lnTo>
                  <a:lnTo>
                    <a:pt x="378" y="388"/>
                  </a:lnTo>
                  <a:lnTo>
                    <a:pt x="362" y="384"/>
                  </a:lnTo>
                  <a:lnTo>
                    <a:pt x="354" y="381"/>
                  </a:lnTo>
                  <a:lnTo>
                    <a:pt x="348" y="378"/>
                  </a:lnTo>
                  <a:lnTo>
                    <a:pt x="341" y="374"/>
                  </a:lnTo>
                  <a:lnTo>
                    <a:pt x="336" y="369"/>
                  </a:lnTo>
                  <a:lnTo>
                    <a:pt x="332" y="364"/>
                  </a:lnTo>
                  <a:lnTo>
                    <a:pt x="328" y="356"/>
                  </a:lnTo>
                  <a:lnTo>
                    <a:pt x="327" y="348"/>
                  </a:lnTo>
                  <a:lnTo>
                    <a:pt x="325" y="337"/>
                  </a:lnTo>
                  <a:lnTo>
                    <a:pt x="327" y="328"/>
                  </a:lnTo>
                  <a:lnTo>
                    <a:pt x="328" y="321"/>
                  </a:lnTo>
                  <a:lnTo>
                    <a:pt x="329" y="314"/>
                  </a:lnTo>
                  <a:lnTo>
                    <a:pt x="332" y="308"/>
                  </a:lnTo>
                  <a:lnTo>
                    <a:pt x="340" y="297"/>
                  </a:lnTo>
                  <a:lnTo>
                    <a:pt x="349" y="286"/>
                  </a:lnTo>
                  <a:lnTo>
                    <a:pt x="358" y="277"/>
                  </a:lnTo>
                  <a:lnTo>
                    <a:pt x="369" y="266"/>
                  </a:lnTo>
                  <a:lnTo>
                    <a:pt x="378" y="254"/>
                  </a:lnTo>
                  <a:lnTo>
                    <a:pt x="385" y="241"/>
                  </a:lnTo>
                  <a:lnTo>
                    <a:pt x="368" y="22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2" name="Freeform 71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1354138" y="3467100"/>
              <a:ext cx="214312" cy="246063"/>
            </a:xfrm>
            <a:custGeom>
              <a:avLst/>
              <a:gdLst/>
              <a:ahLst/>
              <a:cxnLst>
                <a:cxn ang="0">
                  <a:pos x="333" y="645"/>
                </a:cxn>
                <a:cxn ang="0">
                  <a:pos x="342" y="613"/>
                </a:cxn>
                <a:cxn ang="0">
                  <a:pos x="371" y="574"/>
                </a:cxn>
                <a:cxn ang="0">
                  <a:pos x="406" y="542"/>
                </a:cxn>
                <a:cxn ang="0">
                  <a:pos x="438" y="509"/>
                </a:cxn>
                <a:cxn ang="0">
                  <a:pos x="454" y="476"/>
                </a:cxn>
                <a:cxn ang="0">
                  <a:pos x="457" y="452"/>
                </a:cxn>
                <a:cxn ang="0">
                  <a:pos x="447" y="412"/>
                </a:cxn>
                <a:cxn ang="0">
                  <a:pos x="465" y="396"/>
                </a:cxn>
                <a:cxn ang="0">
                  <a:pos x="483" y="376"/>
                </a:cxn>
                <a:cxn ang="0">
                  <a:pos x="465" y="349"/>
                </a:cxn>
                <a:cxn ang="0">
                  <a:pos x="446" y="325"/>
                </a:cxn>
                <a:cxn ang="0">
                  <a:pos x="453" y="315"/>
                </a:cxn>
                <a:cxn ang="0">
                  <a:pos x="466" y="287"/>
                </a:cxn>
                <a:cxn ang="0">
                  <a:pos x="474" y="249"/>
                </a:cxn>
                <a:cxn ang="0">
                  <a:pos x="473" y="193"/>
                </a:cxn>
                <a:cxn ang="0">
                  <a:pos x="390" y="169"/>
                </a:cxn>
                <a:cxn ang="0">
                  <a:pos x="302" y="145"/>
                </a:cxn>
                <a:cxn ang="0">
                  <a:pos x="257" y="125"/>
                </a:cxn>
                <a:cxn ang="0">
                  <a:pos x="237" y="99"/>
                </a:cxn>
                <a:cxn ang="0">
                  <a:pos x="209" y="55"/>
                </a:cxn>
                <a:cxn ang="0">
                  <a:pos x="189" y="44"/>
                </a:cxn>
                <a:cxn ang="0">
                  <a:pos x="153" y="43"/>
                </a:cxn>
                <a:cxn ang="0">
                  <a:pos x="129" y="41"/>
                </a:cxn>
                <a:cxn ang="0">
                  <a:pos x="110" y="28"/>
                </a:cxn>
                <a:cxn ang="0">
                  <a:pos x="82" y="8"/>
                </a:cxn>
                <a:cxn ang="0">
                  <a:pos x="68" y="33"/>
                </a:cxn>
                <a:cxn ang="0">
                  <a:pos x="48" y="75"/>
                </a:cxn>
                <a:cxn ang="0">
                  <a:pos x="22" y="95"/>
                </a:cxn>
                <a:cxn ang="0">
                  <a:pos x="4" y="112"/>
                </a:cxn>
                <a:cxn ang="0">
                  <a:pos x="0" y="127"/>
                </a:cxn>
                <a:cxn ang="0">
                  <a:pos x="5" y="153"/>
                </a:cxn>
                <a:cxn ang="0">
                  <a:pos x="16" y="168"/>
                </a:cxn>
                <a:cxn ang="0">
                  <a:pos x="37" y="177"/>
                </a:cxn>
                <a:cxn ang="0">
                  <a:pos x="58" y="185"/>
                </a:cxn>
                <a:cxn ang="0">
                  <a:pos x="70" y="201"/>
                </a:cxn>
                <a:cxn ang="0">
                  <a:pos x="77" y="224"/>
                </a:cxn>
                <a:cxn ang="0">
                  <a:pos x="80" y="264"/>
                </a:cxn>
                <a:cxn ang="0">
                  <a:pos x="88" y="287"/>
                </a:cxn>
                <a:cxn ang="0">
                  <a:pos x="108" y="301"/>
                </a:cxn>
                <a:cxn ang="0">
                  <a:pos x="157" y="315"/>
                </a:cxn>
                <a:cxn ang="0">
                  <a:pos x="192" y="329"/>
                </a:cxn>
                <a:cxn ang="0">
                  <a:pos x="198" y="344"/>
                </a:cxn>
                <a:cxn ang="0">
                  <a:pos x="198" y="397"/>
                </a:cxn>
                <a:cxn ang="0">
                  <a:pos x="194" y="449"/>
                </a:cxn>
                <a:cxn ang="0">
                  <a:pos x="200" y="477"/>
                </a:cxn>
                <a:cxn ang="0">
                  <a:pos x="210" y="497"/>
                </a:cxn>
                <a:cxn ang="0">
                  <a:pos x="226" y="506"/>
                </a:cxn>
                <a:cxn ang="0">
                  <a:pos x="252" y="516"/>
                </a:cxn>
                <a:cxn ang="0">
                  <a:pos x="262" y="525"/>
                </a:cxn>
                <a:cxn ang="0">
                  <a:pos x="307" y="614"/>
                </a:cxn>
              </a:cxnLst>
              <a:rect l="0" t="0" r="r" b="b"/>
              <a:pathLst>
                <a:path w="499" h="662">
                  <a:moveTo>
                    <a:pt x="331" y="662"/>
                  </a:moveTo>
                  <a:lnTo>
                    <a:pt x="331" y="653"/>
                  </a:lnTo>
                  <a:lnTo>
                    <a:pt x="333" y="645"/>
                  </a:lnTo>
                  <a:lnTo>
                    <a:pt x="334" y="636"/>
                  </a:lnTo>
                  <a:lnTo>
                    <a:pt x="337" y="628"/>
                  </a:lnTo>
                  <a:lnTo>
                    <a:pt x="342" y="613"/>
                  </a:lnTo>
                  <a:lnTo>
                    <a:pt x="350" y="600"/>
                  </a:lnTo>
                  <a:lnTo>
                    <a:pt x="361" y="586"/>
                  </a:lnTo>
                  <a:lnTo>
                    <a:pt x="371" y="574"/>
                  </a:lnTo>
                  <a:lnTo>
                    <a:pt x="382" y="564"/>
                  </a:lnTo>
                  <a:lnTo>
                    <a:pt x="394" y="553"/>
                  </a:lnTo>
                  <a:lnTo>
                    <a:pt x="406" y="542"/>
                  </a:lnTo>
                  <a:lnTo>
                    <a:pt x="417" y="532"/>
                  </a:lnTo>
                  <a:lnTo>
                    <a:pt x="427" y="520"/>
                  </a:lnTo>
                  <a:lnTo>
                    <a:pt x="438" y="509"/>
                  </a:lnTo>
                  <a:lnTo>
                    <a:pt x="446" y="496"/>
                  </a:lnTo>
                  <a:lnTo>
                    <a:pt x="451" y="482"/>
                  </a:lnTo>
                  <a:lnTo>
                    <a:pt x="454" y="476"/>
                  </a:lnTo>
                  <a:lnTo>
                    <a:pt x="455" y="468"/>
                  </a:lnTo>
                  <a:lnTo>
                    <a:pt x="457" y="460"/>
                  </a:lnTo>
                  <a:lnTo>
                    <a:pt x="457" y="452"/>
                  </a:lnTo>
                  <a:lnTo>
                    <a:pt x="451" y="432"/>
                  </a:lnTo>
                  <a:lnTo>
                    <a:pt x="445" y="416"/>
                  </a:lnTo>
                  <a:lnTo>
                    <a:pt x="447" y="412"/>
                  </a:lnTo>
                  <a:lnTo>
                    <a:pt x="451" y="407"/>
                  </a:lnTo>
                  <a:lnTo>
                    <a:pt x="457" y="401"/>
                  </a:lnTo>
                  <a:lnTo>
                    <a:pt x="465" y="396"/>
                  </a:lnTo>
                  <a:lnTo>
                    <a:pt x="471" y="391"/>
                  </a:lnTo>
                  <a:lnTo>
                    <a:pt x="478" y="384"/>
                  </a:lnTo>
                  <a:lnTo>
                    <a:pt x="483" y="376"/>
                  </a:lnTo>
                  <a:lnTo>
                    <a:pt x="487" y="368"/>
                  </a:lnTo>
                  <a:lnTo>
                    <a:pt x="478" y="363"/>
                  </a:lnTo>
                  <a:lnTo>
                    <a:pt x="465" y="349"/>
                  </a:lnTo>
                  <a:lnTo>
                    <a:pt x="451" y="337"/>
                  </a:lnTo>
                  <a:lnTo>
                    <a:pt x="445" y="332"/>
                  </a:lnTo>
                  <a:lnTo>
                    <a:pt x="446" y="325"/>
                  </a:lnTo>
                  <a:lnTo>
                    <a:pt x="447" y="321"/>
                  </a:lnTo>
                  <a:lnTo>
                    <a:pt x="450" y="317"/>
                  </a:lnTo>
                  <a:lnTo>
                    <a:pt x="453" y="315"/>
                  </a:lnTo>
                  <a:lnTo>
                    <a:pt x="461" y="309"/>
                  </a:lnTo>
                  <a:lnTo>
                    <a:pt x="470" y="301"/>
                  </a:lnTo>
                  <a:lnTo>
                    <a:pt x="466" y="287"/>
                  </a:lnTo>
                  <a:lnTo>
                    <a:pt x="463" y="272"/>
                  </a:lnTo>
                  <a:lnTo>
                    <a:pt x="466" y="264"/>
                  </a:lnTo>
                  <a:lnTo>
                    <a:pt x="474" y="249"/>
                  </a:lnTo>
                  <a:lnTo>
                    <a:pt x="486" y="231"/>
                  </a:lnTo>
                  <a:lnTo>
                    <a:pt x="499" y="205"/>
                  </a:lnTo>
                  <a:lnTo>
                    <a:pt x="473" y="193"/>
                  </a:lnTo>
                  <a:lnTo>
                    <a:pt x="445" y="184"/>
                  </a:lnTo>
                  <a:lnTo>
                    <a:pt x="418" y="176"/>
                  </a:lnTo>
                  <a:lnTo>
                    <a:pt x="390" y="169"/>
                  </a:lnTo>
                  <a:lnTo>
                    <a:pt x="361" y="163"/>
                  </a:lnTo>
                  <a:lnTo>
                    <a:pt x="331" y="155"/>
                  </a:lnTo>
                  <a:lnTo>
                    <a:pt x="302" y="145"/>
                  </a:lnTo>
                  <a:lnTo>
                    <a:pt x="270" y="133"/>
                  </a:lnTo>
                  <a:lnTo>
                    <a:pt x="264" y="129"/>
                  </a:lnTo>
                  <a:lnTo>
                    <a:pt x="257" y="125"/>
                  </a:lnTo>
                  <a:lnTo>
                    <a:pt x="252" y="120"/>
                  </a:lnTo>
                  <a:lnTo>
                    <a:pt x="246" y="113"/>
                  </a:lnTo>
                  <a:lnTo>
                    <a:pt x="237" y="99"/>
                  </a:lnTo>
                  <a:lnTo>
                    <a:pt x="228" y="83"/>
                  </a:lnTo>
                  <a:lnTo>
                    <a:pt x="220" y="68"/>
                  </a:lnTo>
                  <a:lnTo>
                    <a:pt x="209" y="55"/>
                  </a:lnTo>
                  <a:lnTo>
                    <a:pt x="204" y="49"/>
                  </a:lnTo>
                  <a:lnTo>
                    <a:pt x="197" y="47"/>
                  </a:lnTo>
                  <a:lnTo>
                    <a:pt x="189" y="44"/>
                  </a:lnTo>
                  <a:lnTo>
                    <a:pt x="181" y="43"/>
                  </a:lnTo>
                  <a:lnTo>
                    <a:pt x="165" y="43"/>
                  </a:lnTo>
                  <a:lnTo>
                    <a:pt x="153" y="43"/>
                  </a:lnTo>
                  <a:lnTo>
                    <a:pt x="144" y="43"/>
                  </a:lnTo>
                  <a:lnTo>
                    <a:pt x="138" y="43"/>
                  </a:lnTo>
                  <a:lnTo>
                    <a:pt x="129" y="41"/>
                  </a:lnTo>
                  <a:lnTo>
                    <a:pt x="121" y="39"/>
                  </a:lnTo>
                  <a:lnTo>
                    <a:pt x="114" y="35"/>
                  </a:lnTo>
                  <a:lnTo>
                    <a:pt x="110" y="28"/>
                  </a:lnTo>
                  <a:lnTo>
                    <a:pt x="101" y="15"/>
                  </a:lnTo>
                  <a:lnTo>
                    <a:pt x="90" y="0"/>
                  </a:lnTo>
                  <a:lnTo>
                    <a:pt x="82" y="8"/>
                  </a:lnTo>
                  <a:lnTo>
                    <a:pt x="76" y="16"/>
                  </a:lnTo>
                  <a:lnTo>
                    <a:pt x="72" y="24"/>
                  </a:lnTo>
                  <a:lnTo>
                    <a:pt x="68" y="33"/>
                  </a:lnTo>
                  <a:lnTo>
                    <a:pt x="61" y="51"/>
                  </a:lnTo>
                  <a:lnTo>
                    <a:pt x="54" y="67"/>
                  </a:lnTo>
                  <a:lnTo>
                    <a:pt x="48" y="75"/>
                  </a:lnTo>
                  <a:lnTo>
                    <a:pt x="41" y="83"/>
                  </a:lnTo>
                  <a:lnTo>
                    <a:pt x="32" y="88"/>
                  </a:lnTo>
                  <a:lnTo>
                    <a:pt x="22" y="95"/>
                  </a:lnTo>
                  <a:lnTo>
                    <a:pt x="14" y="101"/>
                  </a:lnTo>
                  <a:lnTo>
                    <a:pt x="6" y="108"/>
                  </a:lnTo>
                  <a:lnTo>
                    <a:pt x="4" y="112"/>
                  </a:lnTo>
                  <a:lnTo>
                    <a:pt x="1" y="117"/>
                  </a:lnTo>
                  <a:lnTo>
                    <a:pt x="0" y="121"/>
                  </a:lnTo>
                  <a:lnTo>
                    <a:pt x="0" y="127"/>
                  </a:lnTo>
                  <a:lnTo>
                    <a:pt x="1" y="137"/>
                  </a:lnTo>
                  <a:lnTo>
                    <a:pt x="2" y="147"/>
                  </a:lnTo>
                  <a:lnTo>
                    <a:pt x="5" y="153"/>
                  </a:lnTo>
                  <a:lnTo>
                    <a:pt x="8" y="159"/>
                  </a:lnTo>
                  <a:lnTo>
                    <a:pt x="12" y="164"/>
                  </a:lnTo>
                  <a:lnTo>
                    <a:pt x="16" y="168"/>
                  </a:lnTo>
                  <a:lnTo>
                    <a:pt x="21" y="171"/>
                  </a:lnTo>
                  <a:lnTo>
                    <a:pt x="26" y="173"/>
                  </a:lnTo>
                  <a:lnTo>
                    <a:pt x="37" y="177"/>
                  </a:lnTo>
                  <a:lnTo>
                    <a:pt x="48" y="181"/>
                  </a:lnTo>
                  <a:lnTo>
                    <a:pt x="53" y="183"/>
                  </a:lnTo>
                  <a:lnTo>
                    <a:pt x="58" y="185"/>
                  </a:lnTo>
                  <a:lnTo>
                    <a:pt x="62" y="189"/>
                  </a:lnTo>
                  <a:lnTo>
                    <a:pt x="66" y="193"/>
                  </a:lnTo>
                  <a:lnTo>
                    <a:pt x="70" y="201"/>
                  </a:lnTo>
                  <a:lnTo>
                    <a:pt x="73" y="209"/>
                  </a:lnTo>
                  <a:lnTo>
                    <a:pt x="76" y="216"/>
                  </a:lnTo>
                  <a:lnTo>
                    <a:pt x="77" y="224"/>
                  </a:lnTo>
                  <a:lnTo>
                    <a:pt x="78" y="237"/>
                  </a:lnTo>
                  <a:lnTo>
                    <a:pt x="78" y="251"/>
                  </a:lnTo>
                  <a:lnTo>
                    <a:pt x="80" y="264"/>
                  </a:lnTo>
                  <a:lnTo>
                    <a:pt x="82" y="276"/>
                  </a:lnTo>
                  <a:lnTo>
                    <a:pt x="84" y="281"/>
                  </a:lnTo>
                  <a:lnTo>
                    <a:pt x="88" y="287"/>
                  </a:lnTo>
                  <a:lnTo>
                    <a:pt x="92" y="291"/>
                  </a:lnTo>
                  <a:lnTo>
                    <a:pt x="96" y="296"/>
                  </a:lnTo>
                  <a:lnTo>
                    <a:pt x="108" y="301"/>
                  </a:lnTo>
                  <a:lnTo>
                    <a:pt x="122" y="307"/>
                  </a:lnTo>
                  <a:lnTo>
                    <a:pt x="140" y="311"/>
                  </a:lnTo>
                  <a:lnTo>
                    <a:pt x="157" y="315"/>
                  </a:lnTo>
                  <a:lnTo>
                    <a:pt x="173" y="320"/>
                  </a:lnTo>
                  <a:lnTo>
                    <a:pt x="186" y="327"/>
                  </a:lnTo>
                  <a:lnTo>
                    <a:pt x="192" y="329"/>
                  </a:lnTo>
                  <a:lnTo>
                    <a:pt x="196" y="333"/>
                  </a:lnTo>
                  <a:lnTo>
                    <a:pt x="198" y="339"/>
                  </a:lnTo>
                  <a:lnTo>
                    <a:pt x="198" y="344"/>
                  </a:lnTo>
                  <a:lnTo>
                    <a:pt x="198" y="360"/>
                  </a:lnTo>
                  <a:lnTo>
                    <a:pt x="198" y="379"/>
                  </a:lnTo>
                  <a:lnTo>
                    <a:pt x="198" y="397"/>
                  </a:lnTo>
                  <a:lnTo>
                    <a:pt x="198" y="411"/>
                  </a:lnTo>
                  <a:lnTo>
                    <a:pt x="197" y="431"/>
                  </a:lnTo>
                  <a:lnTo>
                    <a:pt x="194" y="449"/>
                  </a:lnTo>
                  <a:lnTo>
                    <a:pt x="194" y="458"/>
                  </a:lnTo>
                  <a:lnTo>
                    <a:pt x="196" y="468"/>
                  </a:lnTo>
                  <a:lnTo>
                    <a:pt x="200" y="477"/>
                  </a:lnTo>
                  <a:lnTo>
                    <a:pt x="205" y="488"/>
                  </a:lnTo>
                  <a:lnTo>
                    <a:pt x="208" y="493"/>
                  </a:lnTo>
                  <a:lnTo>
                    <a:pt x="210" y="497"/>
                  </a:lnTo>
                  <a:lnTo>
                    <a:pt x="213" y="501"/>
                  </a:lnTo>
                  <a:lnTo>
                    <a:pt x="217" y="504"/>
                  </a:lnTo>
                  <a:lnTo>
                    <a:pt x="226" y="506"/>
                  </a:lnTo>
                  <a:lnTo>
                    <a:pt x="234" y="509"/>
                  </a:lnTo>
                  <a:lnTo>
                    <a:pt x="244" y="512"/>
                  </a:lnTo>
                  <a:lnTo>
                    <a:pt x="252" y="516"/>
                  </a:lnTo>
                  <a:lnTo>
                    <a:pt x="256" y="518"/>
                  </a:lnTo>
                  <a:lnTo>
                    <a:pt x="260" y="521"/>
                  </a:lnTo>
                  <a:lnTo>
                    <a:pt x="262" y="525"/>
                  </a:lnTo>
                  <a:lnTo>
                    <a:pt x="265" y="530"/>
                  </a:lnTo>
                  <a:lnTo>
                    <a:pt x="285" y="572"/>
                  </a:lnTo>
                  <a:lnTo>
                    <a:pt x="307" y="614"/>
                  </a:lnTo>
                  <a:lnTo>
                    <a:pt x="323" y="649"/>
                  </a:lnTo>
                  <a:lnTo>
                    <a:pt x="331" y="66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3" name="Freeform 72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3065463" y="2514600"/>
              <a:ext cx="85725" cy="65088"/>
            </a:xfrm>
            <a:custGeom>
              <a:avLst/>
              <a:gdLst/>
              <a:ahLst/>
              <a:cxnLst>
                <a:cxn ang="0">
                  <a:pos x="174" y="89"/>
                </a:cxn>
                <a:cxn ang="0">
                  <a:pos x="172" y="89"/>
                </a:cxn>
                <a:cxn ang="0">
                  <a:pos x="169" y="87"/>
                </a:cxn>
                <a:cxn ang="0">
                  <a:pos x="166" y="83"/>
                </a:cxn>
                <a:cxn ang="0">
                  <a:pos x="162" y="77"/>
                </a:cxn>
                <a:cxn ang="0">
                  <a:pos x="156" y="64"/>
                </a:cxn>
                <a:cxn ang="0">
                  <a:pos x="148" y="50"/>
                </a:cxn>
                <a:cxn ang="0">
                  <a:pos x="134" y="19"/>
                </a:cxn>
                <a:cxn ang="0">
                  <a:pos x="126" y="0"/>
                </a:cxn>
                <a:cxn ang="0">
                  <a:pos x="116" y="2"/>
                </a:cxn>
                <a:cxn ang="0">
                  <a:pos x="105" y="3"/>
                </a:cxn>
                <a:cxn ang="0">
                  <a:pos x="94" y="7"/>
                </a:cxn>
                <a:cxn ang="0">
                  <a:pos x="84" y="10"/>
                </a:cxn>
                <a:cxn ang="0">
                  <a:pos x="73" y="15"/>
                </a:cxn>
                <a:cxn ang="0">
                  <a:pos x="62" y="20"/>
                </a:cxn>
                <a:cxn ang="0">
                  <a:pos x="53" y="26"/>
                </a:cxn>
                <a:cxn ang="0">
                  <a:pos x="42" y="34"/>
                </a:cxn>
                <a:cxn ang="0">
                  <a:pos x="34" y="40"/>
                </a:cxn>
                <a:cxn ang="0">
                  <a:pos x="27" y="50"/>
                </a:cxn>
                <a:cxn ang="0">
                  <a:pos x="19" y="59"/>
                </a:cxn>
                <a:cxn ang="0">
                  <a:pos x="12" y="69"/>
                </a:cxn>
                <a:cxn ang="0">
                  <a:pos x="8" y="80"/>
                </a:cxn>
                <a:cxn ang="0">
                  <a:pos x="4" y="92"/>
                </a:cxn>
                <a:cxn ang="0">
                  <a:pos x="1" y="105"/>
                </a:cxn>
                <a:cxn ang="0">
                  <a:pos x="0" y="120"/>
                </a:cxn>
                <a:cxn ang="0">
                  <a:pos x="0" y="133"/>
                </a:cxn>
                <a:cxn ang="0">
                  <a:pos x="1" y="144"/>
                </a:cxn>
                <a:cxn ang="0">
                  <a:pos x="1" y="153"/>
                </a:cxn>
                <a:cxn ang="0">
                  <a:pos x="4" y="161"/>
                </a:cxn>
                <a:cxn ang="0">
                  <a:pos x="8" y="167"/>
                </a:cxn>
                <a:cxn ang="0">
                  <a:pos x="13" y="171"/>
                </a:cxn>
                <a:cxn ang="0">
                  <a:pos x="20" y="173"/>
                </a:cxn>
                <a:cxn ang="0">
                  <a:pos x="31" y="175"/>
                </a:cxn>
                <a:cxn ang="0">
                  <a:pos x="42" y="173"/>
                </a:cxn>
                <a:cxn ang="0">
                  <a:pos x="54" y="172"/>
                </a:cxn>
                <a:cxn ang="0">
                  <a:pos x="65" y="168"/>
                </a:cxn>
                <a:cxn ang="0">
                  <a:pos x="74" y="165"/>
                </a:cxn>
                <a:cxn ang="0">
                  <a:pos x="82" y="161"/>
                </a:cxn>
                <a:cxn ang="0">
                  <a:pos x="92" y="159"/>
                </a:cxn>
                <a:cxn ang="0">
                  <a:pos x="100" y="157"/>
                </a:cxn>
                <a:cxn ang="0">
                  <a:pos x="109" y="156"/>
                </a:cxn>
                <a:cxn ang="0">
                  <a:pos x="132" y="156"/>
                </a:cxn>
                <a:cxn ang="0">
                  <a:pos x="148" y="156"/>
                </a:cxn>
                <a:cxn ang="0">
                  <a:pos x="162" y="156"/>
                </a:cxn>
                <a:cxn ang="0">
                  <a:pos x="174" y="156"/>
                </a:cxn>
                <a:cxn ang="0">
                  <a:pos x="182" y="156"/>
                </a:cxn>
                <a:cxn ang="0">
                  <a:pos x="192" y="153"/>
                </a:cxn>
                <a:cxn ang="0">
                  <a:pos x="197" y="151"/>
                </a:cxn>
                <a:cxn ang="0">
                  <a:pos x="201" y="147"/>
                </a:cxn>
                <a:cxn ang="0">
                  <a:pos x="204" y="140"/>
                </a:cxn>
                <a:cxn ang="0">
                  <a:pos x="205" y="132"/>
                </a:cxn>
                <a:cxn ang="0">
                  <a:pos x="204" y="125"/>
                </a:cxn>
                <a:cxn ang="0">
                  <a:pos x="202" y="117"/>
                </a:cxn>
                <a:cxn ang="0">
                  <a:pos x="198" y="111"/>
                </a:cxn>
                <a:cxn ang="0">
                  <a:pos x="194" y="104"/>
                </a:cxn>
                <a:cxn ang="0">
                  <a:pos x="189" y="99"/>
                </a:cxn>
                <a:cxn ang="0">
                  <a:pos x="185" y="93"/>
                </a:cxn>
                <a:cxn ang="0">
                  <a:pos x="180" y="91"/>
                </a:cxn>
                <a:cxn ang="0">
                  <a:pos x="174" y="89"/>
                </a:cxn>
              </a:cxnLst>
              <a:rect l="0" t="0" r="r" b="b"/>
              <a:pathLst>
                <a:path w="205" h="175">
                  <a:moveTo>
                    <a:pt x="174" y="89"/>
                  </a:moveTo>
                  <a:lnTo>
                    <a:pt x="172" y="89"/>
                  </a:lnTo>
                  <a:lnTo>
                    <a:pt x="169" y="87"/>
                  </a:lnTo>
                  <a:lnTo>
                    <a:pt x="166" y="83"/>
                  </a:lnTo>
                  <a:lnTo>
                    <a:pt x="162" y="77"/>
                  </a:lnTo>
                  <a:lnTo>
                    <a:pt x="156" y="64"/>
                  </a:lnTo>
                  <a:lnTo>
                    <a:pt x="148" y="50"/>
                  </a:lnTo>
                  <a:lnTo>
                    <a:pt x="134" y="19"/>
                  </a:lnTo>
                  <a:lnTo>
                    <a:pt x="126" y="0"/>
                  </a:lnTo>
                  <a:lnTo>
                    <a:pt x="116" y="2"/>
                  </a:lnTo>
                  <a:lnTo>
                    <a:pt x="105" y="3"/>
                  </a:lnTo>
                  <a:lnTo>
                    <a:pt x="94" y="7"/>
                  </a:lnTo>
                  <a:lnTo>
                    <a:pt x="84" y="10"/>
                  </a:lnTo>
                  <a:lnTo>
                    <a:pt x="73" y="15"/>
                  </a:lnTo>
                  <a:lnTo>
                    <a:pt x="62" y="20"/>
                  </a:lnTo>
                  <a:lnTo>
                    <a:pt x="53" y="26"/>
                  </a:lnTo>
                  <a:lnTo>
                    <a:pt x="42" y="34"/>
                  </a:lnTo>
                  <a:lnTo>
                    <a:pt x="34" y="40"/>
                  </a:lnTo>
                  <a:lnTo>
                    <a:pt x="27" y="50"/>
                  </a:lnTo>
                  <a:lnTo>
                    <a:pt x="19" y="59"/>
                  </a:lnTo>
                  <a:lnTo>
                    <a:pt x="12" y="69"/>
                  </a:lnTo>
                  <a:lnTo>
                    <a:pt x="8" y="80"/>
                  </a:lnTo>
                  <a:lnTo>
                    <a:pt x="4" y="92"/>
                  </a:lnTo>
                  <a:lnTo>
                    <a:pt x="1" y="105"/>
                  </a:lnTo>
                  <a:lnTo>
                    <a:pt x="0" y="120"/>
                  </a:lnTo>
                  <a:lnTo>
                    <a:pt x="0" y="133"/>
                  </a:lnTo>
                  <a:lnTo>
                    <a:pt x="1" y="144"/>
                  </a:lnTo>
                  <a:lnTo>
                    <a:pt x="1" y="153"/>
                  </a:lnTo>
                  <a:lnTo>
                    <a:pt x="4" y="161"/>
                  </a:lnTo>
                  <a:lnTo>
                    <a:pt x="8" y="167"/>
                  </a:lnTo>
                  <a:lnTo>
                    <a:pt x="13" y="171"/>
                  </a:lnTo>
                  <a:lnTo>
                    <a:pt x="20" y="173"/>
                  </a:lnTo>
                  <a:lnTo>
                    <a:pt x="31" y="175"/>
                  </a:lnTo>
                  <a:lnTo>
                    <a:pt x="42" y="173"/>
                  </a:lnTo>
                  <a:lnTo>
                    <a:pt x="54" y="172"/>
                  </a:lnTo>
                  <a:lnTo>
                    <a:pt x="65" y="168"/>
                  </a:lnTo>
                  <a:lnTo>
                    <a:pt x="74" y="165"/>
                  </a:lnTo>
                  <a:lnTo>
                    <a:pt x="82" y="161"/>
                  </a:lnTo>
                  <a:lnTo>
                    <a:pt x="92" y="159"/>
                  </a:lnTo>
                  <a:lnTo>
                    <a:pt x="100" y="157"/>
                  </a:lnTo>
                  <a:lnTo>
                    <a:pt x="109" y="156"/>
                  </a:lnTo>
                  <a:lnTo>
                    <a:pt x="132" y="156"/>
                  </a:lnTo>
                  <a:lnTo>
                    <a:pt x="148" y="156"/>
                  </a:lnTo>
                  <a:lnTo>
                    <a:pt x="162" y="156"/>
                  </a:lnTo>
                  <a:lnTo>
                    <a:pt x="174" y="156"/>
                  </a:lnTo>
                  <a:lnTo>
                    <a:pt x="182" y="156"/>
                  </a:lnTo>
                  <a:lnTo>
                    <a:pt x="192" y="153"/>
                  </a:lnTo>
                  <a:lnTo>
                    <a:pt x="197" y="151"/>
                  </a:lnTo>
                  <a:lnTo>
                    <a:pt x="201" y="147"/>
                  </a:lnTo>
                  <a:lnTo>
                    <a:pt x="204" y="140"/>
                  </a:lnTo>
                  <a:lnTo>
                    <a:pt x="205" y="132"/>
                  </a:lnTo>
                  <a:lnTo>
                    <a:pt x="204" y="125"/>
                  </a:lnTo>
                  <a:lnTo>
                    <a:pt x="202" y="117"/>
                  </a:lnTo>
                  <a:lnTo>
                    <a:pt x="198" y="111"/>
                  </a:lnTo>
                  <a:lnTo>
                    <a:pt x="194" y="104"/>
                  </a:lnTo>
                  <a:lnTo>
                    <a:pt x="189" y="99"/>
                  </a:lnTo>
                  <a:lnTo>
                    <a:pt x="185" y="93"/>
                  </a:lnTo>
                  <a:lnTo>
                    <a:pt x="180" y="91"/>
                  </a:lnTo>
                  <a:lnTo>
                    <a:pt x="174" y="8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4" name="Freeform 73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2295525" y="3143250"/>
              <a:ext cx="490538" cy="503238"/>
            </a:xfrm>
            <a:custGeom>
              <a:avLst/>
              <a:gdLst/>
              <a:ahLst/>
              <a:cxnLst>
                <a:cxn ang="0">
                  <a:pos x="1045" y="534"/>
                </a:cxn>
                <a:cxn ang="0">
                  <a:pos x="1117" y="581"/>
                </a:cxn>
                <a:cxn ang="0">
                  <a:pos x="1143" y="632"/>
                </a:cxn>
                <a:cxn ang="0">
                  <a:pos x="1114" y="690"/>
                </a:cxn>
                <a:cxn ang="0">
                  <a:pos x="1037" y="745"/>
                </a:cxn>
                <a:cxn ang="0">
                  <a:pos x="1017" y="825"/>
                </a:cxn>
                <a:cxn ang="0">
                  <a:pos x="985" y="941"/>
                </a:cxn>
                <a:cxn ang="0">
                  <a:pos x="906" y="965"/>
                </a:cxn>
                <a:cxn ang="0">
                  <a:pos x="762" y="874"/>
                </a:cxn>
                <a:cxn ang="0">
                  <a:pos x="717" y="889"/>
                </a:cxn>
                <a:cxn ang="0">
                  <a:pos x="677" y="977"/>
                </a:cxn>
                <a:cxn ang="0">
                  <a:pos x="636" y="1039"/>
                </a:cxn>
                <a:cxn ang="0">
                  <a:pos x="590" y="1039"/>
                </a:cxn>
                <a:cxn ang="0">
                  <a:pos x="540" y="1033"/>
                </a:cxn>
                <a:cxn ang="0">
                  <a:pos x="510" y="1082"/>
                </a:cxn>
                <a:cxn ang="0">
                  <a:pos x="493" y="1171"/>
                </a:cxn>
                <a:cxn ang="0">
                  <a:pos x="437" y="1221"/>
                </a:cxn>
                <a:cxn ang="0">
                  <a:pos x="424" y="1303"/>
                </a:cxn>
                <a:cxn ang="0">
                  <a:pos x="378" y="1299"/>
                </a:cxn>
                <a:cxn ang="0">
                  <a:pos x="321" y="1167"/>
                </a:cxn>
                <a:cxn ang="0">
                  <a:pos x="340" y="1109"/>
                </a:cxn>
                <a:cxn ang="0">
                  <a:pos x="337" y="1061"/>
                </a:cxn>
                <a:cxn ang="0">
                  <a:pos x="325" y="1009"/>
                </a:cxn>
                <a:cxn ang="0">
                  <a:pos x="300" y="977"/>
                </a:cxn>
                <a:cxn ang="0">
                  <a:pos x="292" y="935"/>
                </a:cxn>
                <a:cxn ang="0">
                  <a:pos x="247" y="919"/>
                </a:cxn>
                <a:cxn ang="0">
                  <a:pos x="213" y="887"/>
                </a:cxn>
                <a:cxn ang="0">
                  <a:pos x="120" y="873"/>
                </a:cxn>
                <a:cxn ang="0">
                  <a:pos x="56" y="837"/>
                </a:cxn>
                <a:cxn ang="0">
                  <a:pos x="5" y="799"/>
                </a:cxn>
                <a:cxn ang="0">
                  <a:pos x="19" y="746"/>
                </a:cxn>
                <a:cxn ang="0">
                  <a:pos x="80" y="701"/>
                </a:cxn>
                <a:cxn ang="0">
                  <a:pos x="129" y="714"/>
                </a:cxn>
                <a:cxn ang="0">
                  <a:pos x="183" y="708"/>
                </a:cxn>
                <a:cxn ang="0">
                  <a:pos x="165" y="593"/>
                </a:cxn>
                <a:cxn ang="0">
                  <a:pos x="140" y="510"/>
                </a:cxn>
                <a:cxn ang="0">
                  <a:pos x="179" y="465"/>
                </a:cxn>
                <a:cxn ang="0">
                  <a:pos x="342" y="460"/>
                </a:cxn>
                <a:cxn ang="0">
                  <a:pos x="377" y="433"/>
                </a:cxn>
                <a:cxn ang="0">
                  <a:pos x="393" y="318"/>
                </a:cxn>
                <a:cxn ang="0">
                  <a:pos x="433" y="156"/>
                </a:cxn>
                <a:cxn ang="0">
                  <a:pos x="574" y="5"/>
                </a:cxn>
                <a:cxn ang="0">
                  <a:pos x="642" y="7"/>
                </a:cxn>
                <a:cxn ang="0">
                  <a:pos x="674" y="39"/>
                </a:cxn>
                <a:cxn ang="0">
                  <a:pos x="681" y="111"/>
                </a:cxn>
                <a:cxn ang="0">
                  <a:pos x="652" y="185"/>
                </a:cxn>
                <a:cxn ang="0">
                  <a:pos x="602" y="309"/>
                </a:cxn>
                <a:cxn ang="0">
                  <a:pos x="572" y="349"/>
                </a:cxn>
                <a:cxn ang="0">
                  <a:pos x="614" y="390"/>
                </a:cxn>
                <a:cxn ang="0">
                  <a:pos x="609" y="512"/>
                </a:cxn>
                <a:cxn ang="0">
                  <a:pos x="650" y="546"/>
                </a:cxn>
                <a:cxn ang="0">
                  <a:pos x="716" y="486"/>
                </a:cxn>
                <a:cxn ang="0">
                  <a:pos x="796" y="484"/>
                </a:cxn>
                <a:cxn ang="0">
                  <a:pos x="857" y="481"/>
                </a:cxn>
                <a:cxn ang="0">
                  <a:pos x="896" y="513"/>
                </a:cxn>
                <a:cxn ang="0">
                  <a:pos x="926" y="522"/>
                </a:cxn>
                <a:cxn ang="0">
                  <a:pos x="976" y="490"/>
                </a:cxn>
              </a:cxnLst>
              <a:rect l="0" t="0" r="r" b="b"/>
              <a:pathLst>
                <a:path w="1143" h="1342">
                  <a:moveTo>
                    <a:pt x="1024" y="488"/>
                  </a:moveTo>
                  <a:lnTo>
                    <a:pt x="1025" y="494"/>
                  </a:lnTo>
                  <a:lnTo>
                    <a:pt x="1026" y="502"/>
                  </a:lnTo>
                  <a:lnTo>
                    <a:pt x="1028" y="509"/>
                  </a:lnTo>
                  <a:lnTo>
                    <a:pt x="1030" y="514"/>
                  </a:lnTo>
                  <a:lnTo>
                    <a:pt x="1037" y="525"/>
                  </a:lnTo>
                  <a:lnTo>
                    <a:pt x="1045" y="534"/>
                  </a:lnTo>
                  <a:lnTo>
                    <a:pt x="1054" y="542"/>
                  </a:lnTo>
                  <a:lnTo>
                    <a:pt x="1065" y="549"/>
                  </a:lnTo>
                  <a:lnTo>
                    <a:pt x="1075" y="556"/>
                  </a:lnTo>
                  <a:lnTo>
                    <a:pt x="1086" y="562"/>
                  </a:lnTo>
                  <a:lnTo>
                    <a:pt x="1097" y="568"/>
                  </a:lnTo>
                  <a:lnTo>
                    <a:pt x="1107" y="574"/>
                  </a:lnTo>
                  <a:lnTo>
                    <a:pt x="1117" y="581"/>
                  </a:lnTo>
                  <a:lnTo>
                    <a:pt x="1126" y="588"/>
                  </a:lnTo>
                  <a:lnTo>
                    <a:pt x="1133" y="597"/>
                  </a:lnTo>
                  <a:lnTo>
                    <a:pt x="1139" y="606"/>
                  </a:lnTo>
                  <a:lnTo>
                    <a:pt x="1141" y="612"/>
                  </a:lnTo>
                  <a:lnTo>
                    <a:pt x="1142" y="618"/>
                  </a:lnTo>
                  <a:lnTo>
                    <a:pt x="1143" y="625"/>
                  </a:lnTo>
                  <a:lnTo>
                    <a:pt x="1143" y="632"/>
                  </a:lnTo>
                  <a:lnTo>
                    <a:pt x="1143" y="640"/>
                  </a:lnTo>
                  <a:lnTo>
                    <a:pt x="1142" y="646"/>
                  </a:lnTo>
                  <a:lnTo>
                    <a:pt x="1141" y="653"/>
                  </a:lnTo>
                  <a:lnTo>
                    <a:pt x="1138" y="660"/>
                  </a:lnTo>
                  <a:lnTo>
                    <a:pt x="1133" y="670"/>
                  </a:lnTo>
                  <a:lnTo>
                    <a:pt x="1123" y="681"/>
                  </a:lnTo>
                  <a:lnTo>
                    <a:pt x="1114" y="690"/>
                  </a:lnTo>
                  <a:lnTo>
                    <a:pt x="1103" y="698"/>
                  </a:lnTo>
                  <a:lnTo>
                    <a:pt x="1093" y="706"/>
                  </a:lnTo>
                  <a:lnTo>
                    <a:pt x="1081" y="713"/>
                  </a:lnTo>
                  <a:lnTo>
                    <a:pt x="1069" y="721"/>
                  </a:lnTo>
                  <a:lnTo>
                    <a:pt x="1057" y="727"/>
                  </a:lnTo>
                  <a:lnTo>
                    <a:pt x="1046" y="737"/>
                  </a:lnTo>
                  <a:lnTo>
                    <a:pt x="1037" y="745"/>
                  </a:lnTo>
                  <a:lnTo>
                    <a:pt x="1029" y="755"/>
                  </a:lnTo>
                  <a:lnTo>
                    <a:pt x="1022" y="766"/>
                  </a:lnTo>
                  <a:lnTo>
                    <a:pt x="1021" y="773"/>
                  </a:lnTo>
                  <a:lnTo>
                    <a:pt x="1018" y="779"/>
                  </a:lnTo>
                  <a:lnTo>
                    <a:pt x="1018" y="786"/>
                  </a:lnTo>
                  <a:lnTo>
                    <a:pt x="1017" y="794"/>
                  </a:lnTo>
                  <a:lnTo>
                    <a:pt x="1017" y="825"/>
                  </a:lnTo>
                  <a:lnTo>
                    <a:pt x="1017" y="853"/>
                  </a:lnTo>
                  <a:lnTo>
                    <a:pt x="1017" y="882"/>
                  </a:lnTo>
                  <a:lnTo>
                    <a:pt x="1017" y="915"/>
                  </a:lnTo>
                  <a:lnTo>
                    <a:pt x="1012" y="927"/>
                  </a:lnTo>
                  <a:lnTo>
                    <a:pt x="1002" y="930"/>
                  </a:lnTo>
                  <a:lnTo>
                    <a:pt x="993" y="934"/>
                  </a:lnTo>
                  <a:lnTo>
                    <a:pt x="985" y="941"/>
                  </a:lnTo>
                  <a:lnTo>
                    <a:pt x="977" y="949"/>
                  </a:lnTo>
                  <a:lnTo>
                    <a:pt x="969" y="958"/>
                  </a:lnTo>
                  <a:lnTo>
                    <a:pt x="962" y="969"/>
                  </a:lnTo>
                  <a:lnTo>
                    <a:pt x="957" y="981"/>
                  </a:lnTo>
                  <a:lnTo>
                    <a:pt x="952" y="993"/>
                  </a:lnTo>
                  <a:lnTo>
                    <a:pt x="930" y="981"/>
                  </a:lnTo>
                  <a:lnTo>
                    <a:pt x="906" y="965"/>
                  </a:lnTo>
                  <a:lnTo>
                    <a:pt x="880" y="945"/>
                  </a:lnTo>
                  <a:lnTo>
                    <a:pt x="852" y="923"/>
                  </a:lnTo>
                  <a:lnTo>
                    <a:pt x="824" y="905"/>
                  </a:lnTo>
                  <a:lnTo>
                    <a:pt x="797" y="887"/>
                  </a:lnTo>
                  <a:lnTo>
                    <a:pt x="785" y="882"/>
                  </a:lnTo>
                  <a:lnTo>
                    <a:pt x="773" y="877"/>
                  </a:lnTo>
                  <a:lnTo>
                    <a:pt x="762" y="874"/>
                  </a:lnTo>
                  <a:lnTo>
                    <a:pt x="753" y="873"/>
                  </a:lnTo>
                  <a:lnTo>
                    <a:pt x="745" y="873"/>
                  </a:lnTo>
                  <a:lnTo>
                    <a:pt x="738" y="874"/>
                  </a:lnTo>
                  <a:lnTo>
                    <a:pt x="733" y="877"/>
                  </a:lnTo>
                  <a:lnTo>
                    <a:pt x="728" y="881"/>
                  </a:lnTo>
                  <a:lnTo>
                    <a:pt x="722" y="883"/>
                  </a:lnTo>
                  <a:lnTo>
                    <a:pt x="717" y="889"/>
                  </a:lnTo>
                  <a:lnTo>
                    <a:pt x="713" y="894"/>
                  </a:lnTo>
                  <a:lnTo>
                    <a:pt x="709" y="899"/>
                  </a:lnTo>
                  <a:lnTo>
                    <a:pt x="701" y="913"/>
                  </a:lnTo>
                  <a:lnTo>
                    <a:pt x="694" y="927"/>
                  </a:lnTo>
                  <a:lnTo>
                    <a:pt x="689" y="943"/>
                  </a:lnTo>
                  <a:lnTo>
                    <a:pt x="682" y="959"/>
                  </a:lnTo>
                  <a:lnTo>
                    <a:pt x="677" y="977"/>
                  </a:lnTo>
                  <a:lnTo>
                    <a:pt x="670" y="991"/>
                  </a:lnTo>
                  <a:lnTo>
                    <a:pt x="664" y="1007"/>
                  </a:lnTo>
                  <a:lnTo>
                    <a:pt x="656" y="1019"/>
                  </a:lnTo>
                  <a:lnTo>
                    <a:pt x="650" y="1026"/>
                  </a:lnTo>
                  <a:lnTo>
                    <a:pt x="646" y="1031"/>
                  </a:lnTo>
                  <a:lnTo>
                    <a:pt x="641" y="1035"/>
                  </a:lnTo>
                  <a:lnTo>
                    <a:pt x="636" y="1039"/>
                  </a:lnTo>
                  <a:lnTo>
                    <a:pt x="629" y="1043"/>
                  </a:lnTo>
                  <a:lnTo>
                    <a:pt x="622" y="1045"/>
                  </a:lnTo>
                  <a:lnTo>
                    <a:pt x="616" y="1047"/>
                  </a:lnTo>
                  <a:lnTo>
                    <a:pt x="608" y="1047"/>
                  </a:lnTo>
                  <a:lnTo>
                    <a:pt x="600" y="1046"/>
                  </a:lnTo>
                  <a:lnTo>
                    <a:pt x="594" y="1043"/>
                  </a:lnTo>
                  <a:lnTo>
                    <a:pt x="590" y="1039"/>
                  </a:lnTo>
                  <a:lnTo>
                    <a:pt x="586" y="1035"/>
                  </a:lnTo>
                  <a:lnTo>
                    <a:pt x="584" y="1031"/>
                  </a:lnTo>
                  <a:lnTo>
                    <a:pt x="580" y="1027"/>
                  </a:lnTo>
                  <a:lnTo>
                    <a:pt x="573" y="1025"/>
                  </a:lnTo>
                  <a:lnTo>
                    <a:pt x="566" y="1023"/>
                  </a:lnTo>
                  <a:lnTo>
                    <a:pt x="556" y="1026"/>
                  </a:lnTo>
                  <a:lnTo>
                    <a:pt x="540" y="1033"/>
                  </a:lnTo>
                  <a:lnTo>
                    <a:pt x="532" y="1037"/>
                  </a:lnTo>
                  <a:lnTo>
                    <a:pt x="524" y="1041"/>
                  </a:lnTo>
                  <a:lnTo>
                    <a:pt x="520" y="1045"/>
                  </a:lnTo>
                  <a:lnTo>
                    <a:pt x="517" y="1047"/>
                  </a:lnTo>
                  <a:lnTo>
                    <a:pt x="514" y="1057"/>
                  </a:lnTo>
                  <a:lnTo>
                    <a:pt x="512" y="1069"/>
                  </a:lnTo>
                  <a:lnTo>
                    <a:pt x="510" y="1082"/>
                  </a:lnTo>
                  <a:lnTo>
                    <a:pt x="509" y="1097"/>
                  </a:lnTo>
                  <a:lnTo>
                    <a:pt x="508" y="1111"/>
                  </a:lnTo>
                  <a:lnTo>
                    <a:pt x="506" y="1127"/>
                  </a:lnTo>
                  <a:lnTo>
                    <a:pt x="504" y="1142"/>
                  </a:lnTo>
                  <a:lnTo>
                    <a:pt x="500" y="1155"/>
                  </a:lnTo>
                  <a:lnTo>
                    <a:pt x="497" y="1165"/>
                  </a:lnTo>
                  <a:lnTo>
                    <a:pt x="493" y="1171"/>
                  </a:lnTo>
                  <a:lnTo>
                    <a:pt x="488" y="1178"/>
                  </a:lnTo>
                  <a:lnTo>
                    <a:pt x="482" y="1183"/>
                  </a:lnTo>
                  <a:lnTo>
                    <a:pt x="469" y="1194"/>
                  </a:lnTo>
                  <a:lnTo>
                    <a:pt x="456" y="1203"/>
                  </a:lnTo>
                  <a:lnTo>
                    <a:pt x="449" y="1209"/>
                  </a:lnTo>
                  <a:lnTo>
                    <a:pt x="442" y="1215"/>
                  </a:lnTo>
                  <a:lnTo>
                    <a:pt x="437" y="1221"/>
                  </a:lnTo>
                  <a:lnTo>
                    <a:pt x="432" y="1229"/>
                  </a:lnTo>
                  <a:lnTo>
                    <a:pt x="428" y="1237"/>
                  </a:lnTo>
                  <a:lnTo>
                    <a:pt x="424" y="1246"/>
                  </a:lnTo>
                  <a:lnTo>
                    <a:pt x="422" y="1258"/>
                  </a:lnTo>
                  <a:lnTo>
                    <a:pt x="421" y="1270"/>
                  </a:lnTo>
                  <a:lnTo>
                    <a:pt x="422" y="1287"/>
                  </a:lnTo>
                  <a:lnTo>
                    <a:pt x="424" y="1303"/>
                  </a:lnTo>
                  <a:lnTo>
                    <a:pt x="424" y="1322"/>
                  </a:lnTo>
                  <a:lnTo>
                    <a:pt x="421" y="1342"/>
                  </a:lnTo>
                  <a:lnTo>
                    <a:pt x="413" y="1338"/>
                  </a:lnTo>
                  <a:lnTo>
                    <a:pt x="405" y="1332"/>
                  </a:lnTo>
                  <a:lnTo>
                    <a:pt x="396" y="1323"/>
                  </a:lnTo>
                  <a:lnTo>
                    <a:pt x="388" y="1312"/>
                  </a:lnTo>
                  <a:lnTo>
                    <a:pt x="378" y="1299"/>
                  </a:lnTo>
                  <a:lnTo>
                    <a:pt x="370" y="1286"/>
                  </a:lnTo>
                  <a:lnTo>
                    <a:pt x="362" y="1270"/>
                  </a:lnTo>
                  <a:lnTo>
                    <a:pt x="354" y="1255"/>
                  </a:lnTo>
                  <a:lnTo>
                    <a:pt x="340" y="1223"/>
                  </a:lnTo>
                  <a:lnTo>
                    <a:pt x="329" y="1193"/>
                  </a:lnTo>
                  <a:lnTo>
                    <a:pt x="325" y="1179"/>
                  </a:lnTo>
                  <a:lnTo>
                    <a:pt x="321" y="1167"/>
                  </a:lnTo>
                  <a:lnTo>
                    <a:pt x="320" y="1158"/>
                  </a:lnTo>
                  <a:lnTo>
                    <a:pt x="318" y="1150"/>
                  </a:lnTo>
                  <a:lnTo>
                    <a:pt x="320" y="1139"/>
                  </a:lnTo>
                  <a:lnTo>
                    <a:pt x="324" y="1130"/>
                  </a:lnTo>
                  <a:lnTo>
                    <a:pt x="328" y="1122"/>
                  </a:lnTo>
                  <a:lnTo>
                    <a:pt x="334" y="1115"/>
                  </a:lnTo>
                  <a:lnTo>
                    <a:pt x="340" y="1109"/>
                  </a:lnTo>
                  <a:lnTo>
                    <a:pt x="344" y="1102"/>
                  </a:lnTo>
                  <a:lnTo>
                    <a:pt x="348" y="1095"/>
                  </a:lnTo>
                  <a:lnTo>
                    <a:pt x="349" y="1090"/>
                  </a:lnTo>
                  <a:lnTo>
                    <a:pt x="348" y="1082"/>
                  </a:lnTo>
                  <a:lnTo>
                    <a:pt x="345" y="1075"/>
                  </a:lnTo>
                  <a:lnTo>
                    <a:pt x="341" y="1067"/>
                  </a:lnTo>
                  <a:lnTo>
                    <a:pt x="337" y="1061"/>
                  </a:lnTo>
                  <a:lnTo>
                    <a:pt x="333" y="1053"/>
                  </a:lnTo>
                  <a:lnTo>
                    <a:pt x="329" y="1046"/>
                  </a:lnTo>
                  <a:lnTo>
                    <a:pt x="326" y="1041"/>
                  </a:lnTo>
                  <a:lnTo>
                    <a:pt x="325" y="1035"/>
                  </a:lnTo>
                  <a:lnTo>
                    <a:pt x="325" y="1027"/>
                  </a:lnTo>
                  <a:lnTo>
                    <a:pt x="325" y="1018"/>
                  </a:lnTo>
                  <a:lnTo>
                    <a:pt x="325" y="1009"/>
                  </a:lnTo>
                  <a:lnTo>
                    <a:pt x="325" y="993"/>
                  </a:lnTo>
                  <a:lnTo>
                    <a:pt x="317" y="993"/>
                  </a:lnTo>
                  <a:lnTo>
                    <a:pt x="312" y="991"/>
                  </a:lnTo>
                  <a:lnTo>
                    <a:pt x="308" y="989"/>
                  </a:lnTo>
                  <a:lnTo>
                    <a:pt x="304" y="985"/>
                  </a:lnTo>
                  <a:lnTo>
                    <a:pt x="301" y="982"/>
                  </a:lnTo>
                  <a:lnTo>
                    <a:pt x="300" y="977"/>
                  </a:lnTo>
                  <a:lnTo>
                    <a:pt x="299" y="973"/>
                  </a:lnTo>
                  <a:lnTo>
                    <a:pt x="299" y="967"/>
                  </a:lnTo>
                  <a:lnTo>
                    <a:pt x="297" y="957"/>
                  </a:lnTo>
                  <a:lnTo>
                    <a:pt x="296" y="947"/>
                  </a:lnTo>
                  <a:lnTo>
                    <a:pt x="296" y="943"/>
                  </a:lnTo>
                  <a:lnTo>
                    <a:pt x="293" y="939"/>
                  </a:lnTo>
                  <a:lnTo>
                    <a:pt x="292" y="935"/>
                  </a:lnTo>
                  <a:lnTo>
                    <a:pt x="289" y="933"/>
                  </a:lnTo>
                  <a:lnTo>
                    <a:pt x="277" y="933"/>
                  </a:lnTo>
                  <a:lnTo>
                    <a:pt x="265" y="933"/>
                  </a:lnTo>
                  <a:lnTo>
                    <a:pt x="259" y="931"/>
                  </a:lnTo>
                  <a:lnTo>
                    <a:pt x="255" y="929"/>
                  </a:lnTo>
                  <a:lnTo>
                    <a:pt x="251" y="925"/>
                  </a:lnTo>
                  <a:lnTo>
                    <a:pt x="247" y="919"/>
                  </a:lnTo>
                  <a:lnTo>
                    <a:pt x="244" y="914"/>
                  </a:lnTo>
                  <a:lnTo>
                    <a:pt x="240" y="907"/>
                  </a:lnTo>
                  <a:lnTo>
                    <a:pt x="235" y="902"/>
                  </a:lnTo>
                  <a:lnTo>
                    <a:pt x="229" y="897"/>
                  </a:lnTo>
                  <a:lnTo>
                    <a:pt x="224" y="893"/>
                  </a:lnTo>
                  <a:lnTo>
                    <a:pt x="219" y="890"/>
                  </a:lnTo>
                  <a:lnTo>
                    <a:pt x="213" y="887"/>
                  </a:lnTo>
                  <a:lnTo>
                    <a:pt x="208" y="885"/>
                  </a:lnTo>
                  <a:lnTo>
                    <a:pt x="195" y="883"/>
                  </a:lnTo>
                  <a:lnTo>
                    <a:pt x="181" y="882"/>
                  </a:lnTo>
                  <a:lnTo>
                    <a:pt x="167" y="882"/>
                  </a:lnTo>
                  <a:lnTo>
                    <a:pt x="152" y="881"/>
                  </a:lnTo>
                  <a:lnTo>
                    <a:pt x="136" y="878"/>
                  </a:lnTo>
                  <a:lnTo>
                    <a:pt x="120" y="873"/>
                  </a:lnTo>
                  <a:lnTo>
                    <a:pt x="108" y="870"/>
                  </a:lnTo>
                  <a:lnTo>
                    <a:pt x="99" y="866"/>
                  </a:lnTo>
                  <a:lnTo>
                    <a:pt x="91" y="861"/>
                  </a:lnTo>
                  <a:lnTo>
                    <a:pt x="84" y="855"/>
                  </a:lnTo>
                  <a:lnTo>
                    <a:pt x="76" y="850"/>
                  </a:lnTo>
                  <a:lnTo>
                    <a:pt x="67" y="843"/>
                  </a:lnTo>
                  <a:lnTo>
                    <a:pt x="56" y="837"/>
                  </a:lnTo>
                  <a:lnTo>
                    <a:pt x="41" y="830"/>
                  </a:lnTo>
                  <a:lnTo>
                    <a:pt x="37" y="829"/>
                  </a:lnTo>
                  <a:lnTo>
                    <a:pt x="31" y="826"/>
                  </a:lnTo>
                  <a:lnTo>
                    <a:pt x="24" y="821"/>
                  </a:lnTo>
                  <a:lnTo>
                    <a:pt x="16" y="814"/>
                  </a:lnTo>
                  <a:lnTo>
                    <a:pt x="9" y="807"/>
                  </a:lnTo>
                  <a:lnTo>
                    <a:pt x="5" y="799"/>
                  </a:lnTo>
                  <a:lnTo>
                    <a:pt x="1" y="794"/>
                  </a:lnTo>
                  <a:lnTo>
                    <a:pt x="0" y="789"/>
                  </a:lnTo>
                  <a:lnTo>
                    <a:pt x="0" y="782"/>
                  </a:lnTo>
                  <a:lnTo>
                    <a:pt x="3" y="775"/>
                  </a:lnTo>
                  <a:lnTo>
                    <a:pt x="5" y="769"/>
                  </a:lnTo>
                  <a:lnTo>
                    <a:pt x="9" y="762"/>
                  </a:lnTo>
                  <a:lnTo>
                    <a:pt x="19" y="746"/>
                  </a:lnTo>
                  <a:lnTo>
                    <a:pt x="32" y="731"/>
                  </a:lnTo>
                  <a:lnTo>
                    <a:pt x="40" y="725"/>
                  </a:lnTo>
                  <a:lnTo>
                    <a:pt x="47" y="718"/>
                  </a:lnTo>
                  <a:lnTo>
                    <a:pt x="55" y="713"/>
                  </a:lnTo>
                  <a:lnTo>
                    <a:pt x="64" y="708"/>
                  </a:lnTo>
                  <a:lnTo>
                    <a:pt x="72" y="704"/>
                  </a:lnTo>
                  <a:lnTo>
                    <a:pt x="80" y="701"/>
                  </a:lnTo>
                  <a:lnTo>
                    <a:pt x="88" y="698"/>
                  </a:lnTo>
                  <a:lnTo>
                    <a:pt x="96" y="698"/>
                  </a:lnTo>
                  <a:lnTo>
                    <a:pt x="104" y="700"/>
                  </a:lnTo>
                  <a:lnTo>
                    <a:pt x="112" y="702"/>
                  </a:lnTo>
                  <a:lnTo>
                    <a:pt x="117" y="706"/>
                  </a:lnTo>
                  <a:lnTo>
                    <a:pt x="123" y="710"/>
                  </a:lnTo>
                  <a:lnTo>
                    <a:pt x="129" y="714"/>
                  </a:lnTo>
                  <a:lnTo>
                    <a:pt x="135" y="718"/>
                  </a:lnTo>
                  <a:lnTo>
                    <a:pt x="143" y="721"/>
                  </a:lnTo>
                  <a:lnTo>
                    <a:pt x="151" y="722"/>
                  </a:lnTo>
                  <a:lnTo>
                    <a:pt x="159" y="721"/>
                  </a:lnTo>
                  <a:lnTo>
                    <a:pt x="167" y="717"/>
                  </a:lnTo>
                  <a:lnTo>
                    <a:pt x="175" y="713"/>
                  </a:lnTo>
                  <a:lnTo>
                    <a:pt x="183" y="708"/>
                  </a:lnTo>
                  <a:lnTo>
                    <a:pt x="191" y="701"/>
                  </a:lnTo>
                  <a:lnTo>
                    <a:pt x="200" y="697"/>
                  </a:lnTo>
                  <a:lnTo>
                    <a:pt x="211" y="693"/>
                  </a:lnTo>
                  <a:lnTo>
                    <a:pt x="223" y="692"/>
                  </a:lnTo>
                  <a:lnTo>
                    <a:pt x="223" y="662"/>
                  </a:lnTo>
                  <a:lnTo>
                    <a:pt x="199" y="636"/>
                  </a:lnTo>
                  <a:lnTo>
                    <a:pt x="165" y="593"/>
                  </a:lnTo>
                  <a:lnTo>
                    <a:pt x="148" y="572"/>
                  </a:lnTo>
                  <a:lnTo>
                    <a:pt x="133" y="553"/>
                  </a:lnTo>
                  <a:lnTo>
                    <a:pt x="124" y="538"/>
                  </a:lnTo>
                  <a:lnTo>
                    <a:pt x="120" y="529"/>
                  </a:lnTo>
                  <a:lnTo>
                    <a:pt x="123" y="524"/>
                  </a:lnTo>
                  <a:lnTo>
                    <a:pt x="131" y="517"/>
                  </a:lnTo>
                  <a:lnTo>
                    <a:pt x="140" y="510"/>
                  </a:lnTo>
                  <a:lnTo>
                    <a:pt x="151" y="505"/>
                  </a:lnTo>
                  <a:lnTo>
                    <a:pt x="156" y="500"/>
                  </a:lnTo>
                  <a:lnTo>
                    <a:pt x="161" y="493"/>
                  </a:lnTo>
                  <a:lnTo>
                    <a:pt x="165" y="486"/>
                  </a:lnTo>
                  <a:lnTo>
                    <a:pt x="169" y="480"/>
                  </a:lnTo>
                  <a:lnTo>
                    <a:pt x="173" y="472"/>
                  </a:lnTo>
                  <a:lnTo>
                    <a:pt x="179" y="465"/>
                  </a:lnTo>
                  <a:lnTo>
                    <a:pt x="184" y="461"/>
                  </a:lnTo>
                  <a:lnTo>
                    <a:pt x="192" y="457"/>
                  </a:lnTo>
                  <a:lnTo>
                    <a:pt x="237" y="460"/>
                  </a:lnTo>
                  <a:lnTo>
                    <a:pt x="300" y="464"/>
                  </a:lnTo>
                  <a:lnTo>
                    <a:pt x="314" y="464"/>
                  </a:lnTo>
                  <a:lnTo>
                    <a:pt x="329" y="462"/>
                  </a:lnTo>
                  <a:lnTo>
                    <a:pt x="342" y="460"/>
                  </a:lnTo>
                  <a:lnTo>
                    <a:pt x="354" y="456"/>
                  </a:lnTo>
                  <a:lnTo>
                    <a:pt x="360" y="454"/>
                  </a:lnTo>
                  <a:lnTo>
                    <a:pt x="365" y="450"/>
                  </a:lnTo>
                  <a:lnTo>
                    <a:pt x="369" y="448"/>
                  </a:lnTo>
                  <a:lnTo>
                    <a:pt x="373" y="444"/>
                  </a:lnTo>
                  <a:lnTo>
                    <a:pt x="376" y="438"/>
                  </a:lnTo>
                  <a:lnTo>
                    <a:pt x="377" y="433"/>
                  </a:lnTo>
                  <a:lnTo>
                    <a:pt x="378" y="428"/>
                  </a:lnTo>
                  <a:lnTo>
                    <a:pt x="380" y="421"/>
                  </a:lnTo>
                  <a:lnTo>
                    <a:pt x="380" y="401"/>
                  </a:lnTo>
                  <a:lnTo>
                    <a:pt x="381" y="382"/>
                  </a:lnTo>
                  <a:lnTo>
                    <a:pt x="382" y="365"/>
                  </a:lnTo>
                  <a:lnTo>
                    <a:pt x="386" y="349"/>
                  </a:lnTo>
                  <a:lnTo>
                    <a:pt x="393" y="318"/>
                  </a:lnTo>
                  <a:lnTo>
                    <a:pt x="401" y="289"/>
                  </a:lnTo>
                  <a:lnTo>
                    <a:pt x="410" y="258"/>
                  </a:lnTo>
                  <a:lnTo>
                    <a:pt x="420" y="228"/>
                  </a:lnTo>
                  <a:lnTo>
                    <a:pt x="424" y="212"/>
                  </a:lnTo>
                  <a:lnTo>
                    <a:pt x="428" y="194"/>
                  </a:lnTo>
                  <a:lnTo>
                    <a:pt x="430" y="176"/>
                  </a:lnTo>
                  <a:lnTo>
                    <a:pt x="433" y="156"/>
                  </a:lnTo>
                  <a:lnTo>
                    <a:pt x="469" y="112"/>
                  </a:lnTo>
                  <a:lnTo>
                    <a:pt x="502" y="69"/>
                  </a:lnTo>
                  <a:lnTo>
                    <a:pt x="520" y="49"/>
                  </a:lnTo>
                  <a:lnTo>
                    <a:pt x="537" y="31"/>
                  </a:lnTo>
                  <a:lnTo>
                    <a:pt x="554" y="15"/>
                  </a:lnTo>
                  <a:lnTo>
                    <a:pt x="572" y="0"/>
                  </a:lnTo>
                  <a:lnTo>
                    <a:pt x="574" y="5"/>
                  </a:lnTo>
                  <a:lnTo>
                    <a:pt x="578" y="9"/>
                  </a:lnTo>
                  <a:lnTo>
                    <a:pt x="584" y="12"/>
                  </a:lnTo>
                  <a:lnTo>
                    <a:pt x="589" y="13"/>
                  </a:lnTo>
                  <a:lnTo>
                    <a:pt x="601" y="13"/>
                  </a:lnTo>
                  <a:lnTo>
                    <a:pt x="614" y="11"/>
                  </a:lnTo>
                  <a:lnTo>
                    <a:pt x="629" y="8"/>
                  </a:lnTo>
                  <a:lnTo>
                    <a:pt x="642" y="7"/>
                  </a:lnTo>
                  <a:lnTo>
                    <a:pt x="648" y="8"/>
                  </a:lnTo>
                  <a:lnTo>
                    <a:pt x="653" y="9"/>
                  </a:lnTo>
                  <a:lnTo>
                    <a:pt x="658" y="13"/>
                  </a:lnTo>
                  <a:lnTo>
                    <a:pt x="662" y="17"/>
                  </a:lnTo>
                  <a:lnTo>
                    <a:pt x="668" y="24"/>
                  </a:lnTo>
                  <a:lnTo>
                    <a:pt x="672" y="32"/>
                  </a:lnTo>
                  <a:lnTo>
                    <a:pt x="674" y="39"/>
                  </a:lnTo>
                  <a:lnTo>
                    <a:pt x="676" y="45"/>
                  </a:lnTo>
                  <a:lnTo>
                    <a:pt x="678" y="60"/>
                  </a:lnTo>
                  <a:lnTo>
                    <a:pt x="678" y="73"/>
                  </a:lnTo>
                  <a:lnTo>
                    <a:pt x="678" y="87"/>
                  </a:lnTo>
                  <a:lnTo>
                    <a:pt x="680" y="99"/>
                  </a:lnTo>
                  <a:lnTo>
                    <a:pt x="680" y="105"/>
                  </a:lnTo>
                  <a:lnTo>
                    <a:pt x="681" y="111"/>
                  </a:lnTo>
                  <a:lnTo>
                    <a:pt x="684" y="116"/>
                  </a:lnTo>
                  <a:lnTo>
                    <a:pt x="686" y="120"/>
                  </a:lnTo>
                  <a:lnTo>
                    <a:pt x="678" y="129"/>
                  </a:lnTo>
                  <a:lnTo>
                    <a:pt x="672" y="140"/>
                  </a:lnTo>
                  <a:lnTo>
                    <a:pt x="666" y="150"/>
                  </a:lnTo>
                  <a:lnTo>
                    <a:pt x="661" y="161"/>
                  </a:lnTo>
                  <a:lnTo>
                    <a:pt x="652" y="185"/>
                  </a:lnTo>
                  <a:lnTo>
                    <a:pt x="644" y="209"/>
                  </a:lnTo>
                  <a:lnTo>
                    <a:pt x="636" y="233"/>
                  </a:lnTo>
                  <a:lnTo>
                    <a:pt x="629" y="256"/>
                  </a:lnTo>
                  <a:lnTo>
                    <a:pt x="622" y="277"/>
                  </a:lnTo>
                  <a:lnTo>
                    <a:pt x="614" y="294"/>
                  </a:lnTo>
                  <a:lnTo>
                    <a:pt x="609" y="302"/>
                  </a:lnTo>
                  <a:lnTo>
                    <a:pt x="602" y="309"/>
                  </a:lnTo>
                  <a:lnTo>
                    <a:pt x="596" y="314"/>
                  </a:lnTo>
                  <a:lnTo>
                    <a:pt x="589" y="320"/>
                  </a:lnTo>
                  <a:lnTo>
                    <a:pt x="582" y="326"/>
                  </a:lnTo>
                  <a:lnTo>
                    <a:pt x="577" y="333"/>
                  </a:lnTo>
                  <a:lnTo>
                    <a:pt x="574" y="338"/>
                  </a:lnTo>
                  <a:lnTo>
                    <a:pt x="573" y="342"/>
                  </a:lnTo>
                  <a:lnTo>
                    <a:pt x="572" y="349"/>
                  </a:lnTo>
                  <a:lnTo>
                    <a:pt x="572" y="354"/>
                  </a:lnTo>
                  <a:lnTo>
                    <a:pt x="573" y="362"/>
                  </a:lnTo>
                  <a:lnTo>
                    <a:pt x="577" y="370"/>
                  </a:lnTo>
                  <a:lnTo>
                    <a:pt x="582" y="376"/>
                  </a:lnTo>
                  <a:lnTo>
                    <a:pt x="589" y="380"/>
                  </a:lnTo>
                  <a:lnTo>
                    <a:pt x="602" y="386"/>
                  </a:lnTo>
                  <a:lnTo>
                    <a:pt x="614" y="390"/>
                  </a:lnTo>
                  <a:lnTo>
                    <a:pt x="584" y="464"/>
                  </a:lnTo>
                  <a:lnTo>
                    <a:pt x="589" y="468"/>
                  </a:lnTo>
                  <a:lnTo>
                    <a:pt x="593" y="472"/>
                  </a:lnTo>
                  <a:lnTo>
                    <a:pt x="597" y="478"/>
                  </a:lnTo>
                  <a:lnTo>
                    <a:pt x="600" y="484"/>
                  </a:lnTo>
                  <a:lnTo>
                    <a:pt x="605" y="498"/>
                  </a:lnTo>
                  <a:lnTo>
                    <a:pt x="609" y="512"/>
                  </a:lnTo>
                  <a:lnTo>
                    <a:pt x="614" y="525"/>
                  </a:lnTo>
                  <a:lnTo>
                    <a:pt x="621" y="537"/>
                  </a:lnTo>
                  <a:lnTo>
                    <a:pt x="625" y="541"/>
                  </a:lnTo>
                  <a:lnTo>
                    <a:pt x="630" y="545"/>
                  </a:lnTo>
                  <a:lnTo>
                    <a:pt x="637" y="546"/>
                  </a:lnTo>
                  <a:lnTo>
                    <a:pt x="644" y="548"/>
                  </a:lnTo>
                  <a:lnTo>
                    <a:pt x="650" y="546"/>
                  </a:lnTo>
                  <a:lnTo>
                    <a:pt x="657" y="545"/>
                  </a:lnTo>
                  <a:lnTo>
                    <a:pt x="662" y="541"/>
                  </a:lnTo>
                  <a:lnTo>
                    <a:pt x="668" y="536"/>
                  </a:lnTo>
                  <a:lnTo>
                    <a:pt x="678" y="525"/>
                  </a:lnTo>
                  <a:lnTo>
                    <a:pt x="689" y="512"/>
                  </a:lnTo>
                  <a:lnTo>
                    <a:pt x="701" y="498"/>
                  </a:lnTo>
                  <a:lnTo>
                    <a:pt x="716" y="486"/>
                  </a:lnTo>
                  <a:lnTo>
                    <a:pt x="724" y="482"/>
                  </a:lnTo>
                  <a:lnTo>
                    <a:pt x="732" y="478"/>
                  </a:lnTo>
                  <a:lnTo>
                    <a:pt x="742" y="476"/>
                  </a:lnTo>
                  <a:lnTo>
                    <a:pt x="753" y="476"/>
                  </a:lnTo>
                  <a:lnTo>
                    <a:pt x="770" y="477"/>
                  </a:lnTo>
                  <a:lnTo>
                    <a:pt x="786" y="481"/>
                  </a:lnTo>
                  <a:lnTo>
                    <a:pt x="796" y="484"/>
                  </a:lnTo>
                  <a:lnTo>
                    <a:pt x="804" y="485"/>
                  </a:lnTo>
                  <a:lnTo>
                    <a:pt x="814" y="486"/>
                  </a:lnTo>
                  <a:lnTo>
                    <a:pt x="825" y="488"/>
                  </a:lnTo>
                  <a:lnTo>
                    <a:pt x="836" y="486"/>
                  </a:lnTo>
                  <a:lnTo>
                    <a:pt x="844" y="485"/>
                  </a:lnTo>
                  <a:lnTo>
                    <a:pt x="850" y="484"/>
                  </a:lnTo>
                  <a:lnTo>
                    <a:pt x="857" y="481"/>
                  </a:lnTo>
                  <a:lnTo>
                    <a:pt x="870" y="474"/>
                  </a:lnTo>
                  <a:lnTo>
                    <a:pt x="885" y="469"/>
                  </a:lnTo>
                  <a:lnTo>
                    <a:pt x="885" y="478"/>
                  </a:lnTo>
                  <a:lnTo>
                    <a:pt x="886" y="488"/>
                  </a:lnTo>
                  <a:lnTo>
                    <a:pt x="888" y="497"/>
                  </a:lnTo>
                  <a:lnTo>
                    <a:pt x="892" y="505"/>
                  </a:lnTo>
                  <a:lnTo>
                    <a:pt x="896" y="513"/>
                  </a:lnTo>
                  <a:lnTo>
                    <a:pt x="900" y="518"/>
                  </a:lnTo>
                  <a:lnTo>
                    <a:pt x="904" y="521"/>
                  </a:lnTo>
                  <a:lnTo>
                    <a:pt x="906" y="522"/>
                  </a:lnTo>
                  <a:lnTo>
                    <a:pt x="910" y="524"/>
                  </a:lnTo>
                  <a:lnTo>
                    <a:pt x="916" y="524"/>
                  </a:lnTo>
                  <a:lnTo>
                    <a:pt x="921" y="524"/>
                  </a:lnTo>
                  <a:lnTo>
                    <a:pt x="926" y="522"/>
                  </a:lnTo>
                  <a:lnTo>
                    <a:pt x="930" y="520"/>
                  </a:lnTo>
                  <a:lnTo>
                    <a:pt x="934" y="518"/>
                  </a:lnTo>
                  <a:lnTo>
                    <a:pt x="944" y="512"/>
                  </a:lnTo>
                  <a:lnTo>
                    <a:pt x="952" y="505"/>
                  </a:lnTo>
                  <a:lnTo>
                    <a:pt x="961" y="498"/>
                  </a:lnTo>
                  <a:lnTo>
                    <a:pt x="970" y="493"/>
                  </a:lnTo>
                  <a:lnTo>
                    <a:pt x="976" y="490"/>
                  </a:lnTo>
                  <a:lnTo>
                    <a:pt x="981" y="489"/>
                  </a:lnTo>
                  <a:lnTo>
                    <a:pt x="986" y="488"/>
                  </a:lnTo>
                  <a:lnTo>
                    <a:pt x="993" y="488"/>
                  </a:lnTo>
                  <a:lnTo>
                    <a:pt x="1024" y="48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5" name="Freeform 7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1036638" y="2574925"/>
              <a:ext cx="130175" cy="134938"/>
            </a:xfrm>
            <a:custGeom>
              <a:avLst/>
              <a:gdLst/>
              <a:ahLst/>
              <a:cxnLst>
                <a:cxn ang="0">
                  <a:pos x="303" y="240"/>
                </a:cxn>
                <a:cxn ang="0">
                  <a:pos x="303" y="254"/>
                </a:cxn>
                <a:cxn ang="0">
                  <a:pos x="300" y="266"/>
                </a:cxn>
                <a:cxn ang="0">
                  <a:pos x="296" y="277"/>
                </a:cxn>
                <a:cxn ang="0">
                  <a:pos x="291" y="286"/>
                </a:cxn>
                <a:cxn ang="0">
                  <a:pos x="284" y="294"/>
                </a:cxn>
                <a:cxn ang="0">
                  <a:pos x="277" y="301"/>
                </a:cxn>
                <a:cxn ang="0">
                  <a:pos x="269" y="308"/>
                </a:cxn>
                <a:cxn ang="0">
                  <a:pos x="260" y="313"/>
                </a:cxn>
                <a:cxn ang="0">
                  <a:pos x="243" y="322"/>
                </a:cxn>
                <a:cxn ang="0">
                  <a:pos x="224" y="330"/>
                </a:cxn>
                <a:cxn ang="0">
                  <a:pos x="216" y="334"/>
                </a:cxn>
                <a:cxn ang="0">
                  <a:pos x="208" y="338"/>
                </a:cxn>
                <a:cxn ang="0">
                  <a:pos x="201" y="344"/>
                </a:cxn>
                <a:cxn ang="0">
                  <a:pos x="195" y="349"/>
                </a:cxn>
                <a:cxn ang="0">
                  <a:pos x="183" y="361"/>
                </a:cxn>
                <a:cxn ang="0">
                  <a:pos x="163" y="329"/>
                </a:cxn>
                <a:cxn ang="0">
                  <a:pos x="142" y="297"/>
                </a:cxn>
                <a:cxn ang="0">
                  <a:pos x="118" y="265"/>
                </a:cxn>
                <a:cxn ang="0">
                  <a:pos x="94" y="232"/>
                </a:cxn>
                <a:cxn ang="0">
                  <a:pos x="70" y="197"/>
                </a:cxn>
                <a:cxn ang="0">
                  <a:pos x="47" y="161"/>
                </a:cxn>
                <a:cxn ang="0">
                  <a:pos x="36" y="142"/>
                </a:cxn>
                <a:cxn ang="0">
                  <a:pos x="26" y="124"/>
                </a:cxn>
                <a:cxn ang="0">
                  <a:pos x="16" y="104"/>
                </a:cxn>
                <a:cxn ang="0">
                  <a:pos x="8" y="84"/>
                </a:cxn>
                <a:cxn ang="0">
                  <a:pos x="4" y="73"/>
                </a:cxn>
                <a:cxn ang="0">
                  <a:pos x="2" y="64"/>
                </a:cxn>
                <a:cxn ang="0">
                  <a:pos x="0" y="56"/>
                </a:cxn>
                <a:cxn ang="0">
                  <a:pos x="0" y="49"/>
                </a:cxn>
                <a:cxn ang="0">
                  <a:pos x="2" y="44"/>
                </a:cxn>
                <a:cxn ang="0">
                  <a:pos x="3" y="38"/>
                </a:cxn>
                <a:cxn ang="0">
                  <a:pos x="6" y="34"/>
                </a:cxn>
                <a:cxn ang="0">
                  <a:pos x="10" y="32"/>
                </a:cxn>
                <a:cxn ang="0">
                  <a:pos x="28" y="22"/>
                </a:cxn>
                <a:cxn ang="0">
                  <a:pos x="51" y="12"/>
                </a:cxn>
                <a:cxn ang="0">
                  <a:pos x="62" y="5"/>
                </a:cxn>
                <a:cxn ang="0">
                  <a:pos x="70" y="2"/>
                </a:cxn>
                <a:cxn ang="0">
                  <a:pos x="78" y="0"/>
                </a:cxn>
                <a:cxn ang="0">
                  <a:pos x="86" y="0"/>
                </a:cxn>
                <a:cxn ang="0">
                  <a:pos x="92" y="1"/>
                </a:cxn>
                <a:cxn ang="0">
                  <a:pos x="99" y="4"/>
                </a:cxn>
                <a:cxn ang="0">
                  <a:pos x="106" y="6"/>
                </a:cxn>
                <a:cxn ang="0">
                  <a:pos x="112" y="10"/>
                </a:cxn>
                <a:cxn ang="0">
                  <a:pos x="128" y="18"/>
                </a:cxn>
                <a:cxn ang="0">
                  <a:pos x="151" y="26"/>
                </a:cxn>
                <a:cxn ang="0">
                  <a:pos x="164" y="30"/>
                </a:cxn>
                <a:cxn ang="0">
                  <a:pos x="180" y="33"/>
                </a:cxn>
                <a:cxn ang="0">
                  <a:pos x="197" y="34"/>
                </a:cxn>
                <a:cxn ang="0">
                  <a:pos x="219" y="36"/>
                </a:cxn>
                <a:cxn ang="0">
                  <a:pos x="223" y="41"/>
                </a:cxn>
                <a:cxn ang="0">
                  <a:pos x="231" y="56"/>
                </a:cxn>
                <a:cxn ang="0">
                  <a:pos x="244" y="78"/>
                </a:cxn>
                <a:cxn ang="0">
                  <a:pos x="261" y="108"/>
                </a:cxn>
                <a:cxn ang="0">
                  <a:pos x="275" y="136"/>
                </a:cxn>
                <a:cxn ang="0">
                  <a:pos x="287" y="168"/>
                </a:cxn>
                <a:cxn ang="0">
                  <a:pos x="292" y="184"/>
                </a:cxn>
                <a:cxn ang="0">
                  <a:pos x="297" y="202"/>
                </a:cxn>
                <a:cxn ang="0">
                  <a:pos x="300" y="221"/>
                </a:cxn>
                <a:cxn ang="0">
                  <a:pos x="303" y="240"/>
                </a:cxn>
              </a:cxnLst>
              <a:rect l="0" t="0" r="r" b="b"/>
              <a:pathLst>
                <a:path w="303" h="361">
                  <a:moveTo>
                    <a:pt x="303" y="240"/>
                  </a:moveTo>
                  <a:lnTo>
                    <a:pt x="303" y="254"/>
                  </a:lnTo>
                  <a:lnTo>
                    <a:pt x="300" y="266"/>
                  </a:lnTo>
                  <a:lnTo>
                    <a:pt x="296" y="277"/>
                  </a:lnTo>
                  <a:lnTo>
                    <a:pt x="291" y="286"/>
                  </a:lnTo>
                  <a:lnTo>
                    <a:pt x="284" y="294"/>
                  </a:lnTo>
                  <a:lnTo>
                    <a:pt x="277" y="301"/>
                  </a:lnTo>
                  <a:lnTo>
                    <a:pt x="269" y="308"/>
                  </a:lnTo>
                  <a:lnTo>
                    <a:pt x="260" y="313"/>
                  </a:lnTo>
                  <a:lnTo>
                    <a:pt x="243" y="322"/>
                  </a:lnTo>
                  <a:lnTo>
                    <a:pt x="224" y="330"/>
                  </a:lnTo>
                  <a:lnTo>
                    <a:pt x="216" y="334"/>
                  </a:lnTo>
                  <a:lnTo>
                    <a:pt x="208" y="338"/>
                  </a:lnTo>
                  <a:lnTo>
                    <a:pt x="201" y="344"/>
                  </a:lnTo>
                  <a:lnTo>
                    <a:pt x="195" y="349"/>
                  </a:lnTo>
                  <a:lnTo>
                    <a:pt x="183" y="361"/>
                  </a:lnTo>
                  <a:lnTo>
                    <a:pt x="163" y="329"/>
                  </a:lnTo>
                  <a:lnTo>
                    <a:pt x="142" y="297"/>
                  </a:lnTo>
                  <a:lnTo>
                    <a:pt x="118" y="265"/>
                  </a:lnTo>
                  <a:lnTo>
                    <a:pt x="94" y="232"/>
                  </a:lnTo>
                  <a:lnTo>
                    <a:pt x="70" y="197"/>
                  </a:lnTo>
                  <a:lnTo>
                    <a:pt x="47" y="161"/>
                  </a:lnTo>
                  <a:lnTo>
                    <a:pt x="36" y="142"/>
                  </a:lnTo>
                  <a:lnTo>
                    <a:pt x="26" y="124"/>
                  </a:lnTo>
                  <a:lnTo>
                    <a:pt x="16" y="104"/>
                  </a:lnTo>
                  <a:lnTo>
                    <a:pt x="8" y="84"/>
                  </a:lnTo>
                  <a:lnTo>
                    <a:pt x="4" y="73"/>
                  </a:lnTo>
                  <a:lnTo>
                    <a:pt x="2" y="64"/>
                  </a:lnTo>
                  <a:lnTo>
                    <a:pt x="0" y="56"/>
                  </a:lnTo>
                  <a:lnTo>
                    <a:pt x="0" y="49"/>
                  </a:lnTo>
                  <a:lnTo>
                    <a:pt x="2" y="44"/>
                  </a:lnTo>
                  <a:lnTo>
                    <a:pt x="3" y="38"/>
                  </a:lnTo>
                  <a:lnTo>
                    <a:pt x="6" y="34"/>
                  </a:lnTo>
                  <a:lnTo>
                    <a:pt x="10" y="32"/>
                  </a:lnTo>
                  <a:lnTo>
                    <a:pt x="28" y="22"/>
                  </a:lnTo>
                  <a:lnTo>
                    <a:pt x="51" y="12"/>
                  </a:lnTo>
                  <a:lnTo>
                    <a:pt x="62" y="5"/>
                  </a:lnTo>
                  <a:lnTo>
                    <a:pt x="70" y="2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2" y="10"/>
                  </a:lnTo>
                  <a:lnTo>
                    <a:pt x="128" y="18"/>
                  </a:lnTo>
                  <a:lnTo>
                    <a:pt x="151" y="26"/>
                  </a:lnTo>
                  <a:lnTo>
                    <a:pt x="164" y="30"/>
                  </a:lnTo>
                  <a:lnTo>
                    <a:pt x="180" y="33"/>
                  </a:lnTo>
                  <a:lnTo>
                    <a:pt x="197" y="34"/>
                  </a:lnTo>
                  <a:lnTo>
                    <a:pt x="219" y="36"/>
                  </a:lnTo>
                  <a:lnTo>
                    <a:pt x="223" y="41"/>
                  </a:lnTo>
                  <a:lnTo>
                    <a:pt x="231" y="56"/>
                  </a:lnTo>
                  <a:lnTo>
                    <a:pt x="244" y="78"/>
                  </a:lnTo>
                  <a:lnTo>
                    <a:pt x="261" y="108"/>
                  </a:lnTo>
                  <a:lnTo>
                    <a:pt x="275" y="136"/>
                  </a:lnTo>
                  <a:lnTo>
                    <a:pt x="287" y="168"/>
                  </a:lnTo>
                  <a:lnTo>
                    <a:pt x="292" y="184"/>
                  </a:lnTo>
                  <a:lnTo>
                    <a:pt x="297" y="202"/>
                  </a:lnTo>
                  <a:lnTo>
                    <a:pt x="300" y="221"/>
                  </a:lnTo>
                  <a:lnTo>
                    <a:pt x="303" y="24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6" name="Freeform 7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1319213" y="3357563"/>
              <a:ext cx="228600" cy="182562"/>
            </a:xfrm>
            <a:custGeom>
              <a:avLst/>
              <a:gdLst/>
              <a:ahLst/>
              <a:cxnLst>
                <a:cxn ang="0">
                  <a:pos x="513" y="390"/>
                </a:cxn>
                <a:cxn ang="0">
                  <a:pos x="526" y="415"/>
                </a:cxn>
                <a:cxn ang="0">
                  <a:pos x="526" y="437"/>
                </a:cxn>
                <a:cxn ang="0">
                  <a:pos x="507" y="474"/>
                </a:cxn>
                <a:cxn ang="0">
                  <a:pos x="435" y="471"/>
                </a:cxn>
                <a:cxn ang="0">
                  <a:pos x="349" y="446"/>
                </a:cxn>
                <a:cxn ang="0">
                  <a:pos x="258" y="415"/>
                </a:cxn>
                <a:cxn ang="0">
                  <a:pos x="240" y="402"/>
                </a:cxn>
                <a:cxn ang="0">
                  <a:pos x="216" y="365"/>
                </a:cxn>
                <a:cxn ang="0">
                  <a:pos x="192" y="331"/>
                </a:cxn>
                <a:cxn ang="0">
                  <a:pos x="169" y="325"/>
                </a:cxn>
                <a:cxn ang="0">
                  <a:pos x="132" y="325"/>
                </a:cxn>
                <a:cxn ang="0">
                  <a:pos x="108" y="322"/>
                </a:cxn>
                <a:cxn ang="0">
                  <a:pos x="84" y="302"/>
                </a:cxn>
                <a:cxn ang="0">
                  <a:pos x="72" y="271"/>
                </a:cxn>
                <a:cxn ang="0">
                  <a:pos x="73" y="241"/>
                </a:cxn>
                <a:cxn ang="0">
                  <a:pos x="68" y="219"/>
                </a:cxn>
                <a:cxn ang="0">
                  <a:pos x="44" y="194"/>
                </a:cxn>
                <a:cxn ang="0">
                  <a:pos x="6" y="155"/>
                </a:cxn>
                <a:cxn ang="0">
                  <a:pos x="1" y="134"/>
                </a:cxn>
                <a:cxn ang="0">
                  <a:pos x="2" y="114"/>
                </a:cxn>
                <a:cxn ang="0">
                  <a:pos x="17" y="89"/>
                </a:cxn>
                <a:cxn ang="0">
                  <a:pos x="53" y="56"/>
                </a:cxn>
                <a:cxn ang="0">
                  <a:pos x="80" y="45"/>
                </a:cxn>
                <a:cxn ang="0">
                  <a:pos x="96" y="60"/>
                </a:cxn>
                <a:cxn ang="0">
                  <a:pos x="106" y="56"/>
                </a:cxn>
                <a:cxn ang="0">
                  <a:pos x="124" y="37"/>
                </a:cxn>
                <a:cxn ang="0">
                  <a:pos x="148" y="8"/>
                </a:cxn>
                <a:cxn ang="0">
                  <a:pos x="158" y="4"/>
                </a:cxn>
                <a:cxn ang="0">
                  <a:pos x="169" y="10"/>
                </a:cxn>
                <a:cxn ang="0">
                  <a:pos x="217" y="5"/>
                </a:cxn>
                <a:cxn ang="0">
                  <a:pos x="266" y="0"/>
                </a:cxn>
                <a:cxn ang="0">
                  <a:pos x="299" y="8"/>
                </a:cxn>
                <a:cxn ang="0">
                  <a:pos x="321" y="22"/>
                </a:cxn>
                <a:cxn ang="0">
                  <a:pos x="334" y="45"/>
                </a:cxn>
                <a:cxn ang="0">
                  <a:pos x="345" y="85"/>
                </a:cxn>
                <a:cxn ang="0">
                  <a:pos x="351" y="112"/>
                </a:cxn>
                <a:cxn ang="0">
                  <a:pos x="369" y="118"/>
                </a:cxn>
                <a:cxn ang="0">
                  <a:pos x="405" y="130"/>
                </a:cxn>
                <a:cxn ang="0">
                  <a:pos x="418" y="140"/>
                </a:cxn>
                <a:cxn ang="0">
                  <a:pos x="431" y="173"/>
                </a:cxn>
                <a:cxn ang="0">
                  <a:pos x="443" y="231"/>
                </a:cxn>
                <a:cxn ang="0">
                  <a:pos x="453" y="286"/>
                </a:cxn>
                <a:cxn ang="0">
                  <a:pos x="469" y="325"/>
                </a:cxn>
                <a:cxn ang="0">
                  <a:pos x="499" y="361"/>
                </a:cxn>
              </a:cxnLst>
              <a:rect l="0" t="0" r="r" b="b"/>
              <a:pathLst>
                <a:path w="530" h="493">
                  <a:moveTo>
                    <a:pt x="511" y="367"/>
                  </a:moveTo>
                  <a:lnTo>
                    <a:pt x="511" y="381"/>
                  </a:lnTo>
                  <a:lnTo>
                    <a:pt x="513" y="390"/>
                  </a:lnTo>
                  <a:lnTo>
                    <a:pt x="517" y="398"/>
                  </a:lnTo>
                  <a:lnTo>
                    <a:pt x="523" y="409"/>
                  </a:lnTo>
                  <a:lnTo>
                    <a:pt x="526" y="415"/>
                  </a:lnTo>
                  <a:lnTo>
                    <a:pt x="530" y="421"/>
                  </a:lnTo>
                  <a:lnTo>
                    <a:pt x="529" y="429"/>
                  </a:lnTo>
                  <a:lnTo>
                    <a:pt x="526" y="437"/>
                  </a:lnTo>
                  <a:lnTo>
                    <a:pt x="523" y="446"/>
                  </a:lnTo>
                  <a:lnTo>
                    <a:pt x="518" y="455"/>
                  </a:lnTo>
                  <a:lnTo>
                    <a:pt x="507" y="474"/>
                  </a:lnTo>
                  <a:lnTo>
                    <a:pt x="494" y="493"/>
                  </a:lnTo>
                  <a:lnTo>
                    <a:pt x="465" y="481"/>
                  </a:lnTo>
                  <a:lnTo>
                    <a:pt x="435" y="471"/>
                  </a:lnTo>
                  <a:lnTo>
                    <a:pt x="407" y="462"/>
                  </a:lnTo>
                  <a:lnTo>
                    <a:pt x="378" y="454"/>
                  </a:lnTo>
                  <a:lnTo>
                    <a:pt x="349" y="446"/>
                  </a:lnTo>
                  <a:lnTo>
                    <a:pt x="319" y="438"/>
                  </a:lnTo>
                  <a:lnTo>
                    <a:pt x="290" y="427"/>
                  </a:lnTo>
                  <a:lnTo>
                    <a:pt x="258" y="415"/>
                  </a:lnTo>
                  <a:lnTo>
                    <a:pt x="252" y="411"/>
                  </a:lnTo>
                  <a:lnTo>
                    <a:pt x="245" y="407"/>
                  </a:lnTo>
                  <a:lnTo>
                    <a:pt x="240" y="402"/>
                  </a:lnTo>
                  <a:lnTo>
                    <a:pt x="234" y="395"/>
                  </a:lnTo>
                  <a:lnTo>
                    <a:pt x="225" y="381"/>
                  </a:lnTo>
                  <a:lnTo>
                    <a:pt x="216" y="365"/>
                  </a:lnTo>
                  <a:lnTo>
                    <a:pt x="208" y="350"/>
                  </a:lnTo>
                  <a:lnTo>
                    <a:pt x="197" y="337"/>
                  </a:lnTo>
                  <a:lnTo>
                    <a:pt x="192" y="331"/>
                  </a:lnTo>
                  <a:lnTo>
                    <a:pt x="185" y="329"/>
                  </a:lnTo>
                  <a:lnTo>
                    <a:pt x="177" y="326"/>
                  </a:lnTo>
                  <a:lnTo>
                    <a:pt x="169" y="325"/>
                  </a:lnTo>
                  <a:lnTo>
                    <a:pt x="153" y="325"/>
                  </a:lnTo>
                  <a:lnTo>
                    <a:pt x="141" y="325"/>
                  </a:lnTo>
                  <a:lnTo>
                    <a:pt x="132" y="325"/>
                  </a:lnTo>
                  <a:lnTo>
                    <a:pt x="126" y="325"/>
                  </a:lnTo>
                  <a:lnTo>
                    <a:pt x="116" y="323"/>
                  </a:lnTo>
                  <a:lnTo>
                    <a:pt x="108" y="322"/>
                  </a:lnTo>
                  <a:lnTo>
                    <a:pt x="101" y="318"/>
                  </a:lnTo>
                  <a:lnTo>
                    <a:pt x="94" y="313"/>
                  </a:lnTo>
                  <a:lnTo>
                    <a:pt x="84" y="302"/>
                  </a:lnTo>
                  <a:lnTo>
                    <a:pt x="72" y="289"/>
                  </a:lnTo>
                  <a:lnTo>
                    <a:pt x="70" y="281"/>
                  </a:lnTo>
                  <a:lnTo>
                    <a:pt x="72" y="271"/>
                  </a:lnTo>
                  <a:lnTo>
                    <a:pt x="72" y="262"/>
                  </a:lnTo>
                  <a:lnTo>
                    <a:pt x="73" y="251"/>
                  </a:lnTo>
                  <a:lnTo>
                    <a:pt x="73" y="241"/>
                  </a:lnTo>
                  <a:lnTo>
                    <a:pt x="72" y="230"/>
                  </a:lnTo>
                  <a:lnTo>
                    <a:pt x="69" y="225"/>
                  </a:lnTo>
                  <a:lnTo>
                    <a:pt x="68" y="219"/>
                  </a:lnTo>
                  <a:lnTo>
                    <a:pt x="64" y="215"/>
                  </a:lnTo>
                  <a:lnTo>
                    <a:pt x="60" y="210"/>
                  </a:lnTo>
                  <a:lnTo>
                    <a:pt x="44" y="194"/>
                  </a:lnTo>
                  <a:lnTo>
                    <a:pt x="24" y="177"/>
                  </a:lnTo>
                  <a:lnTo>
                    <a:pt x="14" y="167"/>
                  </a:lnTo>
                  <a:lnTo>
                    <a:pt x="6" y="155"/>
                  </a:lnTo>
                  <a:lnTo>
                    <a:pt x="4" y="150"/>
                  </a:lnTo>
                  <a:lnTo>
                    <a:pt x="2" y="142"/>
                  </a:lnTo>
                  <a:lnTo>
                    <a:pt x="1" y="134"/>
                  </a:lnTo>
                  <a:lnTo>
                    <a:pt x="0" y="126"/>
                  </a:lnTo>
                  <a:lnTo>
                    <a:pt x="1" y="121"/>
                  </a:lnTo>
                  <a:lnTo>
                    <a:pt x="2" y="114"/>
                  </a:lnTo>
                  <a:lnTo>
                    <a:pt x="5" y="108"/>
                  </a:lnTo>
                  <a:lnTo>
                    <a:pt x="8" y="102"/>
                  </a:lnTo>
                  <a:lnTo>
                    <a:pt x="17" y="89"/>
                  </a:lnTo>
                  <a:lnTo>
                    <a:pt x="28" y="77"/>
                  </a:lnTo>
                  <a:lnTo>
                    <a:pt x="40" y="66"/>
                  </a:lnTo>
                  <a:lnTo>
                    <a:pt x="53" y="56"/>
                  </a:lnTo>
                  <a:lnTo>
                    <a:pt x="66" y="48"/>
                  </a:lnTo>
                  <a:lnTo>
                    <a:pt x="78" y="42"/>
                  </a:lnTo>
                  <a:lnTo>
                    <a:pt x="80" y="45"/>
                  </a:lnTo>
                  <a:lnTo>
                    <a:pt x="85" y="50"/>
                  </a:lnTo>
                  <a:lnTo>
                    <a:pt x="90" y="57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58"/>
                  </a:lnTo>
                  <a:lnTo>
                    <a:pt x="106" y="56"/>
                  </a:lnTo>
                  <a:lnTo>
                    <a:pt x="110" y="53"/>
                  </a:lnTo>
                  <a:lnTo>
                    <a:pt x="117" y="45"/>
                  </a:lnTo>
                  <a:lnTo>
                    <a:pt x="124" y="37"/>
                  </a:lnTo>
                  <a:lnTo>
                    <a:pt x="132" y="26"/>
                  </a:lnTo>
                  <a:lnTo>
                    <a:pt x="140" y="17"/>
                  </a:lnTo>
                  <a:lnTo>
                    <a:pt x="148" y="8"/>
                  </a:lnTo>
                  <a:lnTo>
                    <a:pt x="157" y="0"/>
                  </a:lnTo>
                  <a:lnTo>
                    <a:pt x="157" y="2"/>
                  </a:lnTo>
                  <a:lnTo>
                    <a:pt x="158" y="4"/>
                  </a:lnTo>
                  <a:lnTo>
                    <a:pt x="160" y="6"/>
                  </a:lnTo>
                  <a:lnTo>
                    <a:pt x="162" y="8"/>
                  </a:lnTo>
                  <a:lnTo>
                    <a:pt x="169" y="10"/>
                  </a:lnTo>
                  <a:lnTo>
                    <a:pt x="181" y="12"/>
                  </a:lnTo>
                  <a:lnTo>
                    <a:pt x="198" y="10"/>
                  </a:lnTo>
                  <a:lnTo>
                    <a:pt x="217" y="5"/>
                  </a:lnTo>
                  <a:lnTo>
                    <a:pt x="234" y="1"/>
                  </a:lnTo>
                  <a:lnTo>
                    <a:pt x="253" y="0"/>
                  </a:lnTo>
                  <a:lnTo>
                    <a:pt x="266" y="0"/>
                  </a:lnTo>
                  <a:lnTo>
                    <a:pt x="279" y="1"/>
                  </a:lnTo>
                  <a:lnTo>
                    <a:pt x="290" y="4"/>
                  </a:lnTo>
                  <a:lnTo>
                    <a:pt x="299" y="8"/>
                  </a:lnTo>
                  <a:lnTo>
                    <a:pt x="307" y="12"/>
                  </a:lnTo>
                  <a:lnTo>
                    <a:pt x="314" y="17"/>
                  </a:lnTo>
                  <a:lnTo>
                    <a:pt x="321" y="22"/>
                  </a:lnTo>
                  <a:lnTo>
                    <a:pt x="326" y="29"/>
                  </a:lnTo>
                  <a:lnTo>
                    <a:pt x="330" y="37"/>
                  </a:lnTo>
                  <a:lnTo>
                    <a:pt x="334" y="45"/>
                  </a:lnTo>
                  <a:lnTo>
                    <a:pt x="337" y="53"/>
                  </a:lnTo>
                  <a:lnTo>
                    <a:pt x="339" y="64"/>
                  </a:lnTo>
                  <a:lnTo>
                    <a:pt x="345" y="85"/>
                  </a:lnTo>
                  <a:lnTo>
                    <a:pt x="349" y="108"/>
                  </a:lnTo>
                  <a:lnTo>
                    <a:pt x="350" y="110"/>
                  </a:lnTo>
                  <a:lnTo>
                    <a:pt x="351" y="112"/>
                  </a:lnTo>
                  <a:lnTo>
                    <a:pt x="354" y="114"/>
                  </a:lnTo>
                  <a:lnTo>
                    <a:pt x="358" y="116"/>
                  </a:lnTo>
                  <a:lnTo>
                    <a:pt x="369" y="118"/>
                  </a:lnTo>
                  <a:lnTo>
                    <a:pt x="381" y="121"/>
                  </a:lnTo>
                  <a:lnTo>
                    <a:pt x="393" y="125"/>
                  </a:lnTo>
                  <a:lnTo>
                    <a:pt x="405" y="130"/>
                  </a:lnTo>
                  <a:lnTo>
                    <a:pt x="410" y="133"/>
                  </a:lnTo>
                  <a:lnTo>
                    <a:pt x="414" y="136"/>
                  </a:lnTo>
                  <a:lnTo>
                    <a:pt x="418" y="140"/>
                  </a:lnTo>
                  <a:lnTo>
                    <a:pt x="421" y="144"/>
                  </a:lnTo>
                  <a:lnTo>
                    <a:pt x="427" y="158"/>
                  </a:lnTo>
                  <a:lnTo>
                    <a:pt x="431" y="173"/>
                  </a:lnTo>
                  <a:lnTo>
                    <a:pt x="435" y="187"/>
                  </a:lnTo>
                  <a:lnTo>
                    <a:pt x="438" y="202"/>
                  </a:lnTo>
                  <a:lnTo>
                    <a:pt x="443" y="231"/>
                  </a:lnTo>
                  <a:lnTo>
                    <a:pt x="447" y="259"/>
                  </a:lnTo>
                  <a:lnTo>
                    <a:pt x="449" y="273"/>
                  </a:lnTo>
                  <a:lnTo>
                    <a:pt x="453" y="286"/>
                  </a:lnTo>
                  <a:lnTo>
                    <a:pt x="457" y="299"/>
                  </a:lnTo>
                  <a:lnTo>
                    <a:pt x="462" y="313"/>
                  </a:lnTo>
                  <a:lnTo>
                    <a:pt x="469" y="325"/>
                  </a:lnTo>
                  <a:lnTo>
                    <a:pt x="477" y="338"/>
                  </a:lnTo>
                  <a:lnTo>
                    <a:pt x="487" y="349"/>
                  </a:lnTo>
                  <a:lnTo>
                    <a:pt x="499" y="361"/>
                  </a:lnTo>
                  <a:lnTo>
                    <a:pt x="511" y="36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7" name="Freeform 7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3459163" y="2603500"/>
              <a:ext cx="61912" cy="79375"/>
            </a:xfrm>
            <a:custGeom>
              <a:avLst/>
              <a:gdLst/>
              <a:ahLst/>
              <a:cxnLst>
                <a:cxn ang="0">
                  <a:pos x="108" y="85"/>
                </a:cxn>
                <a:cxn ang="0">
                  <a:pos x="107" y="84"/>
                </a:cxn>
                <a:cxn ang="0">
                  <a:pos x="106" y="83"/>
                </a:cxn>
                <a:cxn ang="0">
                  <a:pos x="104" y="81"/>
                </a:cxn>
                <a:cxn ang="0">
                  <a:pos x="103" y="79"/>
                </a:cxn>
                <a:cxn ang="0">
                  <a:pos x="103" y="72"/>
                </a:cxn>
                <a:cxn ang="0">
                  <a:pos x="104" y="64"/>
                </a:cxn>
                <a:cxn ang="0">
                  <a:pos x="107" y="49"/>
                </a:cxn>
                <a:cxn ang="0">
                  <a:pos x="108" y="43"/>
                </a:cxn>
                <a:cxn ang="0">
                  <a:pos x="107" y="36"/>
                </a:cxn>
                <a:cxn ang="0">
                  <a:pos x="103" y="31"/>
                </a:cxn>
                <a:cxn ang="0">
                  <a:pos x="96" y="24"/>
                </a:cxn>
                <a:cxn ang="0">
                  <a:pos x="90" y="20"/>
                </a:cxn>
                <a:cxn ang="0">
                  <a:pos x="74" y="9"/>
                </a:cxn>
                <a:cxn ang="0">
                  <a:pos x="60" y="0"/>
                </a:cxn>
                <a:cxn ang="0">
                  <a:pos x="59" y="5"/>
                </a:cxn>
                <a:cxn ang="0">
                  <a:pos x="56" y="9"/>
                </a:cxn>
                <a:cxn ang="0">
                  <a:pos x="52" y="13"/>
                </a:cxn>
                <a:cxn ang="0">
                  <a:pos x="48" y="17"/>
                </a:cxn>
                <a:cxn ang="0">
                  <a:pos x="39" y="27"/>
                </a:cxn>
                <a:cxn ang="0">
                  <a:pos x="28" y="35"/>
                </a:cxn>
                <a:cxn ang="0">
                  <a:pos x="18" y="43"/>
                </a:cxn>
                <a:cxn ang="0">
                  <a:pos x="8" y="52"/>
                </a:cxn>
                <a:cxn ang="0">
                  <a:pos x="6" y="57"/>
                </a:cxn>
                <a:cxn ang="0">
                  <a:pos x="3" y="63"/>
                </a:cxn>
                <a:cxn ang="0">
                  <a:pos x="0" y="67"/>
                </a:cxn>
                <a:cxn ang="0">
                  <a:pos x="0" y="73"/>
                </a:cxn>
                <a:cxn ang="0">
                  <a:pos x="4" y="81"/>
                </a:cxn>
                <a:cxn ang="0">
                  <a:pos x="15" y="99"/>
                </a:cxn>
                <a:cxn ang="0">
                  <a:pos x="30" y="120"/>
                </a:cxn>
                <a:cxn ang="0">
                  <a:pos x="46" y="144"/>
                </a:cxn>
                <a:cxn ang="0">
                  <a:pos x="63" y="167"/>
                </a:cxn>
                <a:cxn ang="0">
                  <a:pos x="79" y="187"/>
                </a:cxn>
                <a:cxn ang="0">
                  <a:pos x="91" y="200"/>
                </a:cxn>
                <a:cxn ang="0">
                  <a:pos x="96" y="205"/>
                </a:cxn>
                <a:cxn ang="0">
                  <a:pos x="108" y="204"/>
                </a:cxn>
                <a:cxn ang="0">
                  <a:pos x="118" y="200"/>
                </a:cxn>
                <a:cxn ang="0">
                  <a:pos x="127" y="195"/>
                </a:cxn>
                <a:cxn ang="0">
                  <a:pos x="135" y="187"/>
                </a:cxn>
                <a:cxn ang="0">
                  <a:pos x="142" y="177"/>
                </a:cxn>
                <a:cxn ang="0">
                  <a:pos x="147" y="167"/>
                </a:cxn>
                <a:cxn ang="0">
                  <a:pos x="150" y="156"/>
                </a:cxn>
                <a:cxn ang="0">
                  <a:pos x="151" y="145"/>
                </a:cxn>
                <a:cxn ang="0">
                  <a:pos x="150" y="139"/>
                </a:cxn>
                <a:cxn ang="0">
                  <a:pos x="147" y="131"/>
                </a:cxn>
                <a:cxn ang="0">
                  <a:pos x="142" y="121"/>
                </a:cxn>
                <a:cxn ang="0">
                  <a:pos x="136" y="111"/>
                </a:cxn>
                <a:cxn ang="0">
                  <a:pos x="130" y="101"/>
                </a:cxn>
                <a:cxn ang="0">
                  <a:pos x="123" y="92"/>
                </a:cxn>
                <a:cxn ang="0">
                  <a:pos x="119" y="89"/>
                </a:cxn>
                <a:cxn ang="0">
                  <a:pos x="116" y="87"/>
                </a:cxn>
                <a:cxn ang="0">
                  <a:pos x="112" y="85"/>
                </a:cxn>
                <a:cxn ang="0">
                  <a:pos x="108" y="85"/>
                </a:cxn>
              </a:cxnLst>
              <a:rect l="0" t="0" r="r" b="b"/>
              <a:pathLst>
                <a:path w="151" h="205">
                  <a:moveTo>
                    <a:pt x="108" y="85"/>
                  </a:moveTo>
                  <a:lnTo>
                    <a:pt x="107" y="84"/>
                  </a:lnTo>
                  <a:lnTo>
                    <a:pt x="106" y="83"/>
                  </a:lnTo>
                  <a:lnTo>
                    <a:pt x="104" y="81"/>
                  </a:lnTo>
                  <a:lnTo>
                    <a:pt x="103" y="79"/>
                  </a:lnTo>
                  <a:lnTo>
                    <a:pt x="103" y="72"/>
                  </a:lnTo>
                  <a:lnTo>
                    <a:pt x="104" y="64"/>
                  </a:lnTo>
                  <a:lnTo>
                    <a:pt x="107" y="49"/>
                  </a:lnTo>
                  <a:lnTo>
                    <a:pt x="108" y="43"/>
                  </a:lnTo>
                  <a:lnTo>
                    <a:pt x="107" y="36"/>
                  </a:lnTo>
                  <a:lnTo>
                    <a:pt x="103" y="31"/>
                  </a:lnTo>
                  <a:lnTo>
                    <a:pt x="96" y="24"/>
                  </a:lnTo>
                  <a:lnTo>
                    <a:pt x="90" y="20"/>
                  </a:lnTo>
                  <a:lnTo>
                    <a:pt x="74" y="9"/>
                  </a:lnTo>
                  <a:lnTo>
                    <a:pt x="60" y="0"/>
                  </a:lnTo>
                  <a:lnTo>
                    <a:pt x="59" y="5"/>
                  </a:lnTo>
                  <a:lnTo>
                    <a:pt x="56" y="9"/>
                  </a:lnTo>
                  <a:lnTo>
                    <a:pt x="52" y="13"/>
                  </a:lnTo>
                  <a:lnTo>
                    <a:pt x="48" y="17"/>
                  </a:lnTo>
                  <a:lnTo>
                    <a:pt x="39" y="27"/>
                  </a:lnTo>
                  <a:lnTo>
                    <a:pt x="28" y="35"/>
                  </a:lnTo>
                  <a:lnTo>
                    <a:pt x="18" y="43"/>
                  </a:lnTo>
                  <a:lnTo>
                    <a:pt x="8" y="52"/>
                  </a:lnTo>
                  <a:lnTo>
                    <a:pt x="6" y="57"/>
                  </a:lnTo>
                  <a:lnTo>
                    <a:pt x="3" y="63"/>
                  </a:lnTo>
                  <a:lnTo>
                    <a:pt x="0" y="67"/>
                  </a:lnTo>
                  <a:lnTo>
                    <a:pt x="0" y="73"/>
                  </a:lnTo>
                  <a:lnTo>
                    <a:pt x="4" y="81"/>
                  </a:lnTo>
                  <a:lnTo>
                    <a:pt x="15" y="99"/>
                  </a:lnTo>
                  <a:lnTo>
                    <a:pt x="30" y="120"/>
                  </a:lnTo>
                  <a:lnTo>
                    <a:pt x="46" y="144"/>
                  </a:lnTo>
                  <a:lnTo>
                    <a:pt x="63" y="167"/>
                  </a:lnTo>
                  <a:lnTo>
                    <a:pt x="79" y="187"/>
                  </a:lnTo>
                  <a:lnTo>
                    <a:pt x="91" y="200"/>
                  </a:lnTo>
                  <a:lnTo>
                    <a:pt x="96" y="205"/>
                  </a:lnTo>
                  <a:lnTo>
                    <a:pt x="108" y="204"/>
                  </a:lnTo>
                  <a:lnTo>
                    <a:pt x="118" y="200"/>
                  </a:lnTo>
                  <a:lnTo>
                    <a:pt x="127" y="195"/>
                  </a:lnTo>
                  <a:lnTo>
                    <a:pt x="135" y="187"/>
                  </a:lnTo>
                  <a:lnTo>
                    <a:pt x="142" y="177"/>
                  </a:lnTo>
                  <a:lnTo>
                    <a:pt x="147" y="167"/>
                  </a:lnTo>
                  <a:lnTo>
                    <a:pt x="150" y="156"/>
                  </a:lnTo>
                  <a:lnTo>
                    <a:pt x="151" y="145"/>
                  </a:lnTo>
                  <a:lnTo>
                    <a:pt x="150" y="139"/>
                  </a:lnTo>
                  <a:lnTo>
                    <a:pt x="147" y="131"/>
                  </a:lnTo>
                  <a:lnTo>
                    <a:pt x="142" y="121"/>
                  </a:lnTo>
                  <a:lnTo>
                    <a:pt x="136" y="111"/>
                  </a:lnTo>
                  <a:lnTo>
                    <a:pt x="130" y="101"/>
                  </a:lnTo>
                  <a:lnTo>
                    <a:pt x="123" y="92"/>
                  </a:lnTo>
                  <a:lnTo>
                    <a:pt x="119" y="89"/>
                  </a:lnTo>
                  <a:lnTo>
                    <a:pt x="116" y="87"/>
                  </a:lnTo>
                  <a:lnTo>
                    <a:pt x="112" y="85"/>
                  </a:lnTo>
                  <a:lnTo>
                    <a:pt x="108" y="8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8" name="Freeform 7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3316288" y="2420938"/>
              <a:ext cx="26987" cy="46037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1" y="18"/>
                </a:cxn>
                <a:cxn ang="0">
                  <a:pos x="1" y="11"/>
                </a:cxn>
                <a:cxn ang="0">
                  <a:pos x="1" y="7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10" y="2"/>
                </a:cxn>
                <a:cxn ang="0">
                  <a:pos x="17" y="0"/>
                </a:cxn>
                <a:cxn ang="0">
                  <a:pos x="25" y="0"/>
                </a:cxn>
                <a:cxn ang="0">
                  <a:pos x="34" y="2"/>
                </a:cxn>
                <a:cxn ang="0">
                  <a:pos x="42" y="6"/>
                </a:cxn>
                <a:cxn ang="0">
                  <a:pos x="49" y="10"/>
                </a:cxn>
                <a:cxn ang="0">
                  <a:pos x="54" y="16"/>
                </a:cxn>
                <a:cxn ang="0">
                  <a:pos x="57" y="24"/>
                </a:cxn>
                <a:cxn ang="0">
                  <a:pos x="60" y="34"/>
                </a:cxn>
                <a:cxn ang="0">
                  <a:pos x="60" y="44"/>
                </a:cxn>
                <a:cxn ang="0">
                  <a:pos x="61" y="55"/>
                </a:cxn>
                <a:cxn ang="0">
                  <a:pos x="61" y="74"/>
                </a:cxn>
                <a:cxn ang="0">
                  <a:pos x="61" y="86"/>
                </a:cxn>
                <a:cxn ang="0">
                  <a:pos x="61" y="98"/>
                </a:cxn>
                <a:cxn ang="0">
                  <a:pos x="61" y="115"/>
                </a:cxn>
                <a:cxn ang="0">
                  <a:pos x="60" y="119"/>
                </a:cxn>
                <a:cxn ang="0">
                  <a:pos x="57" y="123"/>
                </a:cxn>
                <a:cxn ang="0">
                  <a:pos x="54" y="124"/>
                </a:cxn>
                <a:cxn ang="0">
                  <a:pos x="50" y="126"/>
                </a:cxn>
                <a:cxn ang="0">
                  <a:pos x="42" y="127"/>
                </a:cxn>
                <a:cxn ang="0">
                  <a:pos x="37" y="127"/>
                </a:cxn>
                <a:cxn ang="0">
                  <a:pos x="29" y="127"/>
                </a:cxn>
                <a:cxn ang="0">
                  <a:pos x="25" y="126"/>
                </a:cxn>
                <a:cxn ang="0">
                  <a:pos x="22" y="123"/>
                </a:cxn>
                <a:cxn ang="0">
                  <a:pos x="21" y="119"/>
                </a:cxn>
                <a:cxn ang="0">
                  <a:pos x="22" y="110"/>
                </a:cxn>
                <a:cxn ang="0">
                  <a:pos x="25" y="98"/>
                </a:cxn>
                <a:cxn ang="0">
                  <a:pos x="24" y="88"/>
                </a:cxn>
                <a:cxn ang="0">
                  <a:pos x="21" y="80"/>
                </a:cxn>
                <a:cxn ang="0">
                  <a:pos x="17" y="72"/>
                </a:cxn>
                <a:cxn ang="0">
                  <a:pos x="13" y="63"/>
                </a:cxn>
                <a:cxn ang="0">
                  <a:pos x="8" y="55"/>
                </a:cxn>
                <a:cxn ang="0">
                  <a:pos x="4" y="46"/>
                </a:cxn>
                <a:cxn ang="0">
                  <a:pos x="1" y="36"/>
                </a:cxn>
                <a:cxn ang="0">
                  <a:pos x="0" y="26"/>
                </a:cxn>
              </a:cxnLst>
              <a:rect l="0" t="0" r="r" b="b"/>
              <a:pathLst>
                <a:path w="61" h="127">
                  <a:moveTo>
                    <a:pt x="0" y="26"/>
                  </a:moveTo>
                  <a:lnTo>
                    <a:pt x="1" y="18"/>
                  </a:lnTo>
                  <a:lnTo>
                    <a:pt x="1" y="11"/>
                  </a:lnTo>
                  <a:lnTo>
                    <a:pt x="1" y="7"/>
                  </a:lnTo>
                  <a:lnTo>
                    <a:pt x="4" y="4"/>
                  </a:lnTo>
                  <a:lnTo>
                    <a:pt x="6" y="2"/>
                  </a:lnTo>
                  <a:lnTo>
                    <a:pt x="10" y="2"/>
                  </a:lnTo>
                  <a:lnTo>
                    <a:pt x="17" y="0"/>
                  </a:lnTo>
                  <a:lnTo>
                    <a:pt x="25" y="0"/>
                  </a:lnTo>
                  <a:lnTo>
                    <a:pt x="34" y="2"/>
                  </a:lnTo>
                  <a:lnTo>
                    <a:pt x="42" y="6"/>
                  </a:lnTo>
                  <a:lnTo>
                    <a:pt x="49" y="10"/>
                  </a:lnTo>
                  <a:lnTo>
                    <a:pt x="54" y="16"/>
                  </a:lnTo>
                  <a:lnTo>
                    <a:pt x="57" y="24"/>
                  </a:lnTo>
                  <a:lnTo>
                    <a:pt x="60" y="34"/>
                  </a:lnTo>
                  <a:lnTo>
                    <a:pt x="60" y="44"/>
                  </a:lnTo>
                  <a:lnTo>
                    <a:pt x="61" y="55"/>
                  </a:lnTo>
                  <a:lnTo>
                    <a:pt x="61" y="74"/>
                  </a:lnTo>
                  <a:lnTo>
                    <a:pt x="61" y="86"/>
                  </a:lnTo>
                  <a:lnTo>
                    <a:pt x="61" y="98"/>
                  </a:lnTo>
                  <a:lnTo>
                    <a:pt x="61" y="115"/>
                  </a:lnTo>
                  <a:lnTo>
                    <a:pt x="60" y="119"/>
                  </a:lnTo>
                  <a:lnTo>
                    <a:pt x="57" y="123"/>
                  </a:lnTo>
                  <a:lnTo>
                    <a:pt x="54" y="124"/>
                  </a:lnTo>
                  <a:lnTo>
                    <a:pt x="50" y="126"/>
                  </a:lnTo>
                  <a:lnTo>
                    <a:pt x="42" y="127"/>
                  </a:lnTo>
                  <a:lnTo>
                    <a:pt x="37" y="127"/>
                  </a:lnTo>
                  <a:lnTo>
                    <a:pt x="29" y="127"/>
                  </a:lnTo>
                  <a:lnTo>
                    <a:pt x="25" y="126"/>
                  </a:lnTo>
                  <a:lnTo>
                    <a:pt x="22" y="123"/>
                  </a:lnTo>
                  <a:lnTo>
                    <a:pt x="21" y="119"/>
                  </a:lnTo>
                  <a:lnTo>
                    <a:pt x="22" y="110"/>
                  </a:lnTo>
                  <a:lnTo>
                    <a:pt x="25" y="98"/>
                  </a:lnTo>
                  <a:lnTo>
                    <a:pt x="24" y="88"/>
                  </a:lnTo>
                  <a:lnTo>
                    <a:pt x="21" y="80"/>
                  </a:lnTo>
                  <a:lnTo>
                    <a:pt x="17" y="72"/>
                  </a:lnTo>
                  <a:lnTo>
                    <a:pt x="13" y="63"/>
                  </a:lnTo>
                  <a:lnTo>
                    <a:pt x="8" y="55"/>
                  </a:lnTo>
                  <a:lnTo>
                    <a:pt x="4" y="46"/>
                  </a:lnTo>
                  <a:lnTo>
                    <a:pt x="1" y="36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09" name="Freeform 79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3944938" y="2447925"/>
              <a:ext cx="57150" cy="36513"/>
            </a:xfrm>
            <a:custGeom>
              <a:avLst/>
              <a:gdLst/>
              <a:ahLst/>
              <a:cxnLst>
                <a:cxn ang="0">
                  <a:pos x="114" y="29"/>
                </a:cxn>
                <a:cxn ang="0">
                  <a:pos x="114" y="0"/>
                </a:cxn>
                <a:cxn ang="0">
                  <a:pos x="92" y="0"/>
                </a:cxn>
                <a:cxn ang="0">
                  <a:pos x="78" y="0"/>
                </a:cxn>
                <a:cxn ang="0">
                  <a:pos x="66" y="0"/>
                </a:cxn>
                <a:cxn ang="0">
                  <a:pos x="53" y="4"/>
                </a:cxn>
                <a:cxn ang="0">
                  <a:pos x="40" y="9"/>
                </a:cxn>
                <a:cxn ang="0">
                  <a:pos x="28" y="17"/>
                </a:cxn>
                <a:cxn ang="0">
                  <a:pos x="21" y="21"/>
                </a:cxn>
                <a:cxn ang="0">
                  <a:pos x="17" y="26"/>
                </a:cxn>
                <a:cxn ang="0">
                  <a:pos x="12" y="32"/>
                </a:cxn>
                <a:cxn ang="0">
                  <a:pos x="8" y="37"/>
                </a:cxn>
                <a:cxn ang="0">
                  <a:pos x="4" y="44"/>
                </a:cxn>
                <a:cxn ang="0">
                  <a:pos x="1" y="50"/>
                </a:cxn>
                <a:cxn ang="0">
                  <a:pos x="0" y="58"/>
                </a:cxn>
                <a:cxn ang="0">
                  <a:pos x="0" y="65"/>
                </a:cxn>
                <a:cxn ang="0">
                  <a:pos x="1" y="72"/>
                </a:cxn>
                <a:cxn ang="0">
                  <a:pos x="5" y="78"/>
                </a:cxn>
                <a:cxn ang="0">
                  <a:pos x="10" y="82"/>
                </a:cxn>
                <a:cxn ang="0">
                  <a:pos x="16" y="88"/>
                </a:cxn>
                <a:cxn ang="0">
                  <a:pos x="24" y="90"/>
                </a:cxn>
                <a:cxn ang="0">
                  <a:pos x="30" y="93"/>
                </a:cxn>
                <a:cxn ang="0">
                  <a:pos x="37" y="96"/>
                </a:cxn>
                <a:cxn ang="0">
                  <a:pos x="42" y="96"/>
                </a:cxn>
                <a:cxn ang="0">
                  <a:pos x="66" y="94"/>
                </a:cxn>
                <a:cxn ang="0">
                  <a:pos x="86" y="92"/>
                </a:cxn>
                <a:cxn ang="0">
                  <a:pos x="97" y="90"/>
                </a:cxn>
                <a:cxn ang="0">
                  <a:pos x="108" y="90"/>
                </a:cxn>
                <a:cxn ang="0">
                  <a:pos x="120" y="92"/>
                </a:cxn>
                <a:cxn ang="0">
                  <a:pos x="132" y="96"/>
                </a:cxn>
                <a:cxn ang="0">
                  <a:pos x="132" y="65"/>
                </a:cxn>
                <a:cxn ang="0">
                  <a:pos x="125" y="65"/>
                </a:cxn>
                <a:cxn ang="0">
                  <a:pos x="120" y="64"/>
                </a:cxn>
                <a:cxn ang="0">
                  <a:pos x="114" y="61"/>
                </a:cxn>
                <a:cxn ang="0">
                  <a:pos x="109" y="60"/>
                </a:cxn>
                <a:cxn ang="0">
                  <a:pos x="101" y="56"/>
                </a:cxn>
                <a:cxn ang="0">
                  <a:pos x="96" y="53"/>
                </a:cxn>
                <a:cxn ang="0">
                  <a:pos x="104" y="48"/>
                </a:cxn>
                <a:cxn ang="0">
                  <a:pos x="109" y="41"/>
                </a:cxn>
                <a:cxn ang="0">
                  <a:pos x="113" y="34"/>
                </a:cxn>
                <a:cxn ang="0">
                  <a:pos x="114" y="29"/>
                </a:cxn>
              </a:cxnLst>
              <a:rect l="0" t="0" r="r" b="b"/>
              <a:pathLst>
                <a:path w="132" h="96">
                  <a:moveTo>
                    <a:pt x="114" y="29"/>
                  </a:moveTo>
                  <a:lnTo>
                    <a:pt x="114" y="0"/>
                  </a:lnTo>
                  <a:lnTo>
                    <a:pt x="92" y="0"/>
                  </a:lnTo>
                  <a:lnTo>
                    <a:pt x="78" y="0"/>
                  </a:lnTo>
                  <a:lnTo>
                    <a:pt x="66" y="0"/>
                  </a:lnTo>
                  <a:lnTo>
                    <a:pt x="53" y="4"/>
                  </a:lnTo>
                  <a:lnTo>
                    <a:pt x="40" y="9"/>
                  </a:lnTo>
                  <a:lnTo>
                    <a:pt x="28" y="17"/>
                  </a:lnTo>
                  <a:lnTo>
                    <a:pt x="21" y="21"/>
                  </a:lnTo>
                  <a:lnTo>
                    <a:pt x="17" y="26"/>
                  </a:lnTo>
                  <a:lnTo>
                    <a:pt x="12" y="32"/>
                  </a:lnTo>
                  <a:lnTo>
                    <a:pt x="8" y="37"/>
                  </a:lnTo>
                  <a:lnTo>
                    <a:pt x="4" y="44"/>
                  </a:lnTo>
                  <a:lnTo>
                    <a:pt x="1" y="50"/>
                  </a:lnTo>
                  <a:lnTo>
                    <a:pt x="0" y="58"/>
                  </a:lnTo>
                  <a:lnTo>
                    <a:pt x="0" y="65"/>
                  </a:lnTo>
                  <a:lnTo>
                    <a:pt x="1" y="72"/>
                  </a:lnTo>
                  <a:lnTo>
                    <a:pt x="5" y="78"/>
                  </a:lnTo>
                  <a:lnTo>
                    <a:pt x="10" y="82"/>
                  </a:lnTo>
                  <a:lnTo>
                    <a:pt x="16" y="88"/>
                  </a:lnTo>
                  <a:lnTo>
                    <a:pt x="24" y="90"/>
                  </a:lnTo>
                  <a:lnTo>
                    <a:pt x="30" y="93"/>
                  </a:lnTo>
                  <a:lnTo>
                    <a:pt x="37" y="96"/>
                  </a:lnTo>
                  <a:lnTo>
                    <a:pt x="42" y="96"/>
                  </a:lnTo>
                  <a:lnTo>
                    <a:pt x="66" y="94"/>
                  </a:lnTo>
                  <a:lnTo>
                    <a:pt x="86" y="92"/>
                  </a:lnTo>
                  <a:lnTo>
                    <a:pt x="97" y="90"/>
                  </a:lnTo>
                  <a:lnTo>
                    <a:pt x="108" y="90"/>
                  </a:lnTo>
                  <a:lnTo>
                    <a:pt x="120" y="92"/>
                  </a:lnTo>
                  <a:lnTo>
                    <a:pt x="132" y="96"/>
                  </a:lnTo>
                  <a:lnTo>
                    <a:pt x="132" y="65"/>
                  </a:lnTo>
                  <a:lnTo>
                    <a:pt x="125" y="65"/>
                  </a:lnTo>
                  <a:lnTo>
                    <a:pt x="120" y="64"/>
                  </a:lnTo>
                  <a:lnTo>
                    <a:pt x="114" y="61"/>
                  </a:lnTo>
                  <a:lnTo>
                    <a:pt x="109" y="60"/>
                  </a:lnTo>
                  <a:lnTo>
                    <a:pt x="101" y="56"/>
                  </a:lnTo>
                  <a:lnTo>
                    <a:pt x="96" y="53"/>
                  </a:lnTo>
                  <a:lnTo>
                    <a:pt x="104" y="48"/>
                  </a:lnTo>
                  <a:lnTo>
                    <a:pt x="109" y="41"/>
                  </a:lnTo>
                  <a:lnTo>
                    <a:pt x="113" y="34"/>
                  </a:lnTo>
                  <a:lnTo>
                    <a:pt x="114" y="2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0" name="Freeform 8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4073525" y="2506663"/>
              <a:ext cx="25400" cy="15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6"/>
                </a:cxn>
                <a:cxn ang="0">
                  <a:pos x="5" y="40"/>
                </a:cxn>
                <a:cxn ang="0">
                  <a:pos x="12" y="42"/>
                </a:cxn>
                <a:cxn ang="0">
                  <a:pos x="21" y="44"/>
                </a:cxn>
                <a:cxn ang="0">
                  <a:pos x="29" y="42"/>
                </a:cxn>
                <a:cxn ang="0">
                  <a:pos x="38" y="40"/>
                </a:cxn>
                <a:cxn ang="0">
                  <a:pos x="46" y="36"/>
                </a:cxn>
                <a:cxn ang="0">
                  <a:pos x="50" y="32"/>
                </a:cxn>
                <a:cxn ang="0">
                  <a:pos x="54" y="28"/>
                </a:cxn>
                <a:cxn ang="0">
                  <a:pos x="57" y="24"/>
                </a:cxn>
                <a:cxn ang="0">
                  <a:pos x="60" y="18"/>
                </a:cxn>
                <a:cxn ang="0">
                  <a:pos x="49" y="17"/>
                </a:cxn>
                <a:cxn ang="0">
                  <a:pos x="41" y="16"/>
                </a:cxn>
                <a:cxn ang="0">
                  <a:pos x="34" y="14"/>
                </a:cxn>
                <a:cxn ang="0">
                  <a:pos x="28" y="12"/>
                </a:cxn>
                <a:cxn ang="0">
                  <a:pos x="14" y="5"/>
                </a:cxn>
                <a:cxn ang="0">
                  <a:pos x="0" y="0"/>
                </a:cxn>
              </a:cxnLst>
              <a:rect l="0" t="0" r="r" b="b"/>
              <a:pathLst>
                <a:path w="60" h="44">
                  <a:moveTo>
                    <a:pt x="0" y="0"/>
                  </a:moveTo>
                  <a:lnTo>
                    <a:pt x="0" y="36"/>
                  </a:lnTo>
                  <a:lnTo>
                    <a:pt x="5" y="40"/>
                  </a:lnTo>
                  <a:lnTo>
                    <a:pt x="12" y="42"/>
                  </a:lnTo>
                  <a:lnTo>
                    <a:pt x="21" y="44"/>
                  </a:lnTo>
                  <a:lnTo>
                    <a:pt x="29" y="42"/>
                  </a:lnTo>
                  <a:lnTo>
                    <a:pt x="38" y="40"/>
                  </a:lnTo>
                  <a:lnTo>
                    <a:pt x="46" y="36"/>
                  </a:lnTo>
                  <a:lnTo>
                    <a:pt x="50" y="32"/>
                  </a:lnTo>
                  <a:lnTo>
                    <a:pt x="54" y="28"/>
                  </a:lnTo>
                  <a:lnTo>
                    <a:pt x="57" y="24"/>
                  </a:lnTo>
                  <a:lnTo>
                    <a:pt x="60" y="18"/>
                  </a:lnTo>
                  <a:lnTo>
                    <a:pt x="49" y="17"/>
                  </a:lnTo>
                  <a:lnTo>
                    <a:pt x="41" y="16"/>
                  </a:lnTo>
                  <a:lnTo>
                    <a:pt x="34" y="14"/>
                  </a:lnTo>
                  <a:lnTo>
                    <a:pt x="28" y="12"/>
                  </a:lnTo>
                  <a:lnTo>
                    <a:pt x="14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1" name="Freeform 8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4144963" y="2579688"/>
              <a:ext cx="50800" cy="30162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4" y="5"/>
                </a:cxn>
                <a:cxn ang="0">
                  <a:pos x="62" y="9"/>
                </a:cxn>
                <a:cxn ang="0">
                  <a:pos x="58" y="13"/>
                </a:cxn>
                <a:cxn ang="0">
                  <a:pos x="54" y="16"/>
                </a:cxn>
                <a:cxn ang="0">
                  <a:pos x="43" y="22"/>
                </a:cxn>
                <a:cxn ang="0">
                  <a:pos x="31" y="26"/>
                </a:cxn>
                <a:cxn ang="0">
                  <a:pos x="19" y="32"/>
                </a:cxn>
                <a:cxn ang="0">
                  <a:pos x="10" y="37"/>
                </a:cxn>
                <a:cxn ang="0">
                  <a:pos x="6" y="40"/>
                </a:cxn>
                <a:cxn ang="0">
                  <a:pos x="3" y="44"/>
                </a:cxn>
                <a:cxn ang="0">
                  <a:pos x="0" y="48"/>
                </a:cxn>
                <a:cxn ang="0">
                  <a:pos x="0" y="53"/>
                </a:cxn>
                <a:cxn ang="0">
                  <a:pos x="0" y="60"/>
                </a:cxn>
                <a:cxn ang="0">
                  <a:pos x="3" y="65"/>
                </a:cxn>
                <a:cxn ang="0">
                  <a:pos x="7" y="69"/>
                </a:cxn>
                <a:cxn ang="0">
                  <a:pos x="11" y="72"/>
                </a:cxn>
                <a:cxn ang="0">
                  <a:pos x="15" y="74"/>
                </a:cxn>
                <a:cxn ang="0">
                  <a:pos x="20" y="77"/>
                </a:cxn>
                <a:cxn ang="0">
                  <a:pos x="26" y="77"/>
                </a:cxn>
                <a:cxn ang="0">
                  <a:pos x="30" y="77"/>
                </a:cxn>
                <a:cxn ang="0">
                  <a:pos x="39" y="76"/>
                </a:cxn>
                <a:cxn ang="0">
                  <a:pos x="52" y="72"/>
                </a:cxn>
                <a:cxn ang="0">
                  <a:pos x="67" y="65"/>
                </a:cxn>
                <a:cxn ang="0">
                  <a:pos x="82" y="57"/>
                </a:cxn>
                <a:cxn ang="0">
                  <a:pos x="96" y="49"/>
                </a:cxn>
                <a:cxn ang="0">
                  <a:pos x="108" y="40"/>
                </a:cxn>
                <a:cxn ang="0">
                  <a:pos x="114" y="36"/>
                </a:cxn>
                <a:cxn ang="0">
                  <a:pos x="118" y="30"/>
                </a:cxn>
                <a:cxn ang="0">
                  <a:pos x="120" y="26"/>
                </a:cxn>
                <a:cxn ang="0">
                  <a:pos x="120" y="24"/>
                </a:cxn>
                <a:cxn ang="0">
                  <a:pos x="119" y="18"/>
                </a:cxn>
                <a:cxn ang="0">
                  <a:pos x="115" y="14"/>
                </a:cxn>
                <a:cxn ang="0">
                  <a:pos x="108" y="10"/>
                </a:cxn>
                <a:cxn ang="0">
                  <a:pos x="100" y="6"/>
                </a:cxn>
                <a:cxn ang="0">
                  <a:pos x="91" y="4"/>
                </a:cxn>
                <a:cxn ang="0">
                  <a:pos x="83" y="1"/>
                </a:cxn>
                <a:cxn ang="0">
                  <a:pos x="74" y="0"/>
                </a:cxn>
                <a:cxn ang="0">
                  <a:pos x="66" y="0"/>
                </a:cxn>
              </a:cxnLst>
              <a:rect l="0" t="0" r="r" b="b"/>
              <a:pathLst>
                <a:path w="120" h="77">
                  <a:moveTo>
                    <a:pt x="66" y="0"/>
                  </a:moveTo>
                  <a:lnTo>
                    <a:pt x="64" y="5"/>
                  </a:lnTo>
                  <a:lnTo>
                    <a:pt x="62" y="9"/>
                  </a:lnTo>
                  <a:lnTo>
                    <a:pt x="58" y="13"/>
                  </a:lnTo>
                  <a:lnTo>
                    <a:pt x="54" y="16"/>
                  </a:lnTo>
                  <a:lnTo>
                    <a:pt x="43" y="22"/>
                  </a:lnTo>
                  <a:lnTo>
                    <a:pt x="31" y="26"/>
                  </a:lnTo>
                  <a:lnTo>
                    <a:pt x="19" y="32"/>
                  </a:lnTo>
                  <a:lnTo>
                    <a:pt x="10" y="37"/>
                  </a:lnTo>
                  <a:lnTo>
                    <a:pt x="6" y="40"/>
                  </a:lnTo>
                  <a:lnTo>
                    <a:pt x="3" y="44"/>
                  </a:lnTo>
                  <a:lnTo>
                    <a:pt x="0" y="48"/>
                  </a:lnTo>
                  <a:lnTo>
                    <a:pt x="0" y="53"/>
                  </a:lnTo>
                  <a:lnTo>
                    <a:pt x="0" y="60"/>
                  </a:lnTo>
                  <a:lnTo>
                    <a:pt x="3" y="65"/>
                  </a:lnTo>
                  <a:lnTo>
                    <a:pt x="7" y="69"/>
                  </a:lnTo>
                  <a:lnTo>
                    <a:pt x="11" y="72"/>
                  </a:lnTo>
                  <a:lnTo>
                    <a:pt x="15" y="74"/>
                  </a:lnTo>
                  <a:lnTo>
                    <a:pt x="20" y="77"/>
                  </a:lnTo>
                  <a:lnTo>
                    <a:pt x="26" y="77"/>
                  </a:lnTo>
                  <a:lnTo>
                    <a:pt x="30" y="77"/>
                  </a:lnTo>
                  <a:lnTo>
                    <a:pt x="39" y="76"/>
                  </a:lnTo>
                  <a:lnTo>
                    <a:pt x="52" y="72"/>
                  </a:lnTo>
                  <a:lnTo>
                    <a:pt x="67" y="65"/>
                  </a:lnTo>
                  <a:lnTo>
                    <a:pt x="82" y="57"/>
                  </a:lnTo>
                  <a:lnTo>
                    <a:pt x="96" y="49"/>
                  </a:lnTo>
                  <a:lnTo>
                    <a:pt x="108" y="40"/>
                  </a:lnTo>
                  <a:lnTo>
                    <a:pt x="114" y="36"/>
                  </a:lnTo>
                  <a:lnTo>
                    <a:pt x="118" y="30"/>
                  </a:lnTo>
                  <a:lnTo>
                    <a:pt x="120" y="26"/>
                  </a:lnTo>
                  <a:lnTo>
                    <a:pt x="120" y="24"/>
                  </a:lnTo>
                  <a:lnTo>
                    <a:pt x="119" y="18"/>
                  </a:lnTo>
                  <a:lnTo>
                    <a:pt x="115" y="14"/>
                  </a:lnTo>
                  <a:lnTo>
                    <a:pt x="108" y="10"/>
                  </a:lnTo>
                  <a:lnTo>
                    <a:pt x="100" y="6"/>
                  </a:lnTo>
                  <a:lnTo>
                    <a:pt x="91" y="4"/>
                  </a:lnTo>
                  <a:lnTo>
                    <a:pt x="83" y="1"/>
                  </a:lnTo>
                  <a:lnTo>
                    <a:pt x="74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2" name="Freeform 8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493000" y="3359150"/>
              <a:ext cx="614363" cy="579438"/>
            </a:xfrm>
            <a:custGeom>
              <a:avLst/>
              <a:gdLst/>
              <a:ahLst/>
              <a:cxnLst>
                <a:cxn ang="0">
                  <a:pos x="215" y="441"/>
                </a:cxn>
                <a:cxn ang="0">
                  <a:pos x="184" y="383"/>
                </a:cxn>
                <a:cxn ang="0">
                  <a:pos x="162" y="333"/>
                </a:cxn>
                <a:cxn ang="0">
                  <a:pos x="108" y="261"/>
                </a:cxn>
                <a:cxn ang="0">
                  <a:pos x="38" y="193"/>
                </a:cxn>
                <a:cxn ang="0">
                  <a:pos x="2" y="153"/>
                </a:cxn>
                <a:cxn ang="0">
                  <a:pos x="4" y="141"/>
                </a:cxn>
                <a:cxn ang="0">
                  <a:pos x="44" y="138"/>
                </a:cxn>
                <a:cxn ang="0">
                  <a:pos x="79" y="132"/>
                </a:cxn>
                <a:cxn ang="0">
                  <a:pos x="90" y="118"/>
                </a:cxn>
                <a:cxn ang="0">
                  <a:pos x="80" y="74"/>
                </a:cxn>
                <a:cxn ang="0">
                  <a:pos x="63" y="12"/>
                </a:cxn>
                <a:cxn ang="0">
                  <a:pos x="166" y="48"/>
                </a:cxn>
                <a:cxn ang="0">
                  <a:pos x="258" y="116"/>
                </a:cxn>
                <a:cxn ang="0">
                  <a:pos x="391" y="275"/>
                </a:cxn>
                <a:cxn ang="0">
                  <a:pos x="512" y="398"/>
                </a:cxn>
                <a:cxn ang="0">
                  <a:pos x="620" y="473"/>
                </a:cxn>
                <a:cxn ang="0">
                  <a:pos x="740" y="538"/>
                </a:cxn>
                <a:cxn ang="0">
                  <a:pos x="913" y="615"/>
                </a:cxn>
                <a:cxn ang="0">
                  <a:pos x="980" y="657"/>
                </a:cxn>
                <a:cxn ang="0">
                  <a:pos x="1077" y="723"/>
                </a:cxn>
                <a:cxn ang="0">
                  <a:pos x="1137" y="760"/>
                </a:cxn>
                <a:cxn ang="0">
                  <a:pos x="1085" y="762"/>
                </a:cxn>
                <a:cxn ang="0">
                  <a:pos x="961" y="723"/>
                </a:cxn>
                <a:cxn ang="0">
                  <a:pos x="905" y="717"/>
                </a:cxn>
                <a:cxn ang="0">
                  <a:pos x="883" y="730"/>
                </a:cxn>
                <a:cxn ang="0">
                  <a:pos x="865" y="884"/>
                </a:cxn>
                <a:cxn ang="0">
                  <a:pos x="899" y="930"/>
                </a:cxn>
                <a:cxn ang="0">
                  <a:pos x="937" y="1030"/>
                </a:cxn>
                <a:cxn ang="0">
                  <a:pos x="968" y="1071"/>
                </a:cxn>
                <a:cxn ang="0">
                  <a:pos x="1012" y="1134"/>
                </a:cxn>
                <a:cxn ang="0">
                  <a:pos x="1071" y="1172"/>
                </a:cxn>
                <a:cxn ang="0">
                  <a:pos x="1138" y="1195"/>
                </a:cxn>
                <a:cxn ang="0">
                  <a:pos x="1281" y="1223"/>
                </a:cxn>
                <a:cxn ang="0">
                  <a:pos x="1344" y="1244"/>
                </a:cxn>
                <a:cxn ang="0">
                  <a:pos x="1396" y="1282"/>
                </a:cxn>
                <a:cxn ang="0">
                  <a:pos x="1430" y="1343"/>
                </a:cxn>
                <a:cxn ang="0">
                  <a:pos x="1358" y="1311"/>
                </a:cxn>
                <a:cxn ang="0">
                  <a:pos x="1305" y="1294"/>
                </a:cxn>
                <a:cxn ang="0">
                  <a:pos x="1252" y="1310"/>
                </a:cxn>
                <a:cxn ang="0">
                  <a:pos x="1208" y="1348"/>
                </a:cxn>
                <a:cxn ang="0">
                  <a:pos x="1204" y="1363"/>
                </a:cxn>
                <a:cxn ang="0">
                  <a:pos x="1233" y="1437"/>
                </a:cxn>
                <a:cxn ang="0">
                  <a:pos x="1274" y="1527"/>
                </a:cxn>
                <a:cxn ang="0">
                  <a:pos x="1238" y="1528"/>
                </a:cxn>
                <a:cxn ang="0">
                  <a:pos x="1166" y="1468"/>
                </a:cxn>
                <a:cxn ang="0">
                  <a:pos x="1081" y="1363"/>
                </a:cxn>
                <a:cxn ang="0">
                  <a:pos x="984" y="1216"/>
                </a:cxn>
                <a:cxn ang="0">
                  <a:pos x="929" y="1150"/>
                </a:cxn>
                <a:cxn ang="0">
                  <a:pos x="863" y="1091"/>
                </a:cxn>
                <a:cxn ang="0">
                  <a:pos x="781" y="1047"/>
                </a:cxn>
                <a:cxn ang="0">
                  <a:pos x="688" y="868"/>
                </a:cxn>
                <a:cxn ang="0">
                  <a:pos x="559" y="690"/>
                </a:cxn>
                <a:cxn ang="0">
                  <a:pos x="451" y="581"/>
                </a:cxn>
                <a:cxn ang="0">
                  <a:pos x="379" y="526"/>
                </a:cxn>
                <a:cxn ang="0">
                  <a:pos x="308" y="494"/>
                </a:cxn>
              </a:cxnLst>
              <a:rect l="0" t="0" r="r" b="b"/>
              <a:pathLst>
                <a:path w="1430" h="1553">
                  <a:moveTo>
                    <a:pt x="244" y="487"/>
                  </a:moveTo>
                  <a:lnTo>
                    <a:pt x="232" y="470"/>
                  </a:lnTo>
                  <a:lnTo>
                    <a:pt x="223" y="455"/>
                  </a:lnTo>
                  <a:lnTo>
                    <a:pt x="215" y="441"/>
                  </a:lnTo>
                  <a:lnTo>
                    <a:pt x="208" y="427"/>
                  </a:lnTo>
                  <a:lnTo>
                    <a:pt x="202" y="414"/>
                  </a:lnTo>
                  <a:lnTo>
                    <a:pt x="194" y="399"/>
                  </a:lnTo>
                  <a:lnTo>
                    <a:pt x="184" y="383"/>
                  </a:lnTo>
                  <a:lnTo>
                    <a:pt x="172" y="367"/>
                  </a:lnTo>
                  <a:lnTo>
                    <a:pt x="170" y="355"/>
                  </a:lnTo>
                  <a:lnTo>
                    <a:pt x="166" y="345"/>
                  </a:lnTo>
                  <a:lnTo>
                    <a:pt x="162" y="333"/>
                  </a:lnTo>
                  <a:lnTo>
                    <a:pt x="155" y="322"/>
                  </a:lnTo>
                  <a:lnTo>
                    <a:pt x="142" y="301"/>
                  </a:lnTo>
                  <a:lnTo>
                    <a:pt x="126" y="281"/>
                  </a:lnTo>
                  <a:lnTo>
                    <a:pt x="108" y="261"/>
                  </a:lnTo>
                  <a:lnTo>
                    <a:pt x="91" y="242"/>
                  </a:lnTo>
                  <a:lnTo>
                    <a:pt x="72" y="223"/>
                  </a:lnTo>
                  <a:lnTo>
                    <a:pt x="55" y="207"/>
                  </a:lnTo>
                  <a:lnTo>
                    <a:pt x="38" y="193"/>
                  </a:lnTo>
                  <a:lnTo>
                    <a:pt x="23" y="178"/>
                  </a:lnTo>
                  <a:lnTo>
                    <a:pt x="12" y="167"/>
                  </a:lnTo>
                  <a:lnTo>
                    <a:pt x="4" y="157"/>
                  </a:lnTo>
                  <a:lnTo>
                    <a:pt x="2" y="153"/>
                  </a:lnTo>
                  <a:lnTo>
                    <a:pt x="0" y="149"/>
                  </a:lnTo>
                  <a:lnTo>
                    <a:pt x="0" y="146"/>
                  </a:lnTo>
                  <a:lnTo>
                    <a:pt x="2" y="144"/>
                  </a:lnTo>
                  <a:lnTo>
                    <a:pt x="4" y="141"/>
                  </a:lnTo>
                  <a:lnTo>
                    <a:pt x="8" y="140"/>
                  </a:lnTo>
                  <a:lnTo>
                    <a:pt x="15" y="138"/>
                  </a:lnTo>
                  <a:lnTo>
                    <a:pt x="22" y="138"/>
                  </a:lnTo>
                  <a:lnTo>
                    <a:pt x="44" y="138"/>
                  </a:lnTo>
                  <a:lnTo>
                    <a:pt x="62" y="137"/>
                  </a:lnTo>
                  <a:lnTo>
                    <a:pt x="68" y="136"/>
                  </a:lnTo>
                  <a:lnTo>
                    <a:pt x="74" y="133"/>
                  </a:lnTo>
                  <a:lnTo>
                    <a:pt x="79" y="132"/>
                  </a:lnTo>
                  <a:lnTo>
                    <a:pt x="83" y="129"/>
                  </a:lnTo>
                  <a:lnTo>
                    <a:pt x="86" y="125"/>
                  </a:lnTo>
                  <a:lnTo>
                    <a:pt x="88" y="122"/>
                  </a:lnTo>
                  <a:lnTo>
                    <a:pt x="90" y="118"/>
                  </a:lnTo>
                  <a:lnTo>
                    <a:pt x="91" y="114"/>
                  </a:lnTo>
                  <a:lnTo>
                    <a:pt x="90" y="106"/>
                  </a:lnTo>
                  <a:lnTo>
                    <a:pt x="88" y="96"/>
                  </a:lnTo>
                  <a:lnTo>
                    <a:pt x="80" y="74"/>
                  </a:lnTo>
                  <a:lnTo>
                    <a:pt x="71" y="50"/>
                  </a:lnTo>
                  <a:lnTo>
                    <a:pt x="67" y="37"/>
                  </a:lnTo>
                  <a:lnTo>
                    <a:pt x="64" y="25"/>
                  </a:lnTo>
                  <a:lnTo>
                    <a:pt x="63" y="12"/>
                  </a:lnTo>
                  <a:lnTo>
                    <a:pt x="64" y="0"/>
                  </a:lnTo>
                  <a:lnTo>
                    <a:pt x="103" y="16"/>
                  </a:lnTo>
                  <a:lnTo>
                    <a:pt x="136" y="32"/>
                  </a:lnTo>
                  <a:lnTo>
                    <a:pt x="166" y="48"/>
                  </a:lnTo>
                  <a:lnTo>
                    <a:pt x="192" y="64"/>
                  </a:lnTo>
                  <a:lnTo>
                    <a:pt x="216" y="80"/>
                  </a:lnTo>
                  <a:lnTo>
                    <a:pt x="238" y="97"/>
                  </a:lnTo>
                  <a:lnTo>
                    <a:pt x="258" y="116"/>
                  </a:lnTo>
                  <a:lnTo>
                    <a:pt x="276" y="134"/>
                  </a:lnTo>
                  <a:lnTo>
                    <a:pt x="312" y="175"/>
                  </a:lnTo>
                  <a:lnTo>
                    <a:pt x="348" y="222"/>
                  </a:lnTo>
                  <a:lnTo>
                    <a:pt x="391" y="275"/>
                  </a:lnTo>
                  <a:lnTo>
                    <a:pt x="444" y="337"/>
                  </a:lnTo>
                  <a:lnTo>
                    <a:pt x="464" y="358"/>
                  </a:lnTo>
                  <a:lnTo>
                    <a:pt x="487" y="378"/>
                  </a:lnTo>
                  <a:lnTo>
                    <a:pt x="512" y="398"/>
                  </a:lnTo>
                  <a:lnTo>
                    <a:pt x="537" y="418"/>
                  </a:lnTo>
                  <a:lnTo>
                    <a:pt x="564" y="437"/>
                  </a:lnTo>
                  <a:lnTo>
                    <a:pt x="591" y="455"/>
                  </a:lnTo>
                  <a:lnTo>
                    <a:pt x="620" y="473"/>
                  </a:lnTo>
                  <a:lnTo>
                    <a:pt x="649" y="490"/>
                  </a:lnTo>
                  <a:lnTo>
                    <a:pt x="679" y="507"/>
                  </a:lnTo>
                  <a:lnTo>
                    <a:pt x="709" y="523"/>
                  </a:lnTo>
                  <a:lnTo>
                    <a:pt x="740" y="538"/>
                  </a:lnTo>
                  <a:lnTo>
                    <a:pt x="771" y="554"/>
                  </a:lnTo>
                  <a:lnTo>
                    <a:pt x="833" y="582"/>
                  </a:lnTo>
                  <a:lnTo>
                    <a:pt x="895" y="607"/>
                  </a:lnTo>
                  <a:lnTo>
                    <a:pt x="913" y="615"/>
                  </a:lnTo>
                  <a:lnTo>
                    <a:pt x="929" y="623"/>
                  </a:lnTo>
                  <a:lnTo>
                    <a:pt x="944" y="631"/>
                  </a:lnTo>
                  <a:lnTo>
                    <a:pt x="957" y="639"/>
                  </a:lnTo>
                  <a:lnTo>
                    <a:pt x="980" y="657"/>
                  </a:lnTo>
                  <a:lnTo>
                    <a:pt x="1004" y="674"/>
                  </a:lnTo>
                  <a:lnTo>
                    <a:pt x="1029" y="693"/>
                  </a:lnTo>
                  <a:lnTo>
                    <a:pt x="1060" y="713"/>
                  </a:lnTo>
                  <a:lnTo>
                    <a:pt x="1077" y="723"/>
                  </a:lnTo>
                  <a:lnTo>
                    <a:pt x="1099" y="734"/>
                  </a:lnTo>
                  <a:lnTo>
                    <a:pt x="1121" y="746"/>
                  </a:lnTo>
                  <a:lnTo>
                    <a:pt x="1148" y="758"/>
                  </a:lnTo>
                  <a:lnTo>
                    <a:pt x="1137" y="760"/>
                  </a:lnTo>
                  <a:lnTo>
                    <a:pt x="1128" y="763"/>
                  </a:lnTo>
                  <a:lnTo>
                    <a:pt x="1117" y="764"/>
                  </a:lnTo>
                  <a:lnTo>
                    <a:pt x="1107" y="764"/>
                  </a:lnTo>
                  <a:lnTo>
                    <a:pt x="1085" y="762"/>
                  </a:lnTo>
                  <a:lnTo>
                    <a:pt x="1064" y="758"/>
                  </a:lnTo>
                  <a:lnTo>
                    <a:pt x="1021" y="744"/>
                  </a:lnTo>
                  <a:lnTo>
                    <a:pt x="980" y="730"/>
                  </a:lnTo>
                  <a:lnTo>
                    <a:pt x="961" y="723"/>
                  </a:lnTo>
                  <a:lnTo>
                    <a:pt x="944" y="719"/>
                  </a:lnTo>
                  <a:lnTo>
                    <a:pt x="927" y="715"/>
                  </a:lnTo>
                  <a:lnTo>
                    <a:pt x="912" y="715"/>
                  </a:lnTo>
                  <a:lnTo>
                    <a:pt x="905" y="717"/>
                  </a:lnTo>
                  <a:lnTo>
                    <a:pt x="899" y="718"/>
                  </a:lnTo>
                  <a:lnTo>
                    <a:pt x="892" y="721"/>
                  </a:lnTo>
                  <a:lnTo>
                    <a:pt x="887" y="725"/>
                  </a:lnTo>
                  <a:lnTo>
                    <a:pt x="883" y="730"/>
                  </a:lnTo>
                  <a:lnTo>
                    <a:pt x="877" y="735"/>
                  </a:lnTo>
                  <a:lnTo>
                    <a:pt x="875" y="743"/>
                  </a:lnTo>
                  <a:lnTo>
                    <a:pt x="871" y="752"/>
                  </a:lnTo>
                  <a:lnTo>
                    <a:pt x="865" y="884"/>
                  </a:lnTo>
                  <a:lnTo>
                    <a:pt x="876" y="895"/>
                  </a:lnTo>
                  <a:lnTo>
                    <a:pt x="884" y="906"/>
                  </a:lnTo>
                  <a:lnTo>
                    <a:pt x="892" y="918"/>
                  </a:lnTo>
                  <a:lnTo>
                    <a:pt x="899" y="930"/>
                  </a:lnTo>
                  <a:lnTo>
                    <a:pt x="909" y="955"/>
                  </a:lnTo>
                  <a:lnTo>
                    <a:pt x="919" y="980"/>
                  </a:lnTo>
                  <a:lnTo>
                    <a:pt x="927" y="1006"/>
                  </a:lnTo>
                  <a:lnTo>
                    <a:pt x="937" y="1030"/>
                  </a:lnTo>
                  <a:lnTo>
                    <a:pt x="943" y="1040"/>
                  </a:lnTo>
                  <a:lnTo>
                    <a:pt x="949" y="1051"/>
                  </a:lnTo>
                  <a:lnTo>
                    <a:pt x="959" y="1062"/>
                  </a:lnTo>
                  <a:lnTo>
                    <a:pt x="968" y="1071"/>
                  </a:lnTo>
                  <a:lnTo>
                    <a:pt x="977" y="1090"/>
                  </a:lnTo>
                  <a:lnTo>
                    <a:pt x="988" y="1106"/>
                  </a:lnTo>
                  <a:lnTo>
                    <a:pt x="1000" y="1120"/>
                  </a:lnTo>
                  <a:lnTo>
                    <a:pt x="1012" y="1134"/>
                  </a:lnTo>
                  <a:lnTo>
                    <a:pt x="1025" y="1146"/>
                  </a:lnTo>
                  <a:lnTo>
                    <a:pt x="1040" y="1155"/>
                  </a:lnTo>
                  <a:lnTo>
                    <a:pt x="1056" y="1164"/>
                  </a:lnTo>
                  <a:lnTo>
                    <a:pt x="1071" y="1172"/>
                  </a:lnTo>
                  <a:lnTo>
                    <a:pt x="1088" y="1179"/>
                  </a:lnTo>
                  <a:lnTo>
                    <a:pt x="1104" y="1184"/>
                  </a:lnTo>
                  <a:lnTo>
                    <a:pt x="1121" y="1190"/>
                  </a:lnTo>
                  <a:lnTo>
                    <a:pt x="1138" y="1195"/>
                  </a:lnTo>
                  <a:lnTo>
                    <a:pt x="1174" y="1203"/>
                  </a:lnTo>
                  <a:lnTo>
                    <a:pt x="1210" y="1210"/>
                  </a:lnTo>
                  <a:lnTo>
                    <a:pt x="1246" y="1216"/>
                  </a:lnTo>
                  <a:lnTo>
                    <a:pt x="1281" y="1223"/>
                  </a:lnTo>
                  <a:lnTo>
                    <a:pt x="1297" y="1227"/>
                  </a:lnTo>
                  <a:lnTo>
                    <a:pt x="1313" y="1232"/>
                  </a:lnTo>
                  <a:lnTo>
                    <a:pt x="1329" y="1239"/>
                  </a:lnTo>
                  <a:lnTo>
                    <a:pt x="1344" y="1244"/>
                  </a:lnTo>
                  <a:lnTo>
                    <a:pt x="1358" y="1252"/>
                  </a:lnTo>
                  <a:lnTo>
                    <a:pt x="1372" y="1262"/>
                  </a:lnTo>
                  <a:lnTo>
                    <a:pt x="1385" y="1271"/>
                  </a:lnTo>
                  <a:lnTo>
                    <a:pt x="1396" y="1282"/>
                  </a:lnTo>
                  <a:lnTo>
                    <a:pt x="1406" y="1295"/>
                  </a:lnTo>
                  <a:lnTo>
                    <a:pt x="1416" y="1308"/>
                  </a:lnTo>
                  <a:lnTo>
                    <a:pt x="1424" y="1324"/>
                  </a:lnTo>
                  <a:lnTo>
                    <a:pt x="1430" y="1343"/>
                  </a:lnTo>
                  <a:lnTo>
                    <a:pt x="1408" y="1335"/>
                  </a:lnTo>
                  <a:lnTo>
                    <a:pt x="1389" y="1327"/>
                  </a:lnTo>
                  <a:lnTo>
                    <a:pt x="1373" y="1319"/>
                  </a:lnTo>
                  <a:lnTo>
                    <a:pt x="1358" y="1311"/>
                  </a:lnTo>
                  <a:lnTo>
                    <a:pt x="1345" y="1304"/>
                  </a:lnTo>
                  <a:lnTo>
                    <a:pt x="1333" y="1299"/>
                  </a:lnTo>
                  <a:lnTo>
                    <a:pt x="1320" y="1295"/>
                  </a:lnTo>
                  <a:lnTo>
                    <a:pt x="1305" y="1294"/>
                  </a:lnTo>
                  <a:lnTo>
                    <a:pt x="1289" y="1295"/>
                  </a:lnTo>
                  <a:lnTo>
                    <a:pt x="1276" y="1299"/>
                  </a:lnTo>
                  <a:lnTo>
                    <a:pt x="1264" y="1303"/>
                  </a:lnTo>
                  <a:lnTo>
                    <a:pt x="1252" y="1310"/>
                  </a:lnTo>
                  <a:lnTo>
                    <a:pt x="1241" y="1317"/>
                  </a:lnTo>
                  <a:lnTo>
                    <a:pt x="1230" y="1327"/>
                  </a:lnTo>
                  <a:lnTo>
                    <a:pt x="1220" y="1337"/>
                  </a:lnTo>
                  <a:lnTo>
                    <a:pt x="1208" y="1348"/>
                  </a:lnTo>
                  <a:lnTo>
                    <a:pt x="1206" y="1351"/>
                  </a:lnTo>
                  <a:lnTo>
                    <a:pt x="1205" y="1355"/>
                  </a:lnTo>
                  <a:lnTo>
                    <a:pt x="1204" y="1359"/>
                  </a:lnTo>
                  <a:lnTo>
                    <a:pt x="1204" y="1363"/>
                  </a:lnTo>
                  <a:lnTo>
                    <a:pt x="1205" y="1372"/>
                  </a:lnTo>
                  <a:lnTo>
                    <a:pt x="1209" y="1384"/>
                  </a:lnTo>
                  <a:lnTo>
                    <a:pt x="1218" y="1408"/>
                  </a:lnTo>
                  <a:lnTo>
                    <a:pt x="1233" y="1437"/>
                  </a:lnTo>
                  <a:lnTo>
                    <a:pt x="1249" y="1467"/>
                  </a:lnTo>
                  <a:lnTo>
                    <a:pt x="1264" y="1497"/>
                  </a:lnTo>
                  <a:lnTo>
                    <a:pt x="1269" y="1512"/>
                  </a:lnTo>
                  <a:lnTo>
                    <a:pt x="1274" y="1527"/>
                  </a:lnTo>
                  <a:lnTo>
                    <a:pt x="1278" y="1540"/>
                  </a:lnTo>
                  <a:lnTo>
                    <a:pt x="1281" y="1553"/>
                  </a:lnTo>
                  <a:lnTo>
                    <a:pt x="1258" y="1540"/>
                  </a:lnTo>
                  <a:lnTo>
                    <a:pt x="1238" y="1528"/>
                  </a:lnTo>
                  <a:lnTo>
                    <a:pt x="1218" y="1513"/>
                  </a:lnTo>
                  <a:lnTo>
                    <a:pt x="1200" y="1499"/>
                  </a:lnTo>
                  <a:lnTo>
                    <a:pt x="1182" y="1484"/>
                  </a:lnTo>
                  <a:lnTo>
                    <a:pt x="1166" y="1468"/>
                  </a:lnTo>
                  <a:lnTo>
                    <a:pt x="1150" y="1451"/>
                  </a:lnTo>
                  <a:lnTo>
                    <a:pt x="1136" y="1433"/>
                  </a:lnTo>
                  <a:lnTo>
                    <a:pt x="1108" y="1399"/>
                  </a:lnTo>
                  <a:lnTo>
                    <a:pt x="1081" y="1363"/>
                  </a:lnTo>
                  <a:lnTo>
                    <a:pt x="1057" y="1325"/>
                  </a:lnTo>
                  <a:lnTo>
                    <a:pt x="1033" y="1288"/>
                  </a:lnTo>
                  <a:lnTo>
                    <a:pt x="1009" y="1252"/>
                  </a:lnTo>
                  <a:lnTo>
                    <a:pt x="984" y="1216"/>
                  </a:lnTo>
                  <a:lnTo>
                    <a:pt x="971" y="1199"/>
                  </a:lnTo>
                  <a:lnTo>
                    <a:pt x="957" y="1182"/>
                  </a:lnTo>
                  <a:lnTo>
                    <a:pt x="944" y="1166"/>
                  </a:lnTo>
                  <a:lnTo>
                    <a:pt x="929" y="1150"/>
                  </a:lnTo>
                  <a:lnTo>
                    <a:pt x="913" y="1134"/>
                  </a:lnTo>
                  <a:lnTo>
                    <a:pt x="897" y="1119"/>
                  </a:lnTo>
                  <a:lnTo>
                    <a:pt x="881" y="1104"/>
                  </a:lnTo>
                  <a:lnTo>
                    <a:pt x="863" y="1091"/>
                  </a:lnTo>
                  <a:lnTo>
                    <a:pt x="844" y="1079"/>
                  </a:lnTo>
                  <a:lnTo>
                    <a:pt x="824" y="1067"/>
                  </a:lnTo>
                  <a:lnTo>
                    <a:pt x="803" y="1056"/>
                  </a:lnTo>
                  <a:lnTo>
                    <a:pt x="781" y="1047"/>
                  </a:lnTo>
                  <a:lnTo>
                    <a:pt x="763" y="1004"/>
                  </a:lnTo>
                  <a:lnTo>
                    <a:pt x="740" y="960"/>
                  </a:lnTo>
                  <a:lnTo>
                    <a:pt x="716" y="914"/>
                  </a:lnTo>
                  <a:lnTo>
                    <a:pt x="688" y="868"/>
                  </a:lnTo>
                  <a:lnTo>
                    <a:pt x="659" y="822"/>
                  </a:lnTo>
                  <a:lnTo>
                    <a:pt x="627" y="776"/>
                  </a:lnTo>
                  <a:lnTo>
                    <a:pt x="593" y="732"/>
                  </a:lnTo>
                  <a:lnTo>
                    <a:pt x="559" y="690"/>
                  </a:lnTo>
                  <a:lnTo>
                    <a:pt x="524" y="650"/>
                  </a:lnTo>
                  <a:lnTo>
                    <a:pt x="488" y="614"/>
                  </a:lnTo>
                  <a:lnTo>
                    <a:pt x="469" y="597"/>
                  </a:lnTo>
                  <a:lnTo>
                    <a:pt x="451" y="581"/>
                  </a:lnTo>
                  <a:lnTo>
                    <a:pt x="433" y="565"/>
                  </a:lnTo>
                  <a:lnTo>
                    <a:pt x="415" y="551"/>
                  </a:lnTo>
                  <a:lnTo>
                    <a:pt x="396" y="538"/>
                  </a:lnTo>
                  <a:lnTo>
                    <a:pt x="379" y="526"/>
                  </a:lnTo>
                  <a:lnTo>
                    <a:pt x="360" y="517"/>
                  </a:lnTo>
                  <a:lnTo>
                    <a:pt x="343" y="507"/>
                  </a:lnTo>
                  <a:lnTo>
                    <a:pt x="326" y="499"/>
                  </a:lnTo>
                  <a:lnTo>
                    <a:pt x="308" y="494"/>
                  </a:lnTo>
                  <a:lnTo>
                    <a:pt x="291" y="490"/>
                  </a:lnTo>
                  <a:lnTo>
                    <a:pt x="275" y="487"/>
                  </a:lnTo>
                  <a:lnTo>
                    <a:pt x="244" y="48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3" name="Freeform 8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6838950" y="925513"/>
              <a:ext cx="990600" cy="1917700"/>
            </a:xfrm>
            <a:custGeom>
              <a:avLst/>
              <a:gdLst/>
              <a:ahLst/>
              <a:cxnLst>
                <a:cxn ang="0">
                  <a:pos x="500" y="3142"/>
                </a:cxn>
                <a:cxn ang="0">
                  <a:pos x="393" y="3252"/>
                </a:cxn>
                <a:cxn ang="0">
                  <a:pos x="346" y="3403"/>
                </a:cxn>
                <a:cxn ang="0">
                  <a:pos x="367" y="3522"/>
                </a:cxn>
                <a:cxn ang="0">
                  <a:pos x="479" y="3743"/>
                </a:cxn>
                <a:cxn ang="0">
                  <a:pos x="444" y="3931"/>
                </a:cxn>
                <a:cxn ang="0">
                  <a:pos x="314" y="3981"/>
                </a:cxn>
                <a:cxn ang="0">
                  <a:pos x="211" y="4151"/>
                </a:cxn>
                <a:cxn ang="0">
                  <a:pos x="187" y="4272"/>
                </a:cxn>
                <a:cxn ang="0">
                  <a:pos x="231" y="4597"/>
                </a:cxn>
                <a:cxn ang="0">
                  <a:pos x="343" y="4765"/>
                </a:cxn>
                <a:cxn ang="0">
                  <a:pos x="545" y="4749"/>
                </a:cxn>
                <a:cxn ang="0">
                  <a:pos x="719" y="4970"/>
                </a:cxn>
                <a:cxn ang="0">
                  <a:pos x="812" y="5049"/>
                </a:cxn>
                <a:cxn ang="0">
                  <a:pos x="975" y="5046"/>
                </a:cxn>
                <a:cxn ang="0">
                  <a:pos x="1174" y="4902"/>
                </a:cxn>
                <a:cxn ang="0">
                  <a:pos x="1460" y="4633"/>
                </a:cxn>
                <a:cxn ang="0">
                  <a:pos x="1510" y="4722"/>
                </a:cxn>
                <a:cxn ang="0">
                  <a:pos x="1698" y="4299"/>
                </a:cxn>
                <a:cxn ang="0">
                  <a:pos x="1540" y="4393"/>
                </a:cxn>
                <a:cxn ang="0">
                  <a:pos x="1369" y="3835"/>
                </a:cxn>
                <a:cxn ang="0">
                  <a:pos x="1500" y="3551"/>
                </a:cxn>
                <a:cxn ang="0">
                  <a:pos x="1601" y="3556"/>
                </a:cxn>
                <a:cxn ang="0">
                  <a:pos x="1714" y="3572"/>
                </a:cxn>
                <a:cxn ang="0">
                  <a:pos x="1788" y="3542"/>
                </a:cxn>
                <a:cxn ang="0">
                  <a:pos x="1718" y="3214"/>
                </a:cxn>
                <a:cxn ang="0">
                  <a:pos x="1590" y="3222"/>
                </a:cxn>
                <a:cxn ang="0">
                  <a:pos x="1390" y="3059"/>
                </a:cxn>
                <a:cxn ang="0">
                  <a:pos x="1186" y="2815"/>
                </a:cxn>
                <a:cxn ang="0">
                  <a:pos x="1089" y="2698"/>
                </a:cxn>
                <a:cxn ang="0">
                  <a:pos x="1209" y="2561"/>
                </a:cxn>
                <a:cxn ang="0">
                  <a:pos x="1554" y="2310"/>
                </a:cxn>
                <a:cxn ang="0">
                  <a:pos x="1682" y="2424"/>
                </a:cxn>
                <a:cxn ang="0">
                  <a:pos x="1943" y="2366"/>
                </a:cxn>
                <a:cxn ang="0">
                  <a:pos x="2057" y="2104"/>
                </a:cxn>
                <a:cxn ang="0">
                  <a:pos x="2214" y="1937"/>
                </a:cxn>
                <a:cxn ang="0">
                  <a:pos x="2277" y="1480"/>
                </a:cxn>
                <a:cxn ang="0">
                  <a:pos x="2186" y="1292"/>
                </a:cxn>
                <a:cxn ang="0">
                  <a:pos x="1774" y="1371"/>
                </a:cxn>
                <a:cxn ang="0">
                  <a:pos x="1600" y="1443"/>
                </a:cxn>
                <a:cxn ang="0">
                  <a:pos x="1744" y="1134"/>
                </a:cxn>
                <a:cxn ang="0">
                  <a:pos x="1453" y="959"/>
                </a:cxn>
                <a:cxn ang="0">
                  <a:pos x="1658" y="854"/>
                </a:cxn>
                <a:cxn ang="0">
                  <a:pos x="1753" y="657"/>
                </a:cxn>
                <a:cxn ang="0">
                  <a:pos x="1933" y="531"/>
                </a:cxn>
                <a:cxn ang="0">
                  <a:pos x="2066" y="333"/>
                </a:cxn>
                <a:cxn ang="0">
                  <a:pos x="1860" y="270"/>
                </a:cxn>
                <a:cxn ang="0">
                  <a:pos x="1780" y="186"/>
                </a:cxn>
                <a:cxn ang="0">
                  <a:pos x="1460" y="133"/>
                </a:cxn>
                <a:cxn ang="0">
                  <a:pos x="1461" y="346"/>
                </a:cxn>
                <a:cxn ang="0">
                  <a:pos x="1448" y="475"/>
                </a:cxn>
                <a:cxn ang="0">
                  <a:pos x="841" y="717"/>
                </a:cxn>
                <a:cxn ang="0">
                  <a:pos x="343" y="1324"/>
                </a:cxn>
                <a:cxn ang="0">
                  <a:pos x="338" y="1569"/>
                </a:cxn>
                <a:cxn ang="0">
                  <a:pos x="512" y="1668"/>
                </a:cxn>
                <a:cxn ang="0">
                  <a:pos x="315" y="1771"/>
                </a:cxn>
                <a:cxn ang="0">
                  <a:pos x="198" y="1908"/>
                </a:cxn>
                <a:cxn ang="0">
                  <a:pos x="0" y="2198"/>
                </a:cxn>
                <a:cxn ang="0">
                  <a:pos x="230" y="2317"/>
                </a:cxn>
                <a:cxn ang="0">
                  <a:pos x="222" y="2508"/>
                </a:cxn>
                <a:cxn ang="0">
                  <a:pos x="130" y="2757"/>
                </a:cxn>
                <a:cxn ang="0">
                  <a:pos x="227" y="2873"/>
                </a:cxn>
                <a:cxn ang="0">
                  <a:pos x="448" y="2941"/>
                </a:cxn>
              </a:cxnLst>
              <a:rect l="0" t="0" r="r" b="b"/>
              <a:pathLst>
                <a:path w="2313" h="5123">
                  <a:moveTo>
                    <a:pt x="495" y="2981"/>
                  </a:moveTo>
                  <a:lnTo>
                    <a:pt x="503" y="2991"/>
                  </a:lnTo>
                  <a:lnTo>
                    <a:pt x="517" y="3006"/>
                  </a:lnTo>
                  <a:lnTo>
                    <a:pt x="524" y="3013"/>
                  </a:lnTo>
                  <a:lnTo>
                    <a:pt x="531" y="3021"/>
                  </a:lnTo>
                  <a:lnTo>
                    <a:pt x="535" y="3027"/>
                  </a:lnTo>
                  <a:lnTo>
                    <a:pt x="536" y="3035"/>
                  </a:lnTo>
                  <a:lnTo>
                    <a:pt x="536" y="3041"/>
                  </a:lnTo>
                  <a:lnTo>
                    <a:pt x="535" y="3045"/>
                  </a:lnTo>
                  <a:lnTo>
                    <a:pt x="533" y="3050"/>
                  </a:lnTo>
                  <a:lnTo>
                    <a:pt x="531" y="3054"/>
                  </a:lnTo>
                  <a:lnTo>
                    <a:pt x="525" y="3063"/>
                  </a:lnTo>
                  <a:lnTo>
                    <a:pt x="519" y="3071"/>
                  </a:lnTo>
                  <a:lnTo>
                    <a:pt x="512" y="3079"/>
                  </a:lnTo>
                  <a:lnTo>
                    <a:pt x="505" y="3087"/>
                  </a:lnTo>
                  <a:lnTo>
                    <a:pt x="504" y="3091"/>
                  </a:lnTo>
                  <a:lnTo>
                    <a:pt x="501" y="3097"/>
                  </a:lnTo>
                  <a:lnTo>
                    <a:pt x="500" y="3102"/>
                  </a:lnTo>
                  <a:lnTo>
                    <a:pt x="500" y="3107"/>
                  </a:lnTo>
                  <a:lnTo>
                    <a:pt x="500" y="3127"/>
                  </a:lnTo>
                  <a:lnTo>
                    <a:pt x="500" y="3142"/>
                  </a:lnTo>
                  <a:lnTo>
                    <a:pt x="500" y="3156"/>
                  </a:lnTo>
                  <a:lnTo>
                    <a:pt x="500" y="3172"/>
                  </a:lnTo>
                  <a:lnTo>
                    <a:pt x="495" y="3175"/>
                  </a:lnTo>
                  <a:lnTo>
                    <a:pt x="489" y="3175"/>
                  </a:lnTo>
                  <a:lnTo>
                    <a:pt x="484" y="3175"/>
                  </a:lnTo>
                  <a:lnTo>
                    <a:pt x="477" y="3175"/>
                  </a:lnTo>
                  <a:lnTo>
                    <a:pt x="463" y="3174"/>
                  </a:lnTo>
                  <a:lnTo>
                    <a:pt x="445" y="3172"/>
                  </a:lnTo>
                  <a:lnTo>
                    <a:pt x="441" y="3174"/>
                  </a:lnTo>
                  <a:lnTo>
                    <a:pt x="437" y="3174"/>
                  </a:lnTo>
                  <a:lnTo>
                    <a:pt x="433" y="3176"/>
                  </a:lnTo>
                  <a:lnTo>
                    <a:pt x="431" y="3178"/>
                  </a:lnTo>
                  <a:lnTo>
                    <a:pt x="428" y="3184"/>
                  </a:lnTo>
                  <a:lnTo>
                    <a:pt x="427" y="3191"/>
                  </a:lnTo>
                  <a:lnTo>
                    <a:pt x="425" y="3199"/>
                  </a:lnTo>
                  <a:lnTo>
                    <a:pt x="424" y="3208"/>
                  </a:lnTo>
                  <a:lnTo>
                    <a:pt x="421" y="3218"/>
                  </a:lnTo>
                  <a:lnTo>
                    <a:pt x="416" y="3227"/>
                  </a:lnTo>
                  <a:lnTo>
                    <a:pt x="409" y="3236"/>
                  </a:lnTo>
                  <a:lnTo>
                    <a:pt x="401" y="3246"/>
                  </a:lnTo>
                  <a:lnTo>
                    <a:pt x="393" y="3252"/>
                  </a:lnTo>
                  <a:lnTo>
                    <a:pt x="384" y="3259"/>
                  </a:lnTo>
                  <a:lnTo>
                    <a:pt x="364" y="3271"/>
                  </a:lnTo>
                  <a:lnTo>
                    <a:pt x="344" y="3283"/>
                  </a:lnTo>
                  <a:lnTo>
                    <a:pt x="335" y="3288"/>
                  </a:lnTo>
                  <a:lnTo>
                    <a:pt x="326" y="3295"/>
                  </a:lnTo>
                  <a:lnTo>
                    <a:pt x="318" y="3302"/>
                  </a:lnTo>
                  <a:lnTo>
                    <a:pt x="310" y="3308"/>
                  </a:lnTo>
                  <a:lnTo>
                    <a:pt x="304" y="3316"/>
                  </a:lnTo>
                  <a:lnTo>
                    <a:pt x="299" y="3326"/>
                  </a:lnTo>
                  <a:lnTo>
                    <a:pt x="296" y="3336"/>
                  </a:lnTo>
                  <a:lnTo>
                    <a:pt x="295" y="3347"/>
                  </a:lnTo>
                  <a:lnTo>
                    <a:pt x="296" y="3355"/>
                  </a:lnTo>
                  <a:lnTo>
                    <a:pt x="298" y="3362"/>
                  </a:lnTo>
                  <a:lnTo>
                    <a:pt x="300" y="3366"/>
                  </a:lnTo>
                  <a:lnTo>
                    <a:pt x="303" y="3371"/>
                  </a:lnTo>
                  <a:lnTo>
                    <a:pt x="311" y="3378"/>
                  </a:lnTo>
                  <a:lnTo>
                    <a:pt x="320" y="3383"/>
                  </a:lnTo>
                  <a:lnTo>
                    <a:pt x="330" y="3388"/>
                  </a:lnTo>
                  <a:lnTo>
                    <a:pt x="339" y="3394"/>
                  </a:lnTo>
                  <a:lnTo>
                    <a:pt x="343" y="3398"/>
                  </a:lnTo>
                  <a:lnTo>
                    <a:pt x="346" y="3403"/>
                  </a:lnTo>
                  <a:lnTo>
                    <a:pt x="348" y="3408"/>
                  </a:lnTo>
                  <a:lnTo>
                    <a:pt x="350" y="3414"/>
                  </a:lnTo>
                  <a:lnTo>
                    <a:pt x="344" y="3418"/>
                  </a:lnTo>
                  <a:lnTo>
                    <a:pt x="338" y="3423"/>
                  </a:lnTo>
                  <a:lnTo>
                    <a:pt x="331" y="3428"/>
                  </a:lnTo>
                  <a:lnTo>
                    <a:pt x="324" y="3436"/>
                  </a:lnTo>
                  <a:lnTo>
                    <a:pt x="318" y="3444"/>
                  </a:lnTo>
                  <a:lnTo>
                    <a:pt x="312" y="3452"/>
                  </a:lnTo>
                  <a:lnTo>
                    <a:pt x="310" y="3460"/>
                  </a:lnTo>
                  <a:lnTo>
                    <a:pt x="308" y="3468"/>
                  </a:lnTo>
                  <a:lnTo>
                    <a:pt x="308" y="3478"/>
                  </a:lnTo>
                  <a:lnTo>
                    <a:pt x="310" y="3486"/>
                  </a:lnTo>
                  <a:lnTo>
                    <a:pt x="312" y="3492"/>
                  </a:lnTo>
                  <a:lnTo>
                    <a:pt x="316" y="3498"/>
                  </a:lnTo>
                  <a:lnTo>
                    <a:pt x="320" y="3502"/>
                  </a:lnTo>
                  <a:lnTo>
                    <a:pt x="326" y="3504"/>
                  </a:lnTo>
                  <a:lnTo>
                    <a:pt x="331" y="3508"/>
                  </a:lnTo>
                  <a:lnTo>
                    <a:pt x="338" y="3510"/>
                  </a:lnTo>
                  <a:lnTo>
                    <a:pt x="350" y="3515"/>
                  </a:lnTo>
                  <a:lnTo>
                    <a:pt x="362" y="3519"/>
                  </a:lnTo>
                  <a:lnTo>
                    <a:pt x="367" y="3522"/>
                  </a:lnTo>
                  <a:lnTo>
                    <a:pt x="372" y="3526"/>
                  </a:lnTo>
                  <a:lnTo>
                    <a:pt x="376" y="3530"/>
                  </a:lnTo>
                  <a:lnTo>
                    <a:pt x="380" y="3535"/>
                  </a:lnTo>
                  <a:lnTo>
                    <a:pt x="385" y="3547"/>
                  </a:lnTo>
                  <a:lnTo>
                    <a:pt x="389" y="3563"/>
                  </a:lnTo>
                  <a:lnTo>
                    <a:pt x="392" y="3580"/>
                  </a:lnTo>
                  <a:lnTo>
                    <a:pt x="392" y="3598"/>
                  </a:lnTo>
                  <a:lnTo>
                    <a:pt x="392" y="3632"/>
                  </a:lnTo>
                  <a:lnTo>
                    <a:pt x="392" y="3660"/>
                  </a:lnTo>
                  <a:lnTo>
                    <a:pt x="395" y="3667"/>
                  </a:lnTo>
                  <a:lnTo>
                    <a:pt x="399" y="3674"/>
                  </a:lnTo>
                  <a:lnTo>
                    <a:pt x="404" y="3679"/>
                  </a:lnTo>
                  <a:lnTo>
                    <a:pt x="411" y="3684"/>
                  </a:lnTo>
                  <a:lnTo>
                    <a:pt x="425" y="3694"/>
                  </a:lnTo>
                  <a:lnTo>
                    <a:pt x="441" y="3703"/>
                  </a:lnTo>
                  <a:lnTo>
                    <a:pt x="449" y="3708"/>
                  </a:lnTo>
                  <a:lnTo>
                    <a:pt x="456" y="3714"/>
                  </a:lnTo>
                  <a:lnTo>
                    <a:pt x="464" y="3720"/>
                  </a:lnTo>
                  <a:lnTo>
                    <a:pt x="469" y="3727"/>
                  </a:lnTo>
                  <a:lnTo>
                    <a:pt x="475" y="3735"/>
                  </a:lnTo>
                  <a:lnTo>
                    <a:pt x="479" y="3743"/>
                  </a:lnTo>
                  <a:lnTo>
                    <a:pt x="481" y="3752"/>
                  </a:lnTo>
                  <a:lnTo>
                    <a:pt x="483" y="3763"/>
                  </a:lnTo>
                  <a:lnTo>
                    <a:pt x="483" y="3768"/>
                  </a:lnTo>
                  <a:lnTo>
                    <a:pt x="485" y="3772"/>
                  </a:lnTo>
                  <a:lnTo>
                    <a:pt x="488" y="3777"/>
                  </a:lnTo>
                  <a:lnTo>
                    <a:pt x="491" y="3781"/>
                  </a:lnTo>
                  <a:lnTo>
                    <a:pt x="495" y="3787"/>
                  </a:lnTo>
                  <a:lnTo>
                    <a:pt x="497" y="3792"/>
                  </a:lnTo>
                  <a:lnTo>
                    <a:pt x="500" y="3799"/>
                  </a:lnTo>
                  <a:lnTo>
                    <a:pt x="500" y="3805"/>
                  </a:lnTo>
                  <a:lnTo>
                    <a:pt x="493" y="3809"/>
                  </a:lnTo>
                  <a:lnTo>
                    <a:pt x="487" y="3813"/>
                  </a:lnTo>
                  <a:lnTo>
                    <a:pt x="481" y="3819"/>
                  </a:lnTo>
                  <a:lnTo>
                    <a:pt x="476" y="3824"/>
                  </a:lnTo>
                  <a:lnTo>
                    <a:pt x="468" y="3836"/>
                  </a:lnTo>
                  <a:lnTo>
                    <a:pt x="461" y="3851"/>
                  </a:lnTo>
                  <a:lnTo>
                    <a:pt x="457" y="3865"/>
                  </a:lnTo>
                  <a:lnTo>
                    <a:pt x="453" y="3883"/>
                  </a:lnTo>
                  <a:lnTo>
                    <a:pt x="451" y="3899"/>
                  </a:lnTo>
                  <a:lnTo>
                    <a:pt x="448" y="3915"/>
                  </a:lnTo>
                  <a:lnTo>
                    <a:pt x="444" y="3931"/>
                  </a:lnTo>
                  <a:lnTo>
                    <a:pt x="441" y="3947"/>
                  </a:lnTo>
                  <a:lnTo>
                    <a:pt x="436" y="3960"/>
                  </a:lnTo>
                  <a:lnTo>
                    <a:pt x="431" y="3973"/>
                  </a:lnTo>
                  <a:lnTo>
                    <a:pt x="427" y="3979"/>
                  </a:lnTo>
                  <a:lnTo>
                    <a:pt x="423" y="3983"/>
                  </a:lnTo>
                  <a:lnTo>
                    <a:pt x="419" y="3988"/>
                  </a:lnTo>
                  <a:lnTo>
                    <a:pt x="413" y="3991"/>
                  </a:lnTo>
                  <a:lnTo>
                    <a:pt x="408" y="3995"/>
                  </a:lnTo>
                  <a:lnTo>
                    <a:pt x="401" y="3996"/>
                  </a:lnTo>
                  <a:lnTo>
                    <a:pt x="393" y="3997"/>
                  </a:lnTo>
                  <a:lnTo>
                    <a:pt x="385" y="3997"/>
                  </a:lnTo>
                  <a:lnTo>
                    <a:pt x="373" y="3997"/>
                  </a:lnTo>
                  <a:lnTo>
                    <a:pt x="364" y="3995"/>
                  </a:lnTo>
                  <a:lnTo>
                    <a:pt x="358" y="3992"/>
                  </a:lnTo>
                  <a:lnTo>
                    <a:pt x="351" y="3989"/>
                  </a:lnTo>
                  <a:lnTo>
                    <a:pt x="344" y="3985"/>
                  </a:lnTo>
                  <a:lnTo>
                    <a:pt x="338" y="3983"/>
                  </a:lnTo>
                  <a:lnTo>
                    <a:pt x="330" y="3980"/>
                  </a:lnTo>
                  <a:lnTo>
                    <a:pt x="320" y="3980"/>
                  </a:lnTo>
                  <a:lnTo>
                    <a:pt x="316" y="3980"/>
                  </a:lnTo>
                  <a:lnTo>
                    <a:pt x="314" y="3981"/>
                  </a:lnTo>
                  <a:lnTo>
                    <a:pt x="311" y="3984"/>
                  </a:lnTo>
                  <a:lnTo>
                    <a:pt x="310" y="3987"/>
                  </a:lnTo>
                  <a:lnTo>
                    <a:pt x="306" y="3993"/>
                  </a:lnTo>
                  <a:lnTo>
                    <a:pt x="303" y="4003"/>
                  </a:lnTo>
                  <a:lnTo>
                    <a:pt x="299" y="4020"/>
                  </a:lnTo>
                  <a:lnTo>
                    <a:pt x="295" y="4035"/>
                  </a:lnTo>
                  <a:lnTo>
                    <a:pt x="291" y="4043"/>
                  </a:lnTo>
                  <a:lnTo>
                    <a:pt x="287" y="4051"/>
                  </a:lnTo>
                  <a:lnTo>
                    <a:pt x="280" y="4057"/>
                  </a:lnTo>
                  <a:lnTo>
                    <a:pt x="274" y="4064"/>
                  </a:lnTo>
                  <a:lnTo>
                    <a:pt x="259" y="4075"/>
                  </a:lnTo>
                  <a:lnTo>
                    <a:pt x="244" y="4085"/>
                  </a:lnTo>
                  <a:lnTo>
                    <a:pt x="230" y="4096"/>
                  </a:lnTo>
                  <a:lnTo>
                    <a:pt x="216" y="4107"/>
                  </a:lnTo>
                  <a:lnTo>
                    <a:pt x="212" y="4113"/>
                  </a:lnTo>
                  <a:lnTo>
                    <a:pt x="208" y="4120"/>
                  </a:lnTo>
                  <a:lnTo>
                    <a:pt x="206" y="4128"/>
                  </a:lnTo>
                  <a:lnTo>
                    <a:pt x="206" y="4136"/>
                  </a:lnTo>
                  <a:lnTo>
                    <a:pt x="206" y="4141"/>
                  </a:lnTo>
                  <a:lnTo>
                    <a:pt x="208" y="4147"/>
                  </a:lnTo>
                  <a:lnTo>
                    <a:pt x="211" y="4151"/>
                  </a:lnTo>
                  <a:lnTo>
                    <a:pt x="215" y="4155"/>
                  </a:lnTo>
                  <a:lnTo>
                    <a:pt x="224" y="4161"/>
                  </a:lnTo>
                  <a:lnTo>
                    <a:pt x="235" y="4169"/>
                  </a:lnTo>
                  <a:lnTo>
                    <a:pt x="247" y="4177"/>
                  </a:lnTo>
                  <a:lnTo>
                    <a:pt x="256" y="4187"/>
                  </a:lnTo>
                  <a:lnTo>
                    <a:pt x="260" y="4192"/>
                  </a:lnTo>
                  <a:lnTo>
                    <a:pt x="263" y="4199"/>
                  </a:lnTo>
                  <a:lnTo>
                    <a:pt x="264" y="4207"/>
                  </a:lnTo>
                  <a:lnTo>
                    <a:pt x="266" y="4215"/>
                  </a:lnTo>
                  <a:lnTo>
                    <a:pt x="264" y="4228"/>
                  </a:lnTo>
                  <a:lnTo>
                    <a:pt x="263" y="4236"/>
                  </a:lnTo>
                  <a:lnTo>
                    <a:pt x="262" y="4240"/>
                  </a:lnTo>
                  <a:lnTo>
                    <a:pt x="260" y="4241"/>
                  </a:lnTo>
                  <a:lnTo>
                    <a:pt x="258" y="4243"/>
                  </a:lnTo>
                  <a:lnTo>
                    <a:pt x="255" y="4244"/>
                  </a:lnTo>
                  <a:lnTo>
                    <a:pt x="240" y="4247"/>
                  </a:lnTo>
                  <a:lnTo>
                    <a:pt x="218" y="4251"/>
                  </a:lnTo>
                  <a:lnTo>
                    <a:pt x="210" y="4255"/>
                  </a:lnTo>
                  <a:lnTo>
                    <a:pt x="202" y="4260"/>
                  </a:lnTo>
                  <a:lnTo>
                    <a:pt x="195" y="4265"/>
                  </a:lnTo>
                  <a:lnTo>
                    <a:pt x="187" y="4272"/>
                  </a:lnTo>
                  <a:lnTo>
                    <a:pt x="180" y="4280"/>
                  </a:lnTo>
                  <a:lnTo>
                    <a:pt x="174" y="4288"/>
                  </a:lnTo>
                  <a:lnTo>
                    <a:pt x="168" y="4297"/>
                  </a:lnTo>
                  <a:lnTo>
                    <a:pt x="163" y="4307"/>
                  </a:lnTo>
                  <a:lnTo>
                    <a:pt x="152" y="4326"/>
                  </a:lnTo>
                  <a:lnTo>
                    <a:pt x="146" y="4348"/>
                  </a:lnTo>
                  <a:lnTo>
                    <a:pt x="143" y="4358"/>
                  </a:lnTo>
                  <a:lnTo>
                    <a:pt x="140" y="4369"/>
                  </a:lnTo>
                  <a:lnTo>
                    <a:pt x="139" y="4378"/>
                  </a:lnTo>
                  <a:lnTo>
                    <a:pt x="139" y="4389"/>
                  </a:lnTo>
                  <a:lnTo>
                    <a:pt x="140" y="4412"/>
                  </a:lnTo>
                  <a:lnTo>
                    <a:pt x="142" y="4433"/>
                  </a:lnTo>
                  <a:lnTo>
                    <a:pt x="146" y="4452"/>
                  </a:lnTo>
                  <a:lnTo>
                    <a:pt x="150" y="4468"/>
                  </a:lnTo>
                  <a:lnTo>
                    <a:pt x="156" y="4484"/>
                  </a:lnTo>
                  <a:lnTo>
                    <a:pt x="162" y="4498"/>
                  </a:lnTo>
                  <a:lnTo>
                    <a:pt x="170" y="4512"/>
                  </a:lnTo>
                  <a:lnTo>
                    <a:pt x="178" y="4525"/>
                  </a:lnTo>
                  <a:lnTo>
                    <a:pt x="195" y="4549"/>
                  </a:lnTo>
                  <a:lnTo>
                    <a:pt x="212" y="4572"/>
                  </a:lnTo>
                  <a:lnTo>
                    <a:pt x="231" y="4597"/>
                  </a:lnTo>
                  <a:lnTo>
                    <a:pt x="247" y="4624"/>
                  </a:lnTo>
                  <a:lnTo>
                    <a:pt x="251" y="4630"/>
                  </a:lnTo>
                  <a:lnTo>
                    <a:pt x="256" y="4636"/>
                  </a:lnTo>
                  <a:lnTo>
                    <a:pt x="263" y="4641"/>
                  </a:lnTo>
                  <a:lnTo>
                    <a:pt x="270" y="4645"/>
                  </a:lnTo>
                  <a:lnTo>
                    <a:pt x="284" y="4652"/>
                  </a:lnTo>
                  <a:lnTo>
                    <a:pt x="299" y="4658"/>
                  </a:lnTo>
                  <a:lnTo>
                    <a:pt x="314" y="4666"/>
                  </a:lnTo>
                  <a:lnTo>
                    <a:pt x="326" y="4674"/>
                  </a:lnTo>
                  <a:lnTo>
                    <a:pt x="331" y="4681"/>
                  </a:lnTo>
                  <a:lnTo>
                    <a:pt x="335" y="4686"/>
                  </a:lnTo>
                  <a:lnTo>
                    <a:pt x="338" y="4694"/>
                  </a:lnTo>
                  <a:lnTo>
                    <a:pt x="338" y="4702"/>
                  </a:lnTo>
                  <a:lnTo>
                    <a:pt x="338" y="4717"/>
                  </a:lnTo>
                  <a:lnTo>
                    <a:pt x="338" y="4730"/>
                  </a:lnTo>
                  <a:lnTo>
                    <a:pt x="338" y="4741"/>
                  </a:lnTo>
                  <a:lnTo>
                    <a:pt x="338" y="4745"/>
                  </a:lnTo>
                  <a:lnTo>
                    <a:pt x="338" y="4750"/>
                  </a:lnTo>
                  <a:lnTo>
                    <a:pt x="339" y="4756"/>
                  </a:lnTo>
                  <a:lnTo>
                    <a:pt x="342" y="4760"/>
                  </a:lnTo>
                  <a:lnTo>
                    <a:pt x="343" y="4765"/>
                  </a:lnTo>
                  <a:lnTo>
                    <a:pt x="350" y="4774"/>
                  </a:lnTo>
                  <a:lnTo>
                    <a:pt x="356" y="4782"/>
                  </a:lnTo>
                  <a:lnTo>
                    <a:pt x="363" y="4793"/>
                  </a:lnTo>
                  <a:lnTo>
                    <a:pt x="368" y="4805"/>
                  </a:lnTo>
                  <a:lnTo>
                    <a:pt x="371" y="4812"/>
                  </a:lnTo>
                  <a:lnTo>
                    <a:pt x="372" y="4818"/>
                  </a:lnTo>
                  <a:lnTo>
                    <a:pt x="373" y="4826"/>
                  </a:lnTo>
                  <a:lnTo>
                    <a:pt x="373" y="4834"/>
                  </a:lnTo>
                  <a:lnTo>
                    <a:pt x="404" y="4834"/>
                  </a:lnTo>
                  <a:lnTo>
                    <a:pt x="416" y="4826"/>
                  </a:lnTo>
                  <a:lnTo>
                    <a:pt x="431" y="4813"/>
                  </a:lnTo>
                  <a:lnTo>
                    <a:pt x="445" y="4798"/>
                  </a:lnTo>
                  <a:lnTo>
                    <a:pt x="460" y="4782"/>
                  </a:lnTo>
                  <a:lnTo>
                    <a:pt x="475" y="4769"/>
                  </a:lnTo>
                  <a:lnTo>
                    <a:pt x="489" y="4756"/>
                  </a:lnTo>
                  <a:lnTo>
                    <a:pt x="496" y="4752"/>
                  </a:lnTo>
                  <a:lnTo>
                    <a:pt x="501" y="4748"/>
                  </a:lnTo>
                  <a:lnTo>
                    <a:pt x="507" y="4745"/>
                  </a:lnTo>
                  <a:lnTo>
                    <a:pt x="512" y="4745"/>
                  </a:lnTo>
                  <a:lnTo>
                    <a:pt x="528" y="4745"/>
                  </a:lnTo>
                  <a:lnTo>
                    <a:pt x="545" y="4749"/>
                  </a:lnTo>
                  <a:lnTo>
                    <a:pt x="564" y="4753"/>
                  </a:lnTo>
                  <a:lnTo>
                    <a:pt x="583" y="4760"/>
                  </a:lnTo>
                  <a:lnTo>
                    <a:pt x="601" y="4769"/>
                  </a:lnTo>
                  <a:lnTo>
                    <a:pt x="620" y="4778"/>
                  </a:lnTo>
                  <a:lnTo>
                    <a:pt x="637" y="4789"/>
                  </a:lnTo>
                  <a:lnTo>
                    <a:pt x="655" y="4802"/>
                  </a:lnTo>
                  <a:lnTo>
                    <a:pt x="672" y="4816"/>
                  </a:lnTo>
                  <a:lnTo>
                    <a:pt x="687" y="4830"/>
                  </a:lnTo>
                  <a:lnTo>
                    <a:pt x="700" y="4845"/>
                  </a:lnTo>
                  <a:lnTo>
                    <a:pt x="712" y="4861"/>
                  </a:lnTo>
                  <a:lnTo>
                    <a:pt x="721" y="4878"/>
                  </a:lnTo>
                  <a:lnTo>
                    <a:pt x="729" y="4896"/>
                  </a:lnTo>
                  <a:lnTo>
                    <a:pt x="732" y="4905"/>
                  </a:lnTo>
                  <a:lnTo>
                    <a:pt x="733" y="4913"/>
                  </a:lnTo>
                  <a:lnTo>
                    <a:pt x="735" y="4922"/>
                  </a:lnTo>
                  <a:lnTo>
                    <a:pt x="735" y="4931"/>
                  </a:lnTo>
                  <a:lnTo>
                    <a:pt x="735" y="4939"/>
                  </a:lnTo>
                  <a:lnTo>
                    <a:pt x="731" y="4947"/>
                  </a:lnTo>
                  <a:lnTo>
                    <a:pt x="728" y="4954"/>
                  </a:lnTo>
                  <a:lnTo>
                    <a:pt x="723" y="4962"/>
                  </a:lnTo>
                  <a:lnTo>
                    <a:pt x="719" y="4970"/>
                  </a:lnTo>
                  <a:lnTo>
                    <a:pt x="715" y="4978"/>
                  </a:lnTo>
                  <a:lnTo>
                    <a:pt x="712" y="4987"/>
                  </a:lnTo>
                  <a:lnTo>
                    <a:pt x="711" y="4997"/>
                  </a:lnTo>
                  <a:lnTo>
                    <a:pt x="712" y="5014"/>
                  </a:lnTo>
                  <a:lnTo>
                    <a:pt x="715" y="5029"/>
                  </a:lnTo>
                  <a:lnTo>
                    <a:pt x="716" y="5035"/>
                  </a:lnTo>
                  <a:lnTo>
                    <a:pt x="719" y="5041"/>
                  </a:lnTo>
                  <a:lnTo>
                    <a:pt x="721" y="5047"/>
                  </a:lnTo>
                  <a:lnTo>
                    <a:pt x="725" y="5051"/>
                  </a:lnTo>
                  <a:lnTo>
                    <a:pt x="729" y="5055"/>
                  </a:lnTo>
                  <a:lnTo>
                    <a:pt x="733" y="5059"/>
                  </a:lnTo>
                  <a:lnTo>
                    <a:pt x="739" y="5062"/>
                  </a:lnTo>
                  <a:lnTo>
                    <a:pt x="744" y="5065"/>
                  </a:lnTo>
                  <a:lnTo>
                    <a:pt x="756" y="5069"/>
                  </a:lnTo>
                  <a:lnTo>
                    <a:pt x="771" y="5070"/>
                  </a:lnTo>
                  <a:lnTo>
                    <a:pt x="780" y="5069"/>
                  </a:lnTo>
                  <a:lnTo>
                    <a:pt x="787" y="5067"/>
                  </a:lnTo>
                  <a:lnTo>
                    <a:pt x="793" y="5066"/>
                  </a:lnTo>
                  <a:lnTo>
                    <a:pt x="797" y="5063"/>
                  </a:lnTo>
                  <a:lnTo>
                    <a:pt x="805" y="5057"/>
                  </a:lnTo>
                  <a:lnTo>
                    <a:pt x="812" y="5049"/>
                  </a:lnTo>
                  <a:lnTo>
                    <a:pt x="817" y="5041"/>
                  </a:lnTo>
                  <a:lnTo>
                    <a:pt x="824" y="5034"/>
                  </a:lnTo>
                  <a:lnTo>
                    <a:pt x="828" y="5031"/>
                  </a:lnTo>
                  <a:lnTo>
                    <a:pt x="832" y="5029"/>
                  </a:lnTo>
                  <a:lnTo>
                    <a:pt x="837" y="5027"/>
                  </a:lnTo>
                  <a:lnTo>
                    <a:pt x="844" y="5027"/>
                  </a:lnTo>
                  <a:lnTo>
                    <a:pt x="853" y="5027"/>
                  </a:lnTo>
                  <a:lnTo>
                    <a:pt x="863" y="5029"/>
                  </a:lnTo>
                  <a:lnTo>
                    <a:pt x="869" y="5031"/>
                  </a:lnTo>
                  <a:lnTo>
                    <a:pt x="876" y="5034"/>
                  </a:lnTo>
                  <a:lnTo>
                    <a:pt x="883" y="5035"/>
                  </a:lnTo>
                  <a:lnTo>
                    <a:pt x="888" y="5038"/>
                  </a:lnTo>
                  <a:lnTo>
                    <a:pt x="896" y="5039"/>
                  </a:lnTo>
                  <a:lnTo>
                    <a:pt x="904" y="5039"/>
                  </a:lnTo>
                  <a:lnTo>
                    <a:pt x="923" y="5039"/>
                  </a:lnTo>
                  <a:lnTo>
                    <a:pt x="936" y="5039"/>
                  </a:lnTo>
                  <a:lnTo>
                    <a:pt x="947" y="5039"/>
                  </a:lnTo>
                  <a:lnTo>
                    <a:pt x="957" y="5039"/>
                  </a:lnTo>
                  <a:lnTo>
                    <a:pt x="964" y="5041"/>
                  </a:lnTo>
                  <a:lnTo>
                    <a:pt x="969" y="5042"/>
                  </a:lnTo>
                  <a:lnTo>
                    <a:pt x="975" y="5046"/>
                  </a:lnTo>
                  <a:lnTo>
                    <a:pt x="979" y="5050"/>
                  </a:lnTo>
                  <a:lnTo>
                    <a:pt x="985" y="5061"/>
                  </a:lnTo>
                  <a:lnTo>
                    <a:pt x="992" y="5074"/>
                  </a:lnTo>
                  <a:lnTo>
                    <a:pt x="999" y="5087"/>
                  </a:lnTo>
                  <a:lnTo>
                    <a:pt x="1007" y="5101"/>
                  </a:lnTo>
                  <a:lnTo>
                    <a:pt x="1011" y="5106"/>
                  </a:lnTo>
                  <a:lnTo>
                    <a:pt x="1016" y="5111"/>
                  </a:lnTo>
                  <a:lnTo>
                    <a:pt x="1023" y="5115"/>
                  </a:lnTo>
                  <a:lnTo>
                    <a:pt x="1031" y="5118"/>
                  </a:lnTo>
                  <a:lnTo>
                    <a:pt x="1031" y="5123"/>
                  </a:lnTo>
                  <a:lnTo>
                    <a:pt x="1072" y="5091"/>
                  </a:lnTo>
                  <a:lnTo>
                    <a:pt x="1120" y="5055"/>
                  </a:lnTo>
                  <a:lnTo>
                    <a:pt x="1145" y="5035"/>
                  </a:lnTo>
                  <a:lnTo>
                    <a:pt x="1172" y="5014"/>
                  </a:lnTo>
                  <a:lnTo>
                    <a:pt x="1197" y="4989"/>
                  </a:lnTo>
                  <a:lnTo>
                    <a:pt x="1222" y="4961"/>
                  </a:lnTo>
                  <a:lnTo>
                    <a:pt x="1218" y="4958"/>
                  </a:lnTo>
                  <a:lnTo>
                    <a:pt x="1209" y="4947"/>
                  </a:lnTo>
                  <a:lnTo>
                    <a:pt x="1196" y="4931"/>
                  </a:lnTo>
                  <a:lnTo>
                    <a:pt x="1181" y="4913"/>
                  </a:lnTo>
                  <a:lnTo>
                    <a:pt x="1174" y="4902"/>
                  </a:lnTo>
                  <a:lnTo>
                    <a:pt x="1168" y="4890"/>
                  </a:lnTo>
                  <a:lnTo>
                    <a:pt x="1164" y="4880"/>
                  </a:lnTo>
                  <a:lnTo>
                    <a:pt x="1160" y="4868"/>
                  </a:lnTo>
                  <a:lnTo>
                    <a:pt x="1157" y="4856"/>
                  </a:lnTo>
                  <a:lnTo>
                    <a:pt x="1157" y="4845"/>
                  </a:lnTo>
                  <a:lnTo>
                    <a:pt x="1158" y="4833"/>
                  </a:lnTo>
                  <a:lnTo>
                    <a:pt x="1162" y="4822"/>
                  </a:lnTo>
                  <a:lnTo>
                    <a:pt x="1172" y="4810"/>
                  </a:lnTo>
                  <a:lnTo>
                    <a:pt x="1184" y="4800"/>
                  </a:lnTo>
                  <a:lnTo>
                    <a:pt x="1197" y="4788"/>
                  </a:lnTo>
                  <a:lnTo>
                    <a:pt x="1213" y="4777"/>
                  </a:lnTo>
                  <a:lnTo>
                    <a:pt x="1249" y="4756"/>
                  </a:lnTo>
                  <a:lnTo>
                    <a:pt x="1289" y="4733"/>
                  </a:lnTo>
                  <a:lnTo>
                    <a:pt x="1332" y="4710"/>
                  </a:lnTo>
                  <a:lnTo>
                    <a:pt x="1374" y="4686"/>
                  </a:lnTo>
                  <a:lnTo>
                    <a:pt x="1394" y="4673"/>
                  </a:lnTo>
                  <a:lnTo>
                    <a:pt x="1414" y="4660"/>
                  </a:lnTo>
                  <a:lnTo>
                    <a:pt x="1434" y="4645"/>
                  </a:lnTo>
                  <a:lnTo>
                    <a:pt x="1452" y="4630"/>
                  </a:lnTo>
                  <a:lnTo>
                    <a:pt x="1456" y="4632"/>
                  </a:lnTo>
                  <a:lnTo>
                    <a:pt x="1460" y="4633"/>
                  </a:lnTo>
                  <a:lnTo>
                    <a:pt x="1462" y="4636"/>
                  </a:lnTo>
                  <a:lnTo>
                    <a:pt x="1465" y="4640"/>
                  </a:lnTo>
                  <a:lnTo>
                    <a:pt x="1466" y="4650"/>
                  </a:lnTo>
                  <a:lnTo>
                    <a:pt x="1466" y="4662"/>
                  </a:lnTo>
                  <a:lnTo>
                    <a:pt x="1461" y="4692"/>
                  </a:lnTo>
                  <a:lnTo>
                    <a:pt x="1453" y="4724"/>
                  </a:lnTo>
                  <a:lnTo>
                    <a:pt x="1449" y="4738"/>
                  </a:lnTo>
                  <a:lnTo>
                    <a:pt x="1446" y="4753"/>
                  </a:lnTo>
                  <a:lnTo>
                    <a:pt x="1445" y="4766"/>
                  </a:lnTo>
                  <a:lnTo>
                    <a:pt x="1446" y="4776"/>
                  </a:lnTo>
                  <a:lnTo>
                    <a:pt x="1448" y="4780"/>
                  </a:lnTo>
                  <a:lnTo>
                    <a:pt x="1450" y="4784"/>
                  </a:lnTo>
                  <a:lnTo>
                    <a:pt x="1453" y="4785"/>
                  </a:lnTo>
                  <a:lnTo>
                    <a:pt x="1457" y="4786"/>
                  </a:lnTo>
                  <a:lnTo>
                    <a:pt x="1461" y="4786"/>
                  </a:lnTo>
                  <a:lnTo>
                    <a:pt x="1468" y="4786"/>
                  </a:lnTo>
                  <a:lnTo>
                    <a:pt x="1474" y="4784"/>
                  </a:lnTo>
                  <a:lnTo>
                    <a:pt x="1482" y="4781"/>
                  </a:lnTo>
                  <a:lnTo>
                    <a:pt x="1490" y="4760"/>
                  </a:lnTo>
                  <a:lnTo>
                    <a:pt x="1500" y="4740"/>
                  </a:lnTo>
                  <a:lnTo>
                    <a:pt x="1510" y="4722"/>
                  </a:lnTo>
                  <a:lnTo>
                    <a:pt x="1521" y="4705"/>
                  </a:lnTo>
                  <a:lnTo>
                    <a:pt x="1542" y="4674"/>
                  </a:lnTo>
                  <a:lnTo>
                    <a:pt x="1564" y="4646"/>
                  </a:lnTo>
                  <a:lnTo>
                    <a:pt x="1572" y="4632"/>
                  </a:lnTo>
                  <a:lnTo>
                    <a:pt x="1580" y="4616"/>
                  </a:lnTo>
                  <a:lnTo>
                    <a:pt x="1586" y="4601"/>
                  </a:lnTo>
                  <a:lnTo>
                    <a:pt x="1592" y="4584"/>
                  </a:lnTo>
                  <a:lnTo>
                    <a:pt x="1594" y="4565"/>
                  </a:lnTo>
                  <a:lnTo>
                    <a:pt x="1596" y="4545"/>
                  </a:lnTo>
                  <a:lnTo>
                    <a:pt x="1594" y="4522"/>
                  </a:lnTo>
                  <a:lnTo>
                    <a:pt x="1590" y="4497"/>
                  </a:lnTo>
                  <a:lnTo>
                    <a:pt x="1626" y="4449"/>
                  </a:lnTo>
                  <a:lnTo>
                    <a:pt x="1660" y="4405"/>
                  </a:lnTo>
                  <a:lnTo>
                    <a:pt x="1668" y="4394"/>
                  </a:lnTo>
                  <a:lnTo>
                    <a:pt x="1674" y="4382"/>
                  </a:lnTo>
                  <a:lnTo>
                    <a:pt x="1681" y="4370"/>
                  </a:lnTo>
                  <a:lnTo>
                    <a:pt x="1686" y="4358"/>
                  </a:lnTo>
                  <a:lnTo>
                    <a:pt x="1690" y="4345"/>
                  </a:lnTo>
                  <a:lnTo>
                    <a:pt x="1694" y="4330"/>
                  </a:lnTo>
                  <a:lnTo>
                    <a:pt x="1697" y="4316"/>
                  </a:lnTo>
                  <a:lnTo>
                    <a:pt x="1698" y="4299"/>
                  </a:lnTo>
                  <a:lnTo>
                    <a:pt x="1698" y="4295"/>
                  </a:lnTo>
                  <a:lnTo>
                    <a:pt x="1697" y="4291"/>
                  </a:lnTo>
                  <a:lnTo>
                    <a:pt x="1696" y="4288"/>
                  </a:lnTo>
                  <a:lnTo>
                    <a:pt x="1693" y="4288"/>
                  </a:lnTo>
                  <a:lnTo>
                    <a:pt x="1690" y="4288"/>
                  </a:lnTo>
                  <a:lnTo>
                    <a:pt x="1686" y="4289"/>
                  </a:lnTo>
                  <a:lnTo>
                    <a:pt x="1682" y="4292"/>
                  </a:lnTo>
                  <a:lnTo>
                    <a:pt x="1677" y="4295"/>
                  </a:lnTo>
                  <a:lnTo>
                    <a:pt x="1656" y="4313"/>
                  </a:lnTo>
                  <a:lnTo>
                    <a:pt x="1629" y="4340"/>
                  </a:lnTo>
                  <a:lnTo>
                    <a:pt x="1614" y="4353"/>
                  </a:lnTo>
                  <a:lnTo>
                    <a:pt x="1601" y="4366"/>
                  </a:lnTo>
                  <a:lnTo>
                    <a:pt x="1588" y="4377"/>
                  </a:lnTo>
                  <a:lnTo>
                    <a:pt x="1574" y="4386"/>
                  </a:lnTo>
                  <a:lnTo>
                    <a:pt x="1568" y="4390"/>
                  </a:lnTo>
                  <a:lnTo>
                    <a:pt x="1562" y="4393"/>
                  </a:lnTo>
                  <a:lnTo>
                    <a:pt x="1557" y="4396"/>
                  </a:lnTo>
                  <a:lnTo>
                    <a:pt x="1552" y="4397"/>
                  </a:lnTo>
                  <a:lnTo>
                    <a:pt x="1546" y="4397"/>
                  </a:lnTo>
                  <a:lnTo>
                    <a:pt x="1542" y="4396"/>
                  </a:lnTo>
                  <a:lnTo>
                    <a:pt x="1540" y="4393"/>
                  </a:lnTo>
                  <a:lnTo>
                    <a:pt x="1536" y="4389"/>
                  </a:lnTo>
                  <a:lnTo>
                    <a:pt x="1526" y="4368"/>
                  </a:lnTo>
                  <a:lnTo>
                    <a:pt x="1517" y="4342"/>
                  </a:lnTo>
                  <a:lnTo>
                    <a:pt x="1508" y="4313"/>
                  </a:lnTo>
                  <a:lnTo>
                    <a:pt x="1500" y="4279"/>
                  </a:lnTo>
                  <a:lnTo>
                    <a:pt x="1485" y="4205"/>
                  </a:lnTo>
                  <a:lnTo>
                    <a:pt x="1470" y="4125"/>
                  </a:lnTo>
                  <a:lnTo>
                    <a:pt x="1454" y="4049"/>
                  </a:lnTo>
                  <a:lnTo>
                    <a:pt x="1440" y="3980"/>
                  </a:lnTo>
                  <a:lnTo>
                    <a:pt x="1432" y="3949"/>
                  </a:lnTo>
                  <a:lnTo>
                    <a:pt x="1422" y="3924"/>
                  </a:lnTo>
                  <a:lnTo>
                    <a:pt x="1418" y="3913"/>
                  </a:lnTo>
                  <a:lnTo>
                    <a:pt x="1413" y="3904"/>
                  </a:lnTo>
                  <a:lnTo>
                    <a:pt x="1409" y="3896"/>
                  </a:lnTo>
                  <a:lnTo>
                    <a:pt x="1404" y="3889"/>
                  </a:lnTo>
                  <a:lnTo>
                    <a:pt x="1394" y="3881"/>
                  </a:lnTo>
                  <a:lnTo>
                    <a:pt x="1388" y="3872"/>
                  </a:lnTo>
                  <a:lnTo>
                    <a:pt x="1381" y="3863"/>
                  </a:lnTo>
                  <a:lnTo>
                    <a:pt x="1376" y="3853"/>
                  </a:lnTo>
                  <a:lnTo>
                    <a:pt x="1372" y="3844"/>
                  </a:lnTo>
                  <a:lnTo>
                    <a:pt x="1369" y="3835"/>
                  </a:lnTo>
                  <a:lnTo>
                    <a:pt x="1366" y="3825"/>
                  </a:lnTo>
                  <a:lnTo>
                    <a:pt x="1364" y="3816"/>
                  </a:lnTo>
                  <a:lnTo>
                    <a:pt x="1364" y="3805"/>
                  </a:lnTo>
                  <a:lnTo>
                    <a:pt x="1364" y="3796"/>
                  </a:lnTo>
                  <a:lnTo>
                    <a:pt x="1364" y="3785"/>
                  </a:lnTo>
                  <a:lnTo>
                    <a:pt x="1365" y="3775"/>
                  </a:lnTo>
                  <a:lnTo>
                    <a:pt x="1369" y="3753"/>
                  </a:lnTo>
                  <a:lnTo>
                    <a:pt x="1374" y="3732"/>
                  </a:lnTo>
                  <a:lnTo>
                    <a:pt x="1390" y="3688"/>
                  </a:lnTo>
                  <a:lnTo>
                    <a:pt x="1410" y="3643"/>
                  </a:lnTo>
                  <a:lnTo>
                    <a:pt x="1420" y="3620"/>
                  </a:lnTo>
                  <a:lnTo>
                    <a:pt x="1429" y="3598"/>
                  </a:lnTo>
                  <a:lnTo>
                    <a:pt x="1438" y="3575"/>
                  </a:lnTo>
                  <a:lnTo>
                    <a:pt x="1445" y="3552"/>
                  </a:lnTo>
                  <a:lnTo>
                    <a:pt x="1456" y="3555"/>
                  </a:lnTo>
                  <a:lnTo>
                    <a:pt x="1466" y="3556"/>
                  </a:lnTo>
                  <a:lnTo>
                    <a:pt x="1474" y="3558"/>
                  </a:lnTo>
                  <a:lnTo>
                    <a:pt x="1482" y="3558"/>
                  </a:lnTo>
                  <a:lnTo>
                    <a:pt x="1489" y="3556"/>
                  </a:lnTo>
                  <a:lnTo>
                    <a:pt x="1494" y="3554"/>
                  </a:lnTo>
                  <a:lnTo>
                    <a:pt x="1500" y="3551"/>
                  </a:lnTo>
                  <a:lnTo>
                    <a:pt x="1504" y="3547"/>
                  </a:lnTo>
                  <a:lnTo>
                    <a:pt x="1508" y="3543"/>
                  </a:lnTo>
                  <a:lnTo>
                    <a:pt x="1510" y="3538"/>
                  </a:lnTo>
                  <a:lnTo>
                    <a:pt x="1512" y="3534"/>
                  </a:lnTo>
                  <a:lnTo>
                    <a:pt x="1514" y="3527"/>
                  </a:lnTo>
                  <a:lnTo>
                    <a:pt x="1516" y="3515"/>
                  </a:lnTo>
                  <a:lnTo>
                    <a:pt x="1517" y="3502"/>
                  </a:lnTo>
                  <a:lnTo>
                    <a:pt x="1516" y="3476"/>
                  </a:lnTo>
                  <a:lnTo>
                    <a:pt x="1513" y="3454"/>
                  </a:lnTo>
                  <a:lnTo>
                    <a:pt x="1513" y="3444"/>
                  </a:lnTo>
                  <a:lnTo>
                    <a:pt x="1516" y="3439"/>
                  </a:lnTo>
                  <a:lnTo>
                    <a:pt x="1517" y="3438"/>
                  </a:lnTo>
                  <a:lnTo>
                    <a:pt x="1518" y="3436"/>
                  </a:lnTo>
                  <a:lnTo>
                    <a:pt x="1521" y="3436"/>
                  </a:lnTo>
                  <a:lnTo>
                    <a:pt x="1524" y="3438"/>
                  </a:lnTo>
                  <a:lnTo>
                    <a:pt x="1532" y="3446"/>
                  </a:lnTo>
                  <a:lnTo>
                    <a:pt x="1541" y="3456"/>
                  </a:lnTo>
                  <a:lnTo>
                    <a:pt x="1550" y="3470"/>
                  </a:lnTo>
                  <a:lnTo>
                    <a:pt x="1560" y="3486"/>
                  </a:lnTo>
                  <a:lnTo>
                    <a:pt x="1580" y="3520"/>
                  </a:lnTo>
                  <a:lnTo>
                    <a:pt x="1601" y="3556"/>
                  </a:lnTo>
                  <a:lnTo>
                    <a:pt x="1610" y="3574"/>
                  </a:lnTo>
                  <a:lnTo>
                    <a:pt x="1621" y="3590"/>
                  </a:lnTo>
                  <a:lnTo>
                    <a:pt x="1630" y="3602"/>
                  </a:lnTo>
                  <a:lnTo>
                    <a:pt x="1640" y="3612"/>
                  </a:lnTo>
                  <a:lnTo>
                    <a:pt x="1644" y="3616"/>
                  </a:lnTo>
                  <a:lnTo>
                    <a:pt x="1648" y="3619"/>
                  </a:lnTo>
                  <a:lnTo>
                    <a:pt x="1652" y="3622"/>
                  </a:lnTo>
                  <a:lnTo>
                    <a:pt x="1656" y="3622"/>
                  </a:lnTo>
                  <a:lnTo>
                    <a:pt x="1658" y="3622"/>
                  </a:lnTo>
                  <a:lnTo>
                    <a:pt x="1662" y="3620"/>
                  </a:lnTo>
                  <a:lnTo>
                    <a:pt x="1665" y="3618"/>
                  </a:lnTo>
                  <a:lnTo>
                    <a:pt x="1669" y="3612"/>
                  </a:lnTo>
                  <a:lnTo>
                    <a:pt x="1678" y="3594"/>
                  </a:lnTo>
                  <a:lnTo>
                    <a:pt x="1688" y="3582"/>
                  </a:lnTo>
                  <a:lnTo>
                    <a:pt x="1692" y="3578"/>
                  </a:lnTo>
                  <a:lnTo>
                    <a:pt x="1696" y="3574"/>
                  </a:lnTo>
                  <a:lnTo>
                    <a:pt x="1700" y="3572"/>
                  </a:lnTo>
                  <a:lnTo>
                    <a:pt x="1704" y="3571"/>
                  </a:lnTo>
                  <a:lnTo>
                    <a:pt x="1706" y="3571"/>
                  </a:lnTo>
                  <a:lnTo>
                    <a:pt x="1710" y="3571"/>
                  </a:lnTo>
                  <a:lnTo>
                    <a:pt x="1714" y="3572"/>
                  </a:lnTo>
                  <a:lnTo>
                    <a:pt x="1717" y="3575"/>
                  </a:lnTo>
                  <a:lnTo>
                    <a:pt x="1724" y="3580"/>
                  </a:lnTo>
                  <a:lnTo>
                    <a:pt x="1730" y="3588"/>
                  </a:lnTo>
                  <a:lnTo>
                    <a:pt x="1742" y="3606"/>
                  </a:lnTo>
                  <a:lnTo>
                    <a:pt x="1754" y="3622"/>
                  </a:lnTo>
                  <a:lnTo>
                    <a:pt x="1761" y="3628"/>
                  </a:lnTo>
                  <a:lnTo>
                    <a:pt x="1768" y="3632"/>
                  </a:lnTo>
                  <a:lnTo>
                    <a:pt x="1772" y="3634"/>
                  </a:lnTo>
                  <a:lnTo>
                    <a:pt x="1776" y="3634"/>
                  </a:lnTo>
                  <a:lnTo>
                    <a:pt x="1780" y="3632"/>
                  </a:lnTo>
                  <a:lnTo>
                    <a:pt x="1782" y="3631"/>
                  </a:lnTo>
                  <a:lnTo>
                    <a:pt x="1790" y="3627"/>
                  </a:lnTo>
                  <a:lnTo>
                    <a:pt x="1796" y="3622"/>
                  </a:lnTo>
                  <a:lnTo>
                    <a:pt x="1800" y="3616"/>
                  </a:lnTo>
                  <a:lnTo>
                    <a:pt x="1802" y="3610"/>
                  </a:lnTo>
                  <a:lnTo>
                    <a:pt x="1804" y="3603"/>
                  </a:lnTo>
                  <a:lnTo>
                    <a:pt x="1805" y="3595"/>
                  </a:lnTo>
                  <a:lnTo>
                    <a:pt x="1804" y="3587"/>
                  </a:lnTo>
                  <a:lnTo>
                    <a:pt x="1802" y="3579"/>
                  </a:lnTo>
                  <a:lnTo>
                    <a:pt x="1797" y="3560"/>
                  </a:lnTo>
                  <a:lnTo>
                    <a:pt x="1788" y="3542"/>
                  </a:lnTo>
                  <a:lnTo>
                    <a:pt x="1778" y="3520"/>
                  </a:lnTo>
                  <a:lnTo>
                    <a:pt x="1766" y="3498"/>
                  </a:lnTo>
                  <a:lnTo>
                    <a:pt x="1754" y="3474"/>
                  </a:lnTo>
                  <a:lnTo>
                    <a:pt x="1742" y="3450"/>
                  </a:lnTo>
                  <a:lnTo>
                    <a:pt x="1732" y="3426"/>
                  </a:lnTo>
                  <a:lnTo>
                    <a:pt x="1724" y="3402"/>
                  </a:lnTo>
                  <a:lnTo>
                    <a:pt x="1720" y="3388"/>
                  </a:lnTo>
                  <a:lnTo>
                    <a:pt x="1717" y="3376"/>
                  </a:lnTo>
                  <a:lnTo>
                    <a:pt x="1716" y="3364"/>
                  </a:lnTo>
                  <a:lnTo>
                    <a:pt x="1714" y="3352"/>
                  </a:lnTo>
                  <a:lnTo>
                    <a:pt x="1716" y="3340"/>
                  </a:lnTo>
                  <a:lnTo>
                    <a:pt x="1717" y="3328"/>
                  </a:lnTo>
                  <a:lnTo>
                    <a:pt x="1718" y="3316"/>
                  </a:lnTo>
                  <a:lnTo>
                    <a:pt x="1722" y="3306"/>
                  </a:lnTo>
                  <a:lnTo>
                    <a:pt x="1729" y="3292"/>
                  </a:lnTo>
                  <a:lnTo>
                    <a:pt x="1732" y="3279"/>
                  </a:lnTo>
                  <a:lnTo>
                    <a:pt x="1734" y="3266"/>
                  </a:lnTo>
                  <a:lnTo>
                    <a:pt x="1734" y="3252"/>
                  </a:lnTo>
                  <a:lnTo>
                    <a:pt x="1733" y="3227"/>
                  </a:lnTo>
                  <a:lnTo>
                    <a:pt x="1729" y="3203"/>
                  </a:lnTo>
                  <a:lnTo>
                    <a:pt x="1718" y="3214"/>
                  </a:lnTo>
                  <a:lnTo>
                    <a:pt x="1706" y="3226"/>
                  </a:lnTo>
                  <a:lnTo>
                    <a:pt x="1700" y="3231"/>
                  </a:lnTo>
                  <a:lnTo>
                    <a:pt x="1692" y="3235"/>
                  </a:lnTo>
                  <a:lnTo>
                    <a:pt x="1684" y="3238"/>
                  </a:lnTo>
                  <a:lnTo>
                    <a:pt x="1674" y="3239"/>
                  </a:lnTo>
                  <a:lnTo>
                    <a:pt x="1668" y="3239"/>
                  </a:lnTo>
                  <a:lnTo>
                    <a:pt x="1660" y="3236"/>
                  </a:lnTo>
                  <a:lnTo>
                    <a:pt x="1653" y="3232"/>
                  </a:lnTo>
                  <a:lnTo>
                    <a:pt x="1646" y="3228"/>
                  </a:lnTo>
                  <a:lnTo>
                    <a:pt x="1641" y="3223"/>
                  </a:lnTo>
                  <a:lnTo>
                    <a:pt x="1637" y="3216"/>
                  </a:lnTo>
                  <a:lnTo>
                    <a:pt x="1633" y="3210"/>
                  </a:lnTo>
                  <a:lnTo>
                    <a:pt x="1633" y="3203"/>
                  </a:lnTo>
                  <a:lnTo>
                    <a:pt x="1626" y="3204"/>
                  </a:lnTo>
                  <a:lnTo>
                    <a:pt x="1621" y="3206"/>
                  </a:lnTo>
                  <a:lnTo>
                    <a:pt x="1617" y="3208"/>
                  </a:lnTo>
                  <a:lnTo>
                    <a:pt x="1613" y="3212"/>
                  </a:lnTo>
                  <a:lnTo>
                    <a:pt x="1609" y="3215"/>
                  </a:lnTo>
                  <a:lnTo>
                    <a:pt x="1605" y="3218"/>
                  </a:lnTo>
                  <a:lnTo>
                    <a:pt x="1598" y="3220"/>
                  </a:lnTo>
                  <a:lnTo>
                    <a:pt x="1590" y="3222"/>
                  </a:lnTo>
                  <a:lnTo>
                    <a:pt x="1585" y="3220"/>
                  </a:lnTo>
                  <a:lnTo>
                    <a:pt x="1581" y="3216"/>
                  </a:lnTo>
                  <a:lnTo>
                    <a:pt x="1577" y="3211"/>
                  </a:lnTo>
                  <a:lnTo>
                    <a:pt x="1574" y="3203"/>
                  </a:lnTo>
                  <a:lnTo>
                    <a:pt x="1568" y="3184"/>
                  </a:lnTo>
                  <a:lnTo>
                    <a:pt x="1562" y="3163"/>
                  </a:lnTo>
                  <a:lnTo>
                    <a:pt x="1558" y="3152"/>
                  </a:lnTo>
                  <a:lnTo>
                    <a:pt x="1556" y="3142"/>
                  </a:lnTo>
                  <a:lnTo>
                    <a:pt x="1550" y="3131"/>
                  </a:lnTo>
                  <a:lnTo>
                    <a:pt x="1545" y="3122"/>
                  </a:lnTo>
                  <a:lnTo>
                    <a:pt x="1538" y="3114"/>
                  </a:lnTo>
                  <a:lnTo>
                    <a:pt x="1532" y="3107"/>
                  </a:lnTo>
                  <a:lnTo>
                    <a:pt x="1522" y="3103"/>
                  </a:lnTo>
                  <a:lnTo>
                    <a:pt x="1512" y="3101"/>
                  </a:lnTo>
                  <a:lnTo>
                    <a:pt x="1461" y="3097"/>
                  </a:lnTo>
                  <a:lnTo>
                    <a:pt x="1421" y="3090"/>
                  </a:lnTo>
                  <a:lnTo>
                    <a:pt x="1413" y="3087"/>
                  </a:lnTo>
                  <a:lnTo>
                    <a:pt x="1406" y="3082"/>
                  </a:lnTo>
                  <a:lnTo>
                    <a:pt x="1400" y="3077"/>
                  </a:lnTo>
                  <a:lnTo>
                    <a:pt x="1394" y="3069"/>
                  </a:lnTo>
                  <a:lnTo>
                    <a:pt x="1390" y="3059"/>
                  </a:lnTo>
                  <a:lnTo>
                    <a:pt x="1388" y="3047"/>
                  </a:lnTo>
                  <a:lnTo>
                    <a:pt x="1386" y="3034"/>
                  </a:lnTo>
                  <a:lnTo>
                    <a:pt x="1385" y="3017"/>
                  </a:lnTo>
                  <a:lnTo>
                    <a:pt x="1277" y="2926"/>
                  </a:lnTo>
                  <a:lnTo>
                    <a:pt x="1262" y="2926"/>
                  </a:lnTo>
                  <a:lnTo>
                    <a:pt x="1249" y="2926"/>
                  </a:lnTo>
                  <a:lnTo>
                    <a:pt x="1234" y="2925"/>
                  </a:lnTo>
                  <a:lnTo>
                    <a:pt x="1221" y="2922"/>
                  </a:lnTo>
                  <a:lnTo>
                    <a:pt x="1214" y="2919"/>
                  </a:lnTo>
                  <a:lnTo>
                    <a:pt x="1208" y="2918"/>
                  </a:lnTo>
                  <a:lnTo>
                    <a:pt x="1202" y="2914"/>
                  </a:lnTo>
                  <a:lnTo>
                    <a:pt x="1198" y="2911"/>
                  </a:lnTo>
                  <a:lnTo>
                    <a:pt x="1194" y="2907"/>
                  </a:lnTo>
                  <a:lnTo>
                    <a:pt x="1190" y="2902"/>
                  </a:lnTo>
                  <a:lnTo>
                    <a:pt x="1188" y="2897"/>
                  </a:lnTo>
                  <a:lnTo>
                    <a:pt x="1186" y="2890"/>
                  </a:lnTo>
                  <a:lnTo>
                    <a:pt x="1189" y="2866"/>
                  </a:lnTo>
                  <a:lnTo>
                    <a:pt x="1192" y="2841"/>
                  </a:lnTo>
                  <a:lnTo>
                    <a:pt x="1192" y="2830"/>
                  </a:lnTo>
                  <a:lnTo>
                    <a:pt x="1189" y="2819"/>
                  </a:lnTo>
                  <a:lnTo>
                    <a:pt x="1186" y="2815"/>
                  </a:lnTo>
                  <a:lnTo>
                    <a:pt x="1184" y="2811"/>
                  </a:lnTo>
                  <a:lnTo>
                    <a:pt x="1180" y="2809"/>
                  </a:lnTo>
                  <a:lnTo>
                    <a:pt x="1174" y="2806"/>
                  </a:lnTo>
                  <a:lnTo>
                    <a:pt x="1153" y="2803"/>
                  </a:lnTo>
                  <a:lnTo>
                    <a:pt x="1128" y="2803"/>
                  </a:lnTo>
                  <a:lnTo>
                    <a:pt x="1115" y="2803"/>
                  </a:lnTo>
                  <a:lnTo>
                    <a:pt x="1103" y="2802"/>
                  </a:lnTo>
                  <a:lnTo>
                    <a:pt x="1092" y="2802"/>
                  </a:lnTo>
                  <a:lnTo>
                    <a:pt x="1084" y="2799"/>
                  </a:lnTo>
                  <a:lnTo>
                    <a:pt x="1091" y="2799"/>
                  </a:lnTo>
                  <a:lnTo>
                    <a:pt x="1084" y="2799"/>
                  </a:lnTo>
                  <a:lnTo>
                    <a:pt x="1083" y="2795"/>
                  </a:lnTo>
                  <a:lnTo>
                    <a:pt x="1081" y="2789"/>
                  </a:lnTo>
                  <a:lnTo>
                    <a:pt x="1081" y="2782"/>
                  </a:lnTo>
                  <a:lnTo>
                    <a:pt x="1083" y="2775"/>
                  </a:lnTo>
                  <a:lnTo>
                    <a:pt x="1084" y="2759"/>
                  </a:lnTo>
                  <a:lnTo>
                    <a:pt x="1084" y="2746"/>
                  </a:lnTo>
                  <a:lnTo>
                    <a:pt x="1085" y="2730"/>
                  </a:lnTo>
                  <a:lnTo>
                    <a:pt x="1085" y="2717"/>
                  </a:lnTo>
                  <a:lnTo>
                    <a:pt x="1088" y="2706"/>
                  </a:lnTo>
                  <a:lnTo>
                    <a:pt x="1089" y="2698"/>
                  </a:lnTo>
                  <a:lnTo>
                    <a:pt x="1093" y="2690"/>
                  </a:lnTo>
                  <a:lnTo>
                    <a:pt x="1096" y="2685"/>
                  </a:lnTo>
                  <a:lnTo>
                    <a:pt x="1101" y="2681"/>
                  </a:lnTo>
                  <a:lnTo>
                    <a:pt x="1105" y="2677"/>
                  </a:lnTo>
                  <a:lnTo>
                    <a:pt x="1117" y="2671"/>
                  </a:lnTo>
                  <a:lnTo>
                    <a:pt x="1131" y="2667"/>
                  </a:lnTo>
                  <a:lnTo>
                    <a:pt x="1137" y="2663"/>
                  </a:lnTo>
                  <a:lnTo>
                    <a:pt x="1145" y="2659"/>
                  </a:lnTo>
                  <a:lnTo>
                    <a:pt x="1153" y="2655"/>
                  </a:lnTo>
                  <a:lnTo>
                    <a:pt x="1162" y="2649"/>
                  </a:lnTo>
                  <a:lnTo>
                    <a:pt x="1165" y="2647"/>
                  </a:lnTo>
                  <a:lnTo>
                    <a:pt x="1168" y="2643"/>
                  </a:lnTo>
                  <a:lnTo>
                    <a:pt x="1169" y="2641"/>
                  </a:lnTo>
                  <a:lnTo>
                    <a:pt x="1170" y="2637"/>
                  </a:lnTo>
                  <a:lnTo>
                    <a:pt x="1172" y="2630"/>
                  </a:lnTo>
                  <a:lnTo>
                    <a:pt x="1170" y="2621"/>
                  </a:lnTo>
                  <a:lnTo>
                    <a:pt x="1170" y="2613"/>
                  </a:lnTo>
                  <a:lnTo>
                    <a:pt x="1170" y="2605"/>
                  </a:lnTo>
                  <a:lnTo>
                    <a:pt x="1172" y="2597"/>
                  </a:lnTo>
                  <a:lnTo>
                    <a:pt x="1174" y="2589"/>
                  </a:lnTo>
                  <a:lnTo>
                    <a:pt x="1209" y="2561"/>
                  </a:lnTo>
                  <a:lnTo>
                    <a:pt x="1241" y="2537"/>
                  </a:lnTo>
                  <a:lnTo>
                    <a:pt x="1256" y="2525"/>
                  </a:lnTo>
                  <a:lnTo>
                    <a:pt x="1270" y="2512"/>
                  </a:lnTo>
                  <a:lnTo>
                    <a:pt x="1284" y="2497"/>
                  </a:lnTo>
                  <a:lnTo>
                    <a:pt x="1294" y="2481"/>
                  </a:lnTo>
                  <a:lnTo>
                    <a:pt x="1306" y="2465"/>
                  </a:lnTo>
                  <a:lnTo>
                    <a:pt x="1318" y="2449"/>
                  </a:lnTo>
                  <a:lnTo>
                    <a:pt x="1330" y="2436"/>
                  </a:lnTo>
                  <a:lnTo>
                    <a:pt x="1342" y="2422"/>
                  </a:lnTo>
                  <a:lnTo>
                    <a:pt x="1356" y="2410"/>
                  </a:lnTo>
                  <a:lnTo>
                    <a:pt x="1369" y="2400"/>
                  </a:lnTo>
                  <a:lnTo>
                    <a:pt x="1382" y="2389"/>
                  </a:lnTo>
                  <a:lnTo>
                    <a:pt x="1397" y="2380"/>
                  </a:lnTo>
                  <a:lnTo>
                    <a:pt x="1413" y="2372"/>
                  </a:lnTo>
                  <a:lnTo>
                    <a:pt x="1428" y="2364"/>
                  </a:lnTo>
                  <a:lnTo>
                    <a:pt x="1444" y="2356"/>
                  </a:lnTo>
                  <a:lnTo>
                    <a:pt x="1461" y="2349"/>
                  </a:lnTo>
                  <a:lnTo>
                    <a:pt x="1497" y="2336"/>
                  </a:lnTo>
                  <a:lnTo>
                    <a:pt x="1536" y="2324"/>
                  </a:lnTo>
                  <a:lnTo>
                    <a:pt x="1546" y="2318"/>
                  </a:lnTo>
                  <a:lnTo>
                    <a:pt x="1554" y="2310"/>
                  </a:lnTo>
                  <a:lnTo>
                    <a:pt x="1562" y="2302"/>
                  </a:lnTo>
                  <a:lnTo>
                    <a:pt x="1570" y="2293"/>
                  </a:lnTo>
                  <a:lnTo>
                    <a:pt x="1578" y="2284"/>
                  </a:lnTo>
                  <a:lnTo>
                    <a:pt x="1589" y="2277"/>
                  </a:lnTo>
                  <a:lnTo>
                    <a:pt x="1594" y="2274"/>
                  </a:lnTo>
                  <a:lnTo>
                    <a:pt x="1600" y="2272"/>
                  </a:lnTo>
                  <a:lnTo>
                    <a:pt x="1606" y="2270"/>
                  </a:lnTo>
                  <a:lnTo>
                    <a:pt x="1614" y="2270"/>
                  </a:lnTo>
                  <a:lnTo>
                    <a:pt x="1620" y="2270"/>
                  </a:lnTo>
                  <a:lnTo>
                    <a:pt x="1625" y="2272"/>
                  </a:lnTo>
                  <a:lnTo>
                    <a:pt x="1629" y="2274"/>
                  </a:lnTo>
                  <a:lnTo>
                    <a:pt x="1633" y="2277"/>
                  </a:lnTo>
                  <a:lnTo>
                    <a:pt x="1640" y="2286"/>
                  </a:lnTo>
                  <a:lnTo>
                    <a:pt x="1645" y="2297"/>
                  </a:lnTo>
                  <a:lnTo>
                    <a:pt x="1653" y="2325"/>
                  </a:lnTo>
                  <a:lnTo>
                    <a:pt x="1660" y="2357"/>
                  </a:lnTo>
                  <a:lnTo>
                    <a:pt x="1664" y="2373"/>
                  </a:lnTo>
                  <a:lnTo>
                    <a:pt x="1668" y="2389"/>
                  </a:lnTo>
                  <a:lnTo>
                    <a:pt x="1672" y="2404"/>
                  </a:lnTo>
                  <a:lnTo>
                    <a:pt x="1678" y="2417"/>
                  </a:lnTo>
                  <a:lnTo>
                    <a:pt x="1682" y="2424"/>
                  </a:lnTo>
                  <a:lnTo>
                    <a:pt x="1686" y="2429"/>
                  </a:lnTo>
                  <a:lnTo>
                    <a:pt x="1692" y="2433"/>
                  </a:lnTo>
                  <a:lnTo>
                    <a:pt x="1696" y="2437"/>
                  </a:lnTo>
                  <a:lnTo>
                    <a:pt x="1702" y="2441"/>
                  </a:lnTo>
                  <a:lnTo>
                    <a:pt x="1708" y="2442"/>
                  </a:lnTo>
                  <a:lnTo>
                    <a:pt x="1716" y="2444"/>
                  </a:lnTo>
                  <a:lnTo>
                    <a:pt x="1722" y="2445"/>
                  </a:lnTo>
                  <a:lnTo>
                    <a:pt x="1729" y="2444"/>
                  </a:lnTo>
                  <a:lnTo>
                    <a:pt x="1734" y="2442"/>
                  </a:lnTo>
                  <a:lnTo>
                    <a:pt x="1741" y="2441"/>
                  </a:lnTo>
                  <a:lnTo>
                    <a:pt x="1746" y="2438"/>
                  </a:lnTo>
                  <a:lnTo>
                    <a:pt x="1760" y="2430"/>
                  </a:lnTo>
                  <a:lnTo>
                    <a:pt x="1773" y="2422"/>
                  </a:lnTo>
                  <a:lnTo>
                    <a:pt x="1796" y="2404"/>
                  </a:lnTo>
                  <a:lnTo>
                    <a:pt x="1813" y="2390"/>
                  </a:lnTo>
                  <a:lnTo>
                    <a:pt x="1826" y="2385"/>
                  </a:lnTo>
                  <a:lnTo>
                    <a:pt x="1841" y="2380"/>
                  </a:lnTo>
                  <a:lnTo>
                    <a:pt x="1857" y="2377"/>
                  </a:lnTo>
                  <a:lnTo>
                    <a:pt x="1874" y="2374"/>
                  </a:lnTo>
                  <a:lnTo>
                    <a:pt x="1909" y="2370"/>
                  </a:lnTo>
                  <a:lnTo>
                    <a:pt x="1943" y="2366"/>
                  </a:lnTo>
                  <a:lnTo>
                    <a:pt x="1959" y="2364"/>
                  </a:lnTo>
                  <a:lnTo>
                    <a:pt x="1974" y="2358"/>
                  </a:lnTo>
                  <a:lnTo>
                    <a:pt x="1987" y="2353"/>
                  </a:lnTo>
                  <a:lnTo>
                    <a:pt x="1999" y="2345"/>
                  </a:lnTo>
                  <a:lnTo>
                    <a:pt x="2005" y="2340"/>
                  </a:lnTo>
                  <a:lnTo>
                    <a:pt x="2010" y="2334"/>
                  </a:lnTo>
                  <a:lnTo>
                    <a:pt x="2014" y="2329"/>
                  </a:lnTo>
                  <a:lnTo>
                    <a:pt x="2017" y="2322"/>
                  </a:lnTo>
                  <a:lnTo>
                    <a:pt x="2019" y="2314"/>
                  </a:lnTo>
                  <a:lnTo>
                    <a:pt x="2022" y="2306"/>
                  </a:lnTo>
                  <a:lnTo>
                    <a:pt x="2023" y="2298"/>
                  </a:lnTo>
                  <a:lnTo>
                    <a:pt x="2023" y="2288"/>
                  </a:lnTo>
                  <a:lnTo>
                    <a:pt x="2023" y="2269"/>
                  </a:lnTo>
                  <a:lnTo>
                    <a:pt x="2023" y="2253"/>
                  </a:lnTo>
                  <a:lnTo>
                    <a:pt x="2023" y="2241"/>
                  </a:lnTo>
                  <a:lnTo>
                    <a:pt x="2023" y="2228"/>
                  </a:lnTo>
                  <a:lnTo>
                    <a:pt x="2025" y="2204"/>
                  </a:lnTo>
                  <a:lnTo>
                    <a:pt x="2029" y="2182"/>
                  </a:lnTo>
                  <a:lnTo>
                    <a:pt x="2034" y="2161"/>
                  </a:lnTo>
                  <a:lnTo>
                    <a:pt x="2041" y="2142"/>
                  </a:lnTo>
                  <a:lnTo>
                    <a:pt x="2057" y="2104"/>
                  </a:lnTo>
                  <a:lnTo>
                    <a:pt x="2071" y="2065"/>
                  </a:lnTo>
                  <a:lnTo>
                    <a:pt x="2077" y="2030"/>
                  </a:lnTo>
                  <a:lnTo>
                    <a:pt x="2081" y="1997"/>
                  </a:lnTo>
                  <a:lnTo>
                    <a:pt x="2082" y="1982"/>
                  </a:lnTo>
                  <a:lnTo>
                    <a:pt x="2086" y="1967"/>
                  </a:lnTo>
                  <a:lnTo>
                    <a:pt x="2089" y="1960"/>
                  </a:lnTo>
                  <a:lnTo>
                    <a:pt x="2093" y="1953"/>
                  </a:lnTo>
                  <a:lnTo>
                    <a:pt x="2097" y="1945"/>
                  </a:lnTo>
                  <a:lnTo>
                    <a:pt x="2102" y="1939"/>
                  </a:lnTo>
                  <a:lnTo>
                    <a:pt x="2114" y="1948"/>
                  </a:lnTo>
                  <a:lnTo>
                    <a:pt x="2123" y="1956"/>
                  </a:lnTo>
                  <a:lnTo>
                    <a:pt x="2129" y="1959"/>
                  </a:lnTo>
                  <a:lnTo>
                    <a:pt x="2135" y="1961"/>
                  </a:lnTo>
                  <a:lnTo>
                    <a:pt x="2142" y="1963"/>
                  </a:lnTo>
                  <a:lnTo>
                    <a:pt x="2150" y="1963"/>
                  </a:lnTo>
                  <a:lnTo>
                    <a:pt x="2162" y="1961"/>
                  </a:lnTo>
                  <a:lnTo>
                    <a:pt x="2174" y="1959"/>
                  </a:lnTo>
                  <a:lnTo>
                    <a:pt x="2183" y="1953"/>
                  </a:lnTo>
                  <a:lnTo>
                    <a:pt x="2193" y="1948"/>
                  </a:lnTo>
                  <a:lnTo>
                    <a:pt x="2203" y="1943"/>
                  </a:lnTo>
                  <a:lnTo>
                    <a:pt x="2214" y="1937"/>
                  </a:lnTo>
                  <a:lnTo>
                    <a:pt x="2226" y="1935"/>
                  </a:lnTo>
                  <a:lnTo>
                    <a:pt x="2241" y="1933"/>
                  </a:lnTo>
                  <a:lnTo>
                    <a:pt x="2231" y="1896"/>
                  </a:lnTo>
                  <a:lnTo>
                    <a:pt x="2223" y="1857"/>
                  </a:lnTo>
                  <a:lnTo>
                    <a:pt x="2215" y="1817"/>
                  </a:lnTo>
                  <a:lnTo>
                    <a:pt x="2207" y="1777"/>
                  </a:lnTo>
                  <a:lnTo>
                    <a:pt x="2199" y="1736"/>
                  </a:lnTo>
                  <a:lnTo>
                    <a:pt x="2191" y="1693"/>
                  </a:lnTo>
                  <a:lnTo>
                    <a:pt x="2183" y="1651"/>
                  </a:lnTo>
                  <a:lnTo>
                    <a:pt x="2174" y="1608"/>
                  </a:lnTo>
                  <a:lnTo>
                    <a:pt x="2173" y="1603"/>
                  </a:lnTo>
                  <a:lnTo>
                    <a:pt x="2173" y="1597"/>
                  </a:lnTo>
                  <a:lnTo>
                    <a:pt x="2174" y="1592"/>
                  </a:lnTo>
                  <a:lnTo>
                    <a:pt x="2175" y="1587"/>
                  </a:lnTo>
                  <a:lnTo>
                    <a:pt x="2181" y="1576"/>
                  </a:lnTo>
                  <a:lnTo>
                    <a:pt x="2189" y="1565"/>
                  </a:lnTo>
                  <a:lnTo>
                    <a:pt x="2210" y="1543"/>
                  </a:lnTo>
                  <a:lnTo>
                    <a:pt x="2237" y="1519"/>
                  </a:lnTo>
                  <a:lnTo>
                    <a:pt x="2250" y="1507"/>
                  </a:lnTo>
                  <a:lnTo>
                    <a:pt x="2265" y="1493"/>
                  </a:lnTo>
                  <a:lnTo>
                    <a:pt x="2277" y="1480"/>
                  </a:lnTo>
                  <a:lnTo>
                    <a:pt x="2289" y="1465"/>
                  </a:lnTo>
                  <a:lnTo>
                    <a:pt x="2298" y="1451"/>
                  </a:lnTo>
                  <a:lnTo>
                    <a:pt x="2306" y="1436"/>
                  </a:lnTo>
                  <a:lnTo>
                    <a:pt x="2309" y="1428"/>
                  </a:lnTo>
                  <a:lnTo>
                    <a:pt x="2311" y="1420"/>
                  </a:lnTo>
                  <a:lnTo>
                    <a:pt x="2313" y="1411"/>
                  </a:lnTo>
                  <a:lnTo>
                    <a:pt x="2313" y="1403"/>
                  </a:lnTo>
                  <a:lnTo>
                    <a:pt x="2313" y="1392"/>
                  </a:lnTo>
                  <a:lnTo>
                    <a:pt x="2310" y="1382"/>
                  </a:lnTo>
                  <a:lnTo>
                    <a:pt x="2307" y="1371"/>
                  </a:lnTo>
                  <a:lnTo>
                    <a:pt x="2303" y="1360"/>
                  </a:lnTo>
                  <a:lnTo>
                    <a:pt x="2298" y="1351"/>
                  </a:lnTo>
                  <a:lnTo>
                    <a:pt x="2291" y="1340"/>
                  </a:lnTo>
                  <a:lnTo>
                    <a:pt x="2283" y="1331"/>
                  </a:lnTo>
                  <a:lnTo>
                    <a:pt x="2274" y="1322"/>
                  </a:lnTo>
                  <a:lnTo>
                    <a:pt x="2263" y="1314"/>
                  </a:lnTo>
                  <a:lnTo>
                    <a:pt x="2250" y="1307"/>
                  </a:lnTo>
                  <a:lnTo>
                    <a:pt x="2237" y="1300"/>
                  </a:lnTo>
                  <a:lnTo>
                    <a:pt x="2221" y="1296"/>
                  </a:lnTo>
                  <a:lnTo>
                    <a:pt x="2205" y="1294"/>
                  </a:lnTo>
                  <a:lnTo>
                    <a:pt x="2186" y="1292"/>
                  </a:lnTo>
                  <a:lnTo>
                    <a:pt x="2166" y="1292"/>
                  </a:lnTo>
                  <a:lnTo>
                    <a:pt x="2145" y="1295"/>
                  </a:lnTo>
                  <a:lnTo>
                    <a:pt x="2109" y="1300"/>
                  </a:lnTo>
                  <a:lnTo>
                    <a:pt x="2074" y="1303"/>
                  </a:lnTo>
                  <a:lnTo>
                    <a:pt x="2042" y="1304"/>
                  </a:lnTo>
                  <a:lnTo>
                    <a:pt x="2010" y="1304"/>
                  </a:lnTo>
                  <a:lnTo>
                    <a:pt x="1981" y="1303"/>
                  </a:lnTo>
                  <a:lnTo>
                    <a:pt x="1951" y="1303"/>
                  </a:lnTo>
                  <a:lnTo>
                    <a:pt x="1925" y="1303"/>
                  </a:lnTo>
                  <a:lnTo>
                    <a:pt x="1898" y="1306"/>
                  </a:lnTo>
                  <a:lnTo>
                    <a:pt x="1885" y="1307"/>
                  </a:lnTo>
                  <a:lnTo>
                    <a:pt x="1873" y="1310"/>
                  </a:lnTo>
                  <a:lnTo>
                    <a:pt x="1861" y="1312"/>
                  </a:lnTo>
                  <a:lnTo>
                    <a:pt x="1849" y="1316"/>
                  </a:lnTo>
                  <a:lnTo>
                    <a:pt x="1837" y="1320"/>
                  </a:lnTo>
                  <a:lnTo>
                    <a:pt x="1826" y="1326"/>
                  </a:lnTo>
                  <a:lnTo>
                    <a:pt x="1816" y="1332"/>
                  </a:lnTo>
                  <a:lnTo>
                    <a:pt x="1805" y="1340"/>
                  </a:lnTo>
                  <a:lnTo>
                    <a:pt x="1794" y="1350"/>
                  </a:lnTo>
                  <a:lnTo>
                    <a:pt x="1784" y="1359"/>
                  </a:lnTo>
                  <a:lnTo>
                    <a:pt x="1774" y="1371"/>
                  </a:lnTo>
                  <a:lnTo>
                    <a:pt x="1765" y="1384"/>
                  </a:lnTo>
                  <a:lnTo>
                    <a:pt x="1756" y="1397"/>
                  </a:lnTo>
                  <a:lnTo>
                    <a:pt x="1746" y="1413"/>
                  </a:lnTo>
                  <a:lnTo>
                    <a:pt x="1737" y="1432"/>
                  </a:lnTo>
                  <a:lnTo>
                    <a:pt x="1729" y="1451"/>
                  </a:lnTo>
                  <a:lnTo>
                    <a:pt x="1722" y="1459"/>
                  </a:lnTo>
                  <a:lnTo>
                    <a:pt x="1714" y="1465"/>
                  </a:lnTo>
                  <a:lnTo>
                    <a:pt x="1708" y="1471"/>
                  </a:lnTo>
                  <a:lnTo>
                    <a:pt x="1701" y="1475"/>
                  </a:lnTo>
                  <a:lnTo>
                    <a:pt x="1693" y="1479"/>
                  </a:lnTo>
                  <a:lnTo>
                    <a:pt x="1686" y="1483"/>
                  </a:lnTo>
                  <a:lnTo>
                    <a:pt x="1680" y="1484"/>
                  </a:lnTo>
                  <a:lnTo>
                    <a:pt x="1672" y="1485"/>
                  </a:lnTo>
                  <a:lnTo>
                    <a:pt x="1658" y="1487"/>
                  </a:lnTo>
                  <a:lnTo>
                    <a:pt x="1645" y="1485"/>
                  </a:lnTo>
                  <a:lnTo>
                    <a:pt x="1633" y="1483"/>
                  </a:lnTo>
                  <a:lnTo>
                    <a:pt x="1622" y="1476"/>
                  </a:lnTo>
                  <a:lnTo>
                    <a:pt x="1613" y="1469"/>
                  </a:lnTo>
                  <a:lnTo>
                    <a:pt x="1606" y="1461"/>
                  </a:lnTo>
                  <a:lnTo>
                    <a:pt x="1601" y="1452"/>
                  </a:lnTo>
                  <a:lnTo>
                    <a:pt x="1600" y="1443"/>
                  </a:lnTo>
                  <a:lnTo>
                    <a:pt x="1598" y="1437"/>
                  </a:lnTo>
                  <a:lnTo>
                    <a:pt x="1600" y="1432"/>
                  </a:lnTo>
                  <a:lnTo>
                    <a:pt x="1601" y="1427"/>
                  </a:lnTo>
                  <a:lnTo>
                    <a:pt x="1602" y="1423"/>
                  </a:lnTo>
                  <a:lnTo>
                    <a:pt x="1606" y="1417"/>
                  </a:lnTo>
                  <a:lnTo>
                    <a:pt x="1610" y="1412"/>
                  </a:lnTo>
                  <a:lnTo>
                    <a:pt x="1614" y="1408"/>
                  </a:lnTo>
                  <a:lnTo>
                    <a:pt x="1620" y="1403"/>
                  </a:lnTo>
                  <a:lnTo>
                    <a:pt x="1673" y="1366"/>
                  </a:lnTo>
                  <a:lnTo>
                    <a:pt x="1721" y="1331"/>
                  </a:lnTo>
                  <a:lnTo>
                    <a:pt x="1732" y="1322"/>
                  </a:lnTo>
                  <a:lnTo>
                    <a:pt x="1741" y="1311"/>
                  </a:lnTo>
                  <a:lnTo>
                    <a:pt x="1748" y="1299"/>
                  </a:lnTo>
                  <a:lnTo>
                    <a:pt x="1754" y="1286"/>
                  </a:lnTo>
                  <a:lnTo>
                    <a:pt x="1758" y="1270"/>
                  </a:lnTo>
                  <a:lnTo>
                    <a:pt x="1761" y="1252"/>
                  </a:lnTo>
                  <a:lnTo>
                    <a:pt x="1761" y="1232"/>
                  </a:lnTo>
                  <a:lnTo>
                    <a:pt x="1758" y="1211"/>
                  </a:lnTo>
                  <a:lnTo>
                    <a:pt x="1754" y="1183"/>
                  </a:lnTo>
                  <a:lnTo>
                    <a:pt x="1750" y="1158"/>
                  </a:lnTo>
                  <a:lnTo>
                    <a:pt x="1744" y="1134"/>
                  </a:lnTo>
                  <a:lnTo>
                    <a:pt x="1737" y="1114"/>
                  </a:lnTo>
                  <a:lnTo>
                    <a:pt x="1729" y="1095"/>
                  </a:lnTo>
                  <a:lnTo>
                    <a:pt x="1721" y="1079"/>
                  </a:lnTo>
                  <a:lnTo>
                    <a:pt x="1712" y="1066"/>
                  </a:lnTo>
                  <a:lnTo>
                    <a:pt x="1702" y="1052"/>
                  </a:lnTo>
                  <a:lnTo>
                    <a:pt x="1692" y="1042"/>
                  </a:lnTo>
                  <a:lnTo>
                    <a:pt x="1681" y="1032"/>
                  </a:lnTo>
                  <a:lnTo>
                    <a:pt x="1669" y="1026"/>
                  </a:lnTo>
                  <a:lnTo>
                    <a:pt x="1658" y="1019"/>
                  </a:lnTo>
                  <a:lnTo>
                    <a:pt x="1646" y="1014"/>
                  </a:lnTo>
                  <a:lnTo>
                    <a:pt x="1633" y="1008"/>
                  </a:lnTo>
                  <a:lnTo>
                    <a:pt x="1621" y="1006"/>
                  </a:lnTo>
                  <a:lnTo>
                    <a:pt x="1608" y="1003"/>
                  </a:lnTo>
                  <a:lnTo>
                    <a:pt x="1557" y="995"/>
                  </a:lnTo>
                  <a:lnTo>
                    <a:pt x="1510" y="988"/>
                  </a:lnTo>
                  <a:lnTo>
                    <a:pt x="1498" y="986"/>
                  </a:lnTo>
                  <a:lnTo>
                    <a:pt x="1488" y="982"/>
                  </a:lnTo>
                  <a:lnTo>
                    <a:pt x="1478" y="978"/>
                  </a:lnTo>
                  <a:lnTo>
                    <a:pt x="1469" y="972"/>
                  </a:lnTo>
                  <a:lnTo>
                    <a:pt x="1461" y="967"/>
                  </a:lnTo>
                  <a:lnTo>
                    <a:pt x="1453" y="959"/>
                  </a:lnTo>
                  <a:lnTo>
                    <a:pt x="1446" y="950"/>
                  </a:lnTo>
                  <a:lnTo>
                    <a:pt x="1440" y="939"/>
                  </a:lnTo>
                  <a:lnTo>
                    <a:pt x="1440" y="927"/>
                  </a:lnTo>
                  <a:lnTo>
                    <a:pt x="1441" y="916"/>
                  </a:lnTo>
                  <a:lnTo>
                    <a:pt x="1444" y="907"/>
                  </a:lnTo>
                  <a:lnTo>
                    <a:pt x="1448" y="899"/>
                  </a:lnTo>
                  <a:lnTo>
                    <a:pt x="1454" y="892"/>
                  </a:lnTo>
                  <a:lnTo>
                    <a:pt x="1461" y="888"/>
                  </a:lnTo>
                  <a:lnTo>
                    <a:pt x="1469" y="884"/>
                  </a:lnTo>
                  <a:lnTo>
                    <a:pt x="1478" y="882"/>
                  </a:lnTo>
                  <a:lnTo>
                    <a:pt x="1498" y="878"/>
                  </a:lnTo>
                  <a:lnTo>
                    <a:pt x="1521" y="878"/>
                  </a:lnTo>
                  <a:lnTo>
                    <a:pt x="1545" y="878"/>
                  </a:lnTo>
                  <a:lnTo>
                    <a:pt x="1569" y="878"/>
                  </a:lnTo>
                  <a:lnTo>
                    <a:pt x="1593" y="878"/>
                  </a:lnTo>
                  <a:lnTo>
                    <a:pt x="1616" y="875"/>
                  </a:lnTo>
                  <a:lnTo>
                    <a:pt x="1625" y="874"/>
                  </a:lnTo>
                  <a:lnTo>
                    <a:pt x="1636" y="870"/>
                  </a:lnTo>
                  <a:lnTo>
                    <a:pt x="1644" y="866"/>
                  </a:lnTo>
                  <a:lnTo>
                    <a:pt x="1652" y="860"/>
                  </a:lnTo>
                  <a:lnTo>
                    <a:pt x="1658" y="854"/>
                  </a:lnTo>
                  <a:lnTo>
                    <a:pt x="1664" y="846"/>
                  </a:lnTo>
                  <a:lnTo>
                    <a:pt x="1668" y="836"/>
                  </a:lnTo>
                  <a:lnTo>
                    <a:pt x="1670" y="824"/>
                  </a:lnTo>
                  <a:lnTo>
                    <a:pt x="1670" y="811"/>
                  </a:lnTo>
                  <a:lnTo>
                    <a:pt x="1670" y="797"/>
                  </a:lnTo>
                  <a:lnTo>
                    <a:pt x="1668" y="778"/>
                  </a:lnTo>
                  <a:lnTo>
                    <a:pt x="1662" y="759"/>
                  </a:lnTo>
                  <a:lnTo>
                    <a:pt x="1660" y="735"/>
                  </a:lnTo>
                  <a:lnTo>
                    <a:pt x="1660" y="717"/>
                  </a:lnTo>
                  <a:lnTo>
                    <a:pt x="1661" y="699"/>
                  </a:lnTo>
                  <a:lnTo>
                    <a:pt x="1664" y="686"/>
                  </a:lnTo>
                  <a:lnTo>
                    <a:pt x="1666" y="675"/>
                  </a:lnTo>
                  <a:lnTo>
                    <a:pt x="1672" y="667"/>
                  </a:lnTo>
                  <a:lnTo>
                    <a:pt x="1678" y="661"/>
                  </a:lnTo>
                  <a:lnTo>
                    <a:pt x="1685" y="655"/>
                  </a:lnTo>
                  <a:lnTo>
                    <a:pt x="1693" y="653"/>
                  </a:lnTo>
                  <a:lnTo>
                    <a:pt x="1701" y="651"/>
                  </a:lnTo>
                  <a:lnTo>
                    <a:pt x="1709" y="651"/>
                  </a:lnTo>
                  <a:lnTo>
                    <a:pt x="1718" y="651"/>
                  </a:lnTo>
                  <a:lnTo>
                    <a:pt x="1736" y="654"/>
                  </a:lnTo>
                  <a:lnTo>
                    <a:pt x="1753" y="657"/>
                  </a:lnTo>
                  <a:lnTo>
                    <a:pt x="1770" y="659"/>
                  </a:lnTo>
                  <a:lnTo>
                    <a:pt x="1786" y="661"/>
                  </a:lnTo>
                  <a:lnTo>
                    <a:pt x="1800" y="661"/>
                  </a:lnTo>
                  <a:lnTo>
                    <a:pt x="1813" y="661"/>
                  </a:lnTo>
                  <a:lnTo>
                    <a:pt x="1825" y="659"/>
                  </a:lnTo>
                  <a:lnTo>
                    <a:pt x="1834" y="657"/>
                  </a:lnTo>
                  <a:lnTo>
                    <a:pt x="1844" y="654"/>
                  </a:lnTo>
                  <a:lnTo>
                    <a:pt x="1852" y="651"/>
                  </a:lnTo>
                  <a:lnTo>
                    <a:pt x="1860" y="647"/>
                  </a:lnTo>
                  <a:lnTo>
                    <a:pt x="1866" y="643"/>
                  </a:lnTo>
                  <a:lnTo>
                    <a:pt x="1872" y="638"/>
                  </a:lnTo>
                  <a:lnTo>
                    <a:pt x="1876" y="633"/>
                  </a:lnTo>
                  <a:lnTo>
                    <a:pt x="1884" y="622"/>
                  </a:lnTo>
                  <a:lnTo>
                    <a:pt x="1889" y="609"/>
                  </a:lnTo>
                  <a:lnTo>
                    <a:pt x="1897" y="583"/>
                  </a:lnTo>
                  <a:lnTo>
                    <a:pt x="1905" y="559"/>
                  </a:lnTo>
                  <a:lnTo>
                    <a:pt x="1910" y="549"/>
                  </a:lnTo>
                  <a:lnTo>
                    <a:pt x="1917" y="541"/>
                  </a:lnTo>
                  <a:lnTo>
                    <a:pt x="1921" y="537"/>
                  </a:lnTo>
                  <a:lnTo>
                    <a:pt x="1926" y="534"/>
                  </a:lnTo>
                  <a:lnTo>
                    <a:pt x="1933" y="531"/>
                  </a:lnTo>
                  <a:lnTo>
                    <a:pt x="1939" y="530"/>
                  </a:lnTo>
                  <a:lnTo>
                    <a:pt x="1950" y="527"/>
                  </a:lnTo>
                  <a:lnTo>
                    <a:pt x="1961" y="525"/>
                  </a:lnTo>
                  <a:lnTo>
                    <a:pt x="1971" y="522"/>
                  </a:lnTo>
                  <a:lnTo>
                    <a:pt x="1981" y="517"/>
                  </a:lnTo>
                  <a:lnTo>
                    <a:pt x="1990" y="513"/>
                  </a:lnTo>
                  <a:lnTo>
                    <a:pt x="1999" y="507"/>
                  </a:lnTo>
                  <a:lnTo>
                    <a:pt x="2007" y="501"/>
                  </a:lnTo>
                  <a:lnTo>
                    <a:pt x="2015" y="494"/>
                  </a:lnTo>
                  <a:lnTo>
                    <a:pt x="2029" y="481"/>
                  </a:lnTo>
                  <a:lnTo>
                    <a:pt x="2042" y="465"/>
                  </a:lnTo>
                  <a:lnTo>
                    <a:pt x="2051" y="449"/>
                  </a:lnTo>
                  <a:lnTo>
                    <a:pt x="2061" y="433"/>
                  </a:lnTo>
                  <a:lnTo>
                    <a:pt x="2067" y="415"/>
                  </a:lnTo>
                  <a:lnTo>
                    <a:pt x="2071" y="398"/>
                  </a:lnTo>
                  <a:lnTo>
                    <a:pt x="2075" y="382"/>
                  </a:lnTo>
                  <a:lnTo>
                    <a:pt x="2075" y="367"/>
                  </a:lnTo>
                  <a:lnTo>
                    <a:pt x="2074" y="354"/>
                  </a:lnTo>
                  <a:lnTo>
                    <a:pt x="2071" y="342"/>
                  </a:lnTo>
                  <a:lnTo>
                    <a:pt x="2070" y="337"/>
                  </a:lnTo>
                  <a:lnTo>
                    <a:pt x="2066" y="333"/>
                  </a:lnTo>
                  <a:lnTo>
                    <a:pt x="2063" y="329"/>
                  </a:lnTo>
                  <a:lnTo>
                    <a:pt x="2059" y="325"/>
                  </a:lnTo>
                  <a:lnTo>
                    <a:pt x="2043" y="333"/>
                  </a:lnTo>
                  <a:lnTo>
                    <a:pt x="2029" y="339"/>
                  </a:lnTo>
                  <a:lnTo>
                    <a:pt x="2014" y="345"/>
                  </a:lnTo>
                  <a:lnTo>
                    <a:pt x="2002" y="347"/>
                  </a:lnTo>
                  <a:lnTo>
                    <a:pt x="1990" y="349"/>
                  </a:lnTo>
                  <a:lnTo>
                    <a:pt x="1979" y="350"/>
                  </a:lnTo>
                  <a:lnTo>
                    <a:pt x="1969" y="349"/>
                  </a:lnTo>
                  <a:lnTo>
                    <a:pt x="1961" y="346"/>
                  </a:lnTo>
                  <a:lnTo>
                    <a:pt x="1951" y="343"/>
                  </a:lnTo>
                  <a:lnTo>
                    <a:pt x="1943" y="341"/>
                  </a:lnTo>
                  <a:lnTo>
                    <a:pt x="1937" y="335"/>
                  </a:lnTo>
                  <a:lnTo>
                    <a:pt x="1930" y="331"/>
                  </a:lnTo>
                  <a:lnTo>
                    <a:pt x="1917" y="319"/>
                  </a:lnTo>
                  <a:lnTo>
                    <a:pt x="1905" y="307"/>
                  </a:lnTo>
                  <a:lnTo>
                    <a:pt x="1893" y="295"/>
                  </a:lnTo>
                  <a:lnTo>
                    <a:pt x="1881" y="283"/>
                  </a:lnTo>
                  <a:lnTo>
                    <a:pt x="1874" y="278"/>
                  </a:lnTo>
                  <a:lnTo>
                    <a:pt x="1868" y="274"/>
                  </a:lnTo>
                  <a:lnTo>
                    <a:pt x="1860" y="270"/>
                  </a:lnTo>
                  <a:lnTo>
                    <a:pt x="1852" y="267"/>
                  </a:lnTo>
                  <a:lnTo>
                    <a:pt x="1844" y="266"/>
                  </a:lnTo>
                  <a:lnTo>
                    <a:pt x="1834" y="265"/>
                  </a:lnTo>
                  <a:lnTo>
                    <a:pt x="1824" y="265"/>
                  </a:lnTo>
                  <a:lnTo>
                    <a:pt x="1813" y="267"/>
                  </a:lnTo>
                  <a:lnTo>
                    <a:pt x="1801" y="270"/>
                  </a:lnTo>
                  <a:lnTo>
                    <a:pt x="1788" y="274"/>
                  </a:lnTo>
                  <a:lnTo>
                    <a:pt x="1774" y="281"/>
                  </a:lnTo>
                  <a:lnTo>
                    <a:pt x="1758" y="289"/>
                  </a:lnTo>
                  <a:lnTo>
                    <a:pt x="1752" y="293"/>
                  </a:lnTo>
                  <a:lnTo>
                    <a:pt x="1745" y="295"/>
                  </a:lnTo>
                  <a:lnTo>
                    <a:pt x="1741" y="297"/>
                  </a:lnTo>
                  <a:lnTo>
                    <a:pt x="1740" y="295"/>
                  </a:lnTo>
                  <a:lnTo>
                    <a:pt x="1738" y="294"/>
                  </a:lnTo>
                  <a:lnTo>
                    <a:pt x="1738" y="291"/>
                  </a:lnTo>
                  <a:lnTo>
                    <a:pt x="1740" y="287"/>
                  </a:lnTo>
                  <a:lnTo>
                    <a:pt x="1741" y="282"/>
                  </a:lnTo>
                  <a:lnTo>
                    <a:pt x="1756" y="253"/>
                  </a:lnTo>
                  <a:lnTo>
                    <a:pt x="1773" y="210"/>
                  </a:lnTo>
                  <a:lnTo>
                    <a:pt x="1777" y="198"/>
                  </a:lnTo>
                  <a:lnTo>
                    <a:pt x="1780" y="186"/>
                  </a:lnTo>
                  <a:lnTo>
                    <a:pt x="1782" y="173"/>
                  </a:lnTo>
                  <a:lnTo>
                    <a:pt x="1784" y="160"/>
                  </a:lnTo>
                  <a:lnTo>
                    <a:pt x="1784" y="146"/>
                  </a:lnTo>
                  <a:lnTo>
                    <a:pt x="1782" y="133"/>
                  </a:lnTo>
                  <a:lnTo>
                    <a:pt x="1781" y="120"/>
                  </a:lnTo>
                  <a:lnTo>
                    <a:pt x="1777" y="105"/>
                  </a:lnTo>
                  <a:lnTo>
                    <a:pt x="1772" y="92"/>
                  </a:lnTo>
                  <a:lnTo>
                    <a:pt x="1764" y="78"/>
                  </a:lnTo>
                  <a:lnTo>
                    <a:pt x="1754" y="65"/>
                  </a:lnTo>
                  <a:lnTo>
                    <a:pt x="1744" y="50"/>
                  </a:lnTo>
                  <a:lnTo>
                    <a:pt x="1730" y="38"/>
                  </a:lnTo>
                  <a:lnTo>
                    <a:pt x="1714" y="25"/>
                  </a:lnTo>
                  <a:lnTo>
                    <a:pt x="1696" y="12"/>
                  </a:lnTo>
                  <a:lnTo>
                    <a:pt x="1674" y="0"/>
                  </a:lnTo>
                  <a:lnTo>
                    <a:pt x="1618" y="32"/>
                  </a:lnTo>
                  <a:lnTo>
                    <a:pt x="1565" y="61"/>
                  </a:lnTo>
                  <a:lnTo>
                    <a:pt x="1540" y="76"/>
                  </a:lnTo>
                  <a:lnTo>
                    <a:pt x="1514" y="90"/>
                  </a:lnTo>
                  <a:lnTo>
                    <a:pt x="1492" y="106"/>
                  </a:lnTo>
                  <a:lnTo>
                    <a:pt x="1470" y="124"/>
                  </a:lnTo>
                  <a:lnTo>
                    <a:pt x="1460" y="133"/>
                  </a:lnTo>
                  <a:lnTo>
                    <a:pt x="1449" y="142"/>
                  </a:lnTo>
                  <a:lnTo>
                    <a:pt x="1441" y="153"/>
                  </a:lnTo>
                  <a:lnTo>
                    <a:pt x="1432" y="164"/>
                  </a:lnTo>
                  <a:lnTo>
                    <a:pt x="1424" y="176"/>
                  </a:lnTo>
                  <a:lnTo>
                    <a:pt x="1416" y="188"/>
                  </a:lnTo>
                  <a:lnTo>
                    <a:pt x="1408" y="200"/>
                  </a:lnTo>
                  <a:lnTo>
                    <a:pt x="1402" y="214"/>
                  </a:lnTo>
                  <a:lnTo>
                    <a:pt x="1396" y="227"/>
                  </a:lnTo>
                  <a:lnTo>
                    <a:pt x="1390" y="243"/>
                  </a:lnTo>
                  <a:lnTo>
                    <a:pt x="1386" y="259"/>
                  </a:lnTo>
                  <a:lnTo>
                    <a:pt x="1382" y="277"/>
                  </a:lnTo>
                  <a:lnTo>
                    <a:pt x="1378" y="294"/>
                  </a:lnTo>
                  <a:lnTo>
                    <a:pt x="1376" y="314"/>
                  </a:lnTo>
                  <a:lnTo>
                    <a:pt x="1374" y="334"/>
                  </a:lnTo>
                  <a:lnTo>
                    <a:pt x="1373" y="355"/>
                  </a:lnTo>
                  <a:lnTo>
                    <a:pt x="1378" y="354"/>
                  </a:lnTo>
                  <a:lnTo>
                    <a:pt x="1390" y="351"/>
                  </a:lnTo>
                  <a:lnTo>
                    <a:pt x="1409" y="349"/>
                  </a:lnTo>
                  <a:lnTo>
                    <a:pt x="1433" y="346"/>
                  </a:lnTo>
                  <a:lnTo>
                    <a:pt x="1446" y="346"/>
                  </a:lnTo>
                  <a:lnTo>
                    <a:pt x="1461" y="346"/>
                  </a:lnTo>
                  <a:lnTo>
                    <a:pt x="1476" y="347"/>
                  </a:lnTo>
                  <a:lnTo>
                    <a:pt x="1490" y="350"/>
                  </a:lnTo>
                  <a:lnTo>
                    <a:pt x="1505" y="354"/>
                  </a:lnTo>
                  <a:lnTo>
                    <a:pt x="1520" y="359"/>
                  </a:lnTo>
                  <a:lnTo>
                    <a:pt x="1534" y="365"/>
                  </a:lnTo>
                  <a:lnTo>
                    <a:pt x="1548" y="374"/>
                  </a:lnTo>
                  <a:lnTo>
                    <a:pt x="1546" y="402"/>
                  </a:lnTo>
                  <a:lnTo>
                    <a:pt x="1544" y="425"/>
                  </a:lnTo>
                  <a:lnTo>
                    <a:pt x="1542" y="434"/>
                  </a:lnTo>
                  <a:lnTo>
                    <a:pt x="1541" y="443"/>
                  </a:lnTo>
                  <a:lnTo>
                    <a:pt x="1538" y="450"/>
                  </a:lnTo>
                  <a:lnTo>
                    <a:pt x="1534" y="457"/>
                  </a:lnTo>
                  <a:lnTo>
                    <a:pt x="1530" y="462"/>
                  </a:lnTo>
                  <a:lnTo>
                    <a:pt x="1525" y="466"/>
                  </a:lnTo>
                  <a:lnTo>
                    <a:pt x="1517" y="469"/>
                  </a:lnTo>
                  <a:lnTo>
                    <a:pt x="1509" y="471"/>
                  </a:lnTo>
                  <a:lnTo>
                    <a:pt x="1498" y="474"/>
                  </a:lnTo>
                  <a:lnTo>
                    <a:pt x="1488" y="475"/>
                  </a:lnTo>
                  <a:lnTo>
                    <a:pt x="1473" y="475"/>
                  </a:lnTo>
                  <a:lnTo>
                    <a:pt x="1457" y="475"/>
                  </a:lnTo>
                  <a:lnTo>
                    <a:pt x="1448" y="475"/>
                  </a:lnTo>
                  <a:lnTo>
                    <a:pt x="1437" y="473"/>
                  </a:lnTo>
                  <a:lnTo>
                    <a:pt x="1426" y="467"/>
                  </a:lnTo>
                  <a:lnTo>
                    <a:pt x="1416" y="463"/>
                  </a:lnTo>
                  <a:lnTo>
                    <a:pt x="1390" y="451"/>
                  </a:lnTo>
                  <a:lnTo>
                    <a:pt x="1362" y="439"/>
                  </a:lnTo>
                  <a:lnTo>
                    <a:pt x="1346" y="434"/>
                  </a:lnTo>
                  <a:lnTo>
                    <a:pt x="1329" y="430"/>
                  </a:lnTo>
                  <a:lnTo>
                    <a:pt x="1310" y="427"/>
                  </a:lnTo>
                  <a:lnTo>
                    <a:pt x="1290" y="427"/>
                  </a:lnTo>
                  <a:lnTo>
                    <a:pt x="1268" y="429"/>
                  </a:lnTo>
                  <a:lnTo>
                    <a:pt x="1242" y="434"/>
                  </a:lnTo>
                  <a:lnTo>
                    <a:pt x="1216" y="441"/>
                  </a:lnTo>
                  <a:lnTo>
                    <a:pt x="1186" y="451"/>
                  </a:lnTo>
                  <a:lnTo>
                    <a:pt x="1168" y="473"/>
                  </a:lnTo>
                  <a:lnTo>
                    <a:pt x="1148" y="491"/>
                  </a:lnTo>
                  <a:lnTo>
                    <a:pt x="1127" y="511"/>
                  </a:lnTo>
                  <a:lnTo>
                    <a:pt x="1107" y="529"/>
                  </a:lnTo>
                  <a:lnTo>
                    <a:pt x="1064" y="563"/>
                  </a:lnTo>
                  <a:lnTo>
                    <a:pt x="1020" y="597"/>
                  </a:lnTo>
                  <a:lnTo>
                    <a:pt x="932" y="658"/>
                  </a:lnTo>
                  <a:lnTo>
                    <a:pt x="841" y="717"/>
                  </a:lnTo>
                  <a:lnTo>
                    <a:pt x="796" y="746"/>
                  </a:lnTo>
                  <a:lnTo>
                    <a:pt x="752" y="777"/>
                  </a:lnTo>
                  <a:lnTo>
                    <a:pt x="709" y="809"/>
                  </a:lnTo>
                  <a:lnTo>
                    <a:pt x="668" y="842"/>
                  </a:lnTo>
                  <a:lnTo>
                    <a:pt x="647" y="859"/>
                  </a:lnTo>
                  <a:lnTo>
                    <a:pt x="627" y="876"/>
                  </a:lnTo>
                  <a:lnTo>
                    <a:pt x="608" y="895"/>
                  </a:lnTo>
                  <a:lnTo>
                    <a:pt x="589" y="914"/>
                  </a:lnTo>
                  <a:lnTo>
                    <a:pt x="571" y="934"/>
                  </a:lnTo>
                  <a:lnTo>
                    <a:pt x="552" y="955"/>
                  </a:lnTo>
                  <a:lnTo>
                    <a:pt x="535" y="976"/>
                  </a:lnTo>
                  <a:lnTo>
                    <a:pt x="519" y="999"/>
                  </a:lnTo>
                  <a:lnTo>
                    <a:pt x="500" y="1028"/>
                  </a:lnTo>
                  <a:lnTo>
                    <a:pt x="483" y="1062"/>
                  </a:lnTo>
                  <a:lnTo>
                    <a:pt x="465" y="1096"/>
                  </a:lnTo>
                  <a:lnTo>
                    <a:pt x="448" y="1134"/>
                  </a:lnTo>
                  <a:lnTo>
                    <a:pt x="431" y="1171"/>
                  </a:lnTo>
                  <a:lnTo>
                    <a:pt x="412" y="1208"/>
                  </a:lnTo>
                  <a:lnTo>
                    <a:pt x="393" y="1243"/>
                  </a:lnTo>
                  <a:lnTo>
                    <a:pt x="373" y="1276"/>
                  </a:lnTo>
                  <a:lnTo>
                    <a:pt x="343" y="1324"/>
                  </a:lnTo>
                  <a:lnTo>
                    <a:pt x="314" y="1368"/>
                  </a:lnTo>
                  <a:lnTo>
                    <a:pt x="287" y="1407"/>
                  </a:lnTo>
                  <a:lnTo>
                    <a:pt x="264" y="1440"/>
                  </a:lnTo>
                  <a:lnTo>
                    <a:pt x="255" y="1456"/>
                  </a:lnTo>
                  <a:lnTo>
                    <a:pt x="248" y="1469"/>
                  </a:lnTo>
                  <a:lnTo>
                    <a:pt x="242" y="1483"/>
                  </a:lnTo>
                  <a:lnTo>
                    <a:pt x="238" y="1493"/>
                  </a:lnTo>
                  <a:lnTo>
                    <a:pt x="235" y="1503"/>
                  </a:lnTo>
                  <a:lnTo>
                    <a:pt x="235" y="1511"/>
                  </a:lnTo>
                  <a:lnTo>
                    <a:pt x="236" y="1515"/>
                  </a:lnTo>
                  <a:lnTo>
                    <a:pt x="238" y="1519"/>
                  </a:lnTo>
                  <a:lnTo>
                    <a:pt x="239" y="1521"/>
                  </a:lnTo>
                  <a:lnTo>
                    <a:pt x="242" y="1523"/>
                  </a:lnTo>
                  <a:lnTo>
                    <a:pt x="259" y="1536"/>
                  </a:lnTo>
                  <a:lnTo>
                    <a:pt x="274" y="1545"/>
                  </a:lnTo>
                  <a:lnTo>
                    <a:pt x="287" y="1553"/>
                  </a:lnTo>
                  <a:lnTo>
                    <a:pt x="299" y="1560"/>
                  </a:lnTo>
                  <a:lnTo>
                    <a:pt x="310" y="1564"/>
                  </a:lnTo>
                  <a:lnTo>
                    <a:pt x="319" y="1567"/>
                  </a:lnTo>
                  <a:lnTo>
                    <a:pt x="328" y="1569"/>
                  </a:lnTo>
                  <a:lnTo>
                    <a:pt x="338" y="1569"/>
                  </a:lnTo>
                  <a:lnTo>
                    <a:pt x="355" y="1571"/>
                  </a:lnTo>
                  <a:lnTo>
                    <a:pt x="375" y="1569"/>
                  </a:lnTo>
                  <a:lnTo>
                    <a:pt x="397" y="1569"/>
                  </a:lnTo>
                  <a:lnTo>
                    <a:pt x="428" y="1572"/>
                  </a:lnTo>
                  <a:lnTo>
                    <a:pt x="435" y="1568"/>
                  </a:lnTo>
                  <a:lnTo>
                    <a:pt x="441" y="1565"/>
                  </a:lnTo>
                  <a:lnTo>
                    <a:pt x="448" y="1564"/>
                  </a:lnTo>
                  <a:lnTo>
                    <a:pt x="455" y="1563"/>
                  </a:lnTo>
                  <a:lnTo>
                    <a:pt x="460" y="1564"/>
                  </a:lnTo>
                  <a:lnTo>
                    <a:pt x="465" y="1564"/>
                  </a:lnTo>
                  <a:lnTo>
                    <a:pt x="471" y="1565"/>
                  </a:lnTo>
                  <a:lnTo>
                    <a:pt x="475" y="1568"/>
                  </a:lnTo>
                  <a:lnTo>
                    <a:pt x="484" y="1573"/>
                  </a:lnTo>
                  <a:lnTo>
                    <a:pt x="491" y="1581"/>
                  </a:lnTo>
                  <a:lnTo>
                    <a:pt x="497" y="1591"/>
                  </a:lnTo>
                  <a:lnTo>
                    <a:pt x="503" y="1601"/>
                  </a:lnTo>
                  <a:lnTo>
                    <a:pt x="511" y="1623"/>
                  </a:lnTo>
                  <a:lnTo>
                    <a:pt x="515" y="1641"/>
                  </a:lnTo>
                  <a:lnTo>
                    <a:pt x="517" y="1656"/>
                  </a:lnTo>
                  <a:lnTo>
                    <a:pt x="519" y="1661"/>
                  </a:lnTo>
                  <a:lnTo>
                    <a:pt x="512" y="1668"/>
                  </a:lnTo>
                  <a:lnTo>
                    <a:pt x="508" y="1675"/>
                  </a:lnTo>
                  <a:lnTo>
                    <a:pt x="505" y="1683"/>
                  </a:lnTo>
                  <a:lnTo>
                    <a:pt x="503" y="1689"/>
                  </a:lnTo>
                  <a:lnTo>
                    <a:pt x="499" y="1705"/>
                  </a:lnTo>
                  <a:lnTo>
                    <a:pt x="495" y="1719"/>
                  </a:lnTo>
                  <a:lnTo>
                    <a:pt x="491" y="1724"/>
                  </a:lnTo>
                  <a:lnTo>
                    <a:pt x="484" y="1728"/>
                  </a:lnTo>
                  <a:lnTo>
                    <a:pt x="477" y="1731"/>
                  </a:lnTo>
                  <a:lnTo>
                    <a:pt x="468" y="1732"/>
                  </a:lnTo>
                  <a:lnTo>
                    <a:pt x="455" y="1732"/>
                  </a:lnTo>
                  <a:lnTo>
                    <a:pt x="440" y="1729"/>
                  </a:lnTo>
                  <a:lnTo>
                    <a:pt x="420" y="1724"/>
                  </a:lnTo>
                  <a:lnTo>
                    <a:pt x="397" y="1716"/>
                  </a:lnTo>
                  <a:lnTo>
                    <a:pt x="388" y="1729"/>
                  </a:lnTo>
                  <a:lnTo>
                    <a:pt x="379" y="1741"/>
                  </a:lnTo>
                  <a:lnTo>
                    <a:pt x="370" y="1751"/>
                  </a:lnTo>
                  <a:lnTo>
                    <a:pt x="359" y="1757"/>
                  </a:lnTo>
                  <a:lnTo>
                    <a:pt x="348" y="1764"/>
                  </a:lnTo>
                  <a:lnTo>
                    <a:pt x="338" y="1768"/>
                  </a:lnTo>
                  <a:lnTo>
                    <a:pt x="326" y="1769"/>
                  </a:lnTo>
                  <a:lnTo>
                    <a:pt x="315" y="1771"/>
                  </a:lnTo>
                  <a:lnTo>
                    <a:pt x="303" y="1769"/>
                  </a:lnTo>
                  <a:lnTo>
                    <a:pt x="291" y="1768"/>
                  </a:lnTo>
                  <a:lnTo>
                    <a:pt x="279" y="1764"/>
                  </a:lnTo>
                  <a:lnTo>
                    <a:pt x="267" y="1760"/>
                  </a:lnTo>
                  <a:lnTo>
                    <a:pt x="242" y="1749"/>
                  </a:lnTo>
                  <a:lnTo>
                    <a:pt x="218" y="1735"/>
                  </a:lnTo>
                  <a:lnTo>
                    <a:pt x="208" y="1731"/>
                  </a:lnTo>
                  <a:lnTo>
                    <a:pt x="202" y="1729"/>
                  </a:lnTo>
                  <a:lnTo>
                    <a:pt x="199" y="1731"/>
                  </a:lnTo>
                  <a:lnTo>
                    <a:pt x="198" y="1732"/>
                  </a:lnTo>
                  <a:lnTo>
                    <a:pt x="196" y="1735"/>
                  </a:lnTo>
                  <a:lnTo>
                    <a:pt x="195" y="1739"/>
                  </a:lnTo>
                  <a:lnTo>
                    <a:pt x="194" y="1747"/>
                  </a:lnTo>
                  <a:lnTo>
                    <a:pt x="194" y="1756"/>
                  </a:lnTo>
                  <a:lnTo>
                    <a:pt x="195" y="1769"/>
                  </a:lnTo>
                  <a:lnTo>
                    <a:pt x="196" y="1783"/>
                  </a:lnTo>
                  <a:lnTo>
                    <a:pt x="200" y="1816"/>
                  </a:lnTo>
                  <a:lnTo>
                    <a:pt x="202" y="1852"/>
                  </a:lnTo>
                  <a:lnTo>
                    <a:pt x="202" y="1871"/>
                  </a:lnTo>
                  <a:lnTo>
                    <a:pt x="200" y="1889"/>
                  </a:lnTo>
                  <a:lnTo>
                    <a:pt x="198" y="1908"/>
                  </a:lnTo>
                  <a:lnTo>
                    <a:pt x="194" y="1927"/>
                  </a:lnTo>
                  <a:lnTo>
                    <a:pt x="190" y="1936"/>
                  </a:lnTo>
                  <a:lnTo>
                    <a:pt x="186" y="1945"/>
                  </a:lnTo>
                  <a:lnTo>
                    <a:pt x="182" y="1953"/>
                  </a:lnTo>
                  <a:lnTo>
                    <a:pt x="176" y="1963"/>
                  </a:lnTo>
                  <a:lnTo>
                    <a:pt x="164" y="1977"/>
                  </a:lnTo>
                  <a:lnTo>
                    <a:pt x="151" y="1992"/>
                  </a:lnTo>
                  <a:lnTo>
                    <a:pt x="119" y="2020"/>
                  </a:lnTo>
                  <a:lnTo>
                    <a:pt x="86" y="2046"/>
                  </a:lnTo>
                  <a:lnTo>
                    <a:pt x="70" y="2061"/>
                  </a:lnTo>
                  <a:lnTo>
                    <a:pt x="54" y="2076"/>
                  </a:lnTo>
                  <a:lnTo>
                    <a:pt x="39" y="2092"/>
                  </a:lnTo>
                  <a:lnTo>
                    <a:pt x="27" y="2109"/>
                  </a:lnTo>
                  <a:lnTo>
                    <a:pt x="20" y="2118"/>
                  </a:lnTo>
                  <a:lnTo>
                    <a:pt x="16" y="2128"/>
                  </a:lnTo>
                  <a:lnTo>
                    <a:pt x="11" y="2138"/>
                  </a:lnTo>
                  <a:lnTo>
                    <a:pt x="7" y="2149"/>
                  </a:lnTo>
                  <a:lnTo>
                    <a:pt x="4" y="2160"/>
                  </a:lnTo>
                  <a:lnTo>
                    <a:pt x="2" y="2172"/>
                  </a:lnTo>
                  <a:lnTo>
                    <a:pt x="0" y="2185"/>
                  </a:lnTo>
                  <a:lnTo>
                    <a:pt x="0" y="2198"/>
                  </a:lnTo>
                  <a:lnTo>
                    <a:pt x="0" y="2204"/>
                  </a:lnTo>
                  <a:lnTo>
                    <a:pt x="2" y="2210"/>
                  </a:lnTo>
                  <a:lnTo>
                    <a:pt x="3" y="2218"/>
                  </a:lnTo>
                  <a:lnTo>
                    <a:pt x="7" y="2228"/>
                  </a:lnTo>
                  <a:lnTo>
                    <a:pt x="16" y="2226"/>
                  </a:lnTo>
                  <a:lnTo>
                    <a:pt x="26" y="2226"/>
                  </a:lnTo>
                  <a:lnTo>
                    <a:pt x="32" y="2228"/>
                  </a:lnTo>
                  <a:lnTo>
                    <a:pt x="38" y="2229"/>
                  </a:lnTo>
                  <a:lnTo>
                    <a:pt x="46" y="2232"/>
                  </a:lnTo>
                  <a:lnTo>
                    <a:pt x="55" y="2234"/>
                  </a:lnTo>
                  <a:lnTo>
                    <a:pt x="68" y="2234"/>
                  </a:lnTo>
                  <a:lnTo>
                    <a:pt x="83" y="2237"/>
                  </a:lnTo>
                  <a:lnTo>
                    <a:pt x="99" y="2241"/>
                  </a:lnTo>
                  <a:lnTo>
                    <a:pt x="115" y="2248"/>
                  </a:lnTo>
                  <a:lnTo>
                    <a:pt x="132" y="2254"/>
                  </a:lnTo>
                  <a:lnTo>
                    <a:pt x="151" y="2262"/>
                  </a:lnTo>
                  <a:lnTo>
                    <a:pt x="168" y="2272"/>
                  </a:lnTo>
                  <a:lnTo>
                    <a:pt x="184" y="2282"/>
                  </a:lnTo>
                  <a:lnTo>
                    <a:pt x="202" y="2293"/>
                  </a:lnTo>
                  <a:lnTo>
                    <a:pt x="216" y="2305"/>
                  </a:lnTo>
                  <a:lnTo>
                    <a:pt x="230" y="2317"/>
                  </a:lnTo>
                  <a:lnTo>
                    <a:pt x="242" y="2330"/>
                  </a:lnTo>
                  <a:lnTo>
                    <a:pt x="252" y="2344"/>
                  </a:lnTo>
                  <a:lnTo>
                    <a:pt x="259" y="2357"/>
                  </a:lnTo>
                  <a:lnTo>
                    <a:pt x="262" y="2364"/>
                  </a:lnTo>
                  <a:lnTo>
                    <a:pt x="264" y="2370"/>
                  </a:lnTo>
                  <a:lnTo>
                    <a:pt x="266" y="2377"/>
                  </a:lnTo>
                  <a:lnTo>
                    <a:pt x="266" y="2385"/>
                  </a:lnTo>
                  <a:lnTo>
                    <a:pt x="266" y="2396"/>
                  </a:lnTo>
                  <a:lnTo>
                    <a:pt x="264" y="2405"/>
                  </a:lnTo>
                  <a:lnTo>
                    <a:pt x="262" y="2413"/>
                  </a:lnTo>
                  <a:lnTo>
                    <a:pt x="260" y="2420"/>
                  </a:lnTo>
                  <a:lnTo>
                    <a:pt x="254" y="2432"/>
                  </a:lnTo>
                  <a:lnTo>
                    <a:pt x="247" y="2441"/>
                  </a:lnTo>
                  <a:lnTo>
                    <a:pt x="239" y="2449"/>
                  </a:lnTo>
                  <a:lnTo>
                    <a:pt x="232" y="2457"/>
                  </a:lnTo>
                  <a:lnTo>
                    <a:pt x="227" y="2465"/>
                  </a:lnTo>
                  <a:lnTo>
                    <a:pt x="223" y="2474"/>
                  </a:lnTo>
                  <a:lnTo>
                    <a:pt x="220" y="2484"/>
                  </a:lnTo>
                  <a:lnTo>
                    <a:pt x="219" y="2492"/>
                  </a:lnTo>
                  <a:lnTo>
                    <a:pt x="219" y="2500"/>
                  </a:lnTo>
                  <a:lnTo>
                    <a:pt x="222" y="2508"/>
                  </a:lnTo>
                  <a:lnTo>
                    <a:pt x="223" y="2516"/>
                  </a:lnTo>
                  <a:lnTo>
                    <a:pt x="224" y="2524"/>
                  </a:lnTo>
                  <a:lnTo>
                    <a:pt x="224" y="2532"/>
                  </a:lnTo>
                  <a:lnTo>
                    <a:pt x="223" y="2541"/>
                  </a:lnTo>
                  <a:lnTo>
                    <a:pt x="218" y="2554"/>
                  </a:lnTo>
                  <a:lnTo>
                    <a:pt x="212" y="2566"/>
                  </a:lnTo>
                  <a:lnTo>
                    <a:pt x="206" y="2578"/>
                  </a:lnTo>
                  <a:lnTo>
                    <a:pt x="198" y="2590"/>
                  </a:lnTo>
                  <a:lnTo>
                    <a:pt x="182" y="2611"/>
                  </a:lnTo>
                  <a:lnTo>
                    <a:pt x="166" y="2633"/>
                  </a:lnTo>
                  <a:lnTo>
                    <a:pt x="159" y="2643"/>
                  </a:lnTo>
                  <a:lnTo>
                    <a:pt x="151" y="2654"/>
                  </a:lnTo>
                  <a:lnTo>
                    <a:pt x="144" y="2666"/>
                  </a:lnTo>
                  <a:lnTo>
                    <a:pt x="139" y="2678"/>
                  </a:lnTo>
                  <a:lnTo>
                    <a:pt x="134" y="2690"/>
                  </a:lnTo>
                  <a:lnTo>
                    <a:pt x="130" y="2703"/>
                  </a:lnTo>
                  <a:lnTo>
                    <a:pt x="128" y="2718"/>
                  </a:lnTo>
                  <a:lnTo>
                    <a:pt x="127" y="2734"/>
                  </a:lnTo>
                  <a:lnTo>
                    <a:pt x="127" y="2742"/>
                  </a:lnTo>
                  <a:lnTo>
                    <a:pt x="128" y="2750"/>
                  </a:lnTo>
                  <a:lnTo>
                    <a:pt x="130" y="2757"/>
                  </a:lnTo>
                  <a:lnTo>
                    <a:pt x="131" y="2762"/>
                  </a:lnTo>
                  <a:lnTo>
                    <a:pt x="134" y="2767"/>
                  </a:lnTo>
                  <a:lnTo>
                    <a:pt x="136" y="2771"/>
                  </a:lnTo>
                  <a:lnTo>
                    <a:pt x="140" y="2775"/>
                  </a:lnTo>
                  <a:lnTo>
                    <a:pt x="144" y="2778"/>
                  </a:lnTo>
                  <a:lnTo>
                    <a:pt x="154" y="2782"/>
                  </a:lnTo>
                  <a:lnTo>
                    <a:pt x="166" y="2783"/>
                  </a:lnTo>
                  <a:lnTo>
                    <a:pt x="178" y="2783"/>
                  </a:lnTo>
                  <a:lnTo>
                    <a:pt x="194" y="2782"/>
                  </a:lnTo>
                  <a:lnTo>
                    <a:pt x="196" y="2790"/>
                  </a:lnTo>
                  <a:lnTo>
                    <a:pt x="199" y="2799"/>
                  </a:lnTo>
                  <a:lnTo>
                    <a:pt x="200" y="2806"/>
                  </a:lnTo>
                  <a:lnTo>
                    <a:pt x="200" y="2814"/>
                  </a:lnTo>
                  <a:lnTo>
                    <a:pt x="200" y="2829"/>
                  </a:lnTo>
                  <a:lnTo>
                    <a:pt x="199" y="2842"/>
                  </a:lnTo>
                  <a:lnTo>
                    <a:pt x="200" y="2846"/>
                  </a:lnTo>
                  <a:lnTo>
                    <a:pt x="202" y="2849"/>
                  </a:lnTo>
                  <a:lnTo>
                    <a:pt x="203" y="2853"/>
                  </a:lnTo>
                  <a:lnTo>
                    <a:pt x="207" y="2857"/>
                  </a:lnTo>
                  <a:lnTo>
                    <a:pt x="215" y="2865"/>
                  </a:lnTo>
                  <a:lnTo>
                    <a:pt x="227" y="2873"/>
                  </a:lnTo>
                  <a:lnTo>
                    <a:pt x="240" y="2879"/>
                  </a:lnTo>
                  <a:lnTo>
                    <a:pt x="255" y="2885"/>
                  </a:lnTo>
                  <a:lnTo>
                    <a:pt x="272" y="2889"/>
                  </a:lnTo>
                  <a:lnTo>
                    <a:pt x="290" y="2890"/>
                  </a:lnTo>
                  <a:lnTo>
                    <a:pt x="300" y="2890"/>
                  </a:lnTo>
                  <a:lnTo>
                    <a:pt x="311" y="2887"/>
                  </a:lnTo>
                  <a:lnTo>
                    <a:pt x="322" y="2885"/>
                  </a:lnTo>
                  <a:lnTo>
                    <a:pt x="332" y="2881"/>
                  </a:lnTo>
                  <a:lnTo>
                    <a:pt x="342" y="2878"/>
                  </a:lnTo>
                  <a:lnTo>
                    <a:pt x="352" y="2875"/>
                  </a:lnTo>
                  <a:lnTo>
                    <a:pt x="363" y="2873"/>
                  </a:lnTo>
                  <a:lnTo>
                    <a:pt x="373" y="2873"/>
                  </a:lnTo>
                  <a:lnTo>
                    <a:pt x="389" y="2873"/>
                  </a:lnTo>
                  <a:lnTo>
                    <a:pt x="403" y="2877"/>
                  </a:lnTo>
                  <a:lnTo>
                    <a:pt x="412" y="2881"/>
                  </a:lnTo>
                  <a:lnTo>
                    <a:pt x="421" y="2887"/>
                  </a:lnTo>
                  <a:lnTo>
                    <a:pt x="428" y="2895"/>
                  </a:lnTo>
                  <a:lnTo>
                    <a:pt x="433" y="2903"/>
                  </a:lnTo>
                  <a:lnTo>
                    <a:pt x="437" y="2913"/>
                  </a:lnTo>
                  <a:lnTo>
                    <a:pt x="441" y="2922"/>
                  </a:lnTo>
                  <a:lnTo>
                    <a:pt x="448" y="2941"/>
                  </a:lnTo>
                  <a:lnTo>
                    <a:pt x="455" y="2958"/>
                  </a:lnTo>
                  <a:lnTo>
                    <a:pt x="460" y="2966"/>
                  </a:lnTo>
                  <a:lnTo>
                    <a:pt x="465" y="2973"/>
                  </a:lnTo>
                  <a:lnTo>
                    <a:pt x="473" y="2977"/>
                  </a:lnTo>
                  <a:lnTo>
                    <a:pt x="483" y="2981"/>
                  </a:lnTo>
                  <a:lnTo>
                    <a:pt x="495" y="298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4" name="Freeform 84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6229350" y="3576638"/>
              <a:ext cx="1014413" cy="617537"/>
            </a:xfrm>
            <a:custGeom>
              <a:avLst/>
              <a:gdLst/>
              <a:ahLst/>
              <a:cxnLst>
                <a:cxn ang="0">
                  <a:pos x="2296" y="1318"/>
                </a:cxn>
                <a:cxn ang="0">
                  <a:pos x="2214" y="1214"/>
                </a:cxn>
                <a:cxn ang="0">
                  <a:pos x="2139" y="1206"/>
                </a:cxn>
                <a:cxn ang="0">
                  <a:pos x="2071" y="1165"/>
                </a:cxn>
                <a:cxn ang="0">
                  <a:pos x="2039" y="1060"/>
                </a:cxn>
                <a:cxn ang="0">
                  <a:pos x="2055" y="948"/>
                </a:cxn>
                <a:cxn ang="0">
                  <a:pos x="2046" y="881"/>
                </a:cxn>
                <a:cxn ang="0">
                  <a:pos x="2118" y="757"/>
                </a:cxn>
                <a:cxn ang="0">
                  <a:pos x="2168" y="653"/>
                </a:cxn>
                <a:cxn ang="0">
                  <a:pos x="2155" y="597"/>
                </a:cxn>
                <a:cxn ang="0">
                  <a:pos x="2106" y="548"/>
                </a:cxn>
                <a:cxn ang="0">
                  <a:pos x="2227" y="512"/>
                </a:cxn>
                <a:cxn ang="0">
                  <a:pos x="2298" y="448"/>
                </a:cxn>
                <a:cxn ang="0">
                  <a:pos x="2207" y="268"/>
                </a:cxn>
                <a:cxn ang="0">
                  <a:pos x="2151" y="245"/>
                </a:cxn>
                <a:cxn ang="0">
                  <a:pos x="2075" y="321"/>
                </a:cxn>
                <a:cxn ang="0">
                  <a:pos x="2011" y="376"/>
                </a:cxn>
                <a:cxn ang="0">
                  <a:pos x="1967" y="476"/>
                </a:cxn>
                <a:cxn ang="0">
                  <a:pos x="1892" y="531"/>
                </a:cxn>
                <a:cxn ang="0">
                  <a:pos x="1835" y="552"/>
                </a:cxn>
                <a:cxn ang="0">
                  <a:pos x="1739" y="483"/>
                </a:cxn>
                <a:cxn ang="0">
                  <a:pos x="1654" y="512"/>
                </a:cxn>
                <a:cxn ang="0">
                  <a:pos x="1594" y="469"/>
                </a:cxn>
                <a:cxn ang="0">
                  <a:pos x="1630" y="389"/>
                </a:cxn>
                <a:cxn ang="0">
                  <a:pos x="1619" y="328"/>
                </a:cxn>
                <a:cxn ang="0">
                  <a:pos x="1635" y="271"/>
                </a:cxn>
                <a:cxn ang="0">
                  <a:pos x="1683" y="50"/>
                </a:cxn>
                <a:cxn ang="0">
                  <a:pos x="1651" y="4"/>
                </a:cxn>
                <a:cxn ang="0">
                  <a:pos x="1535" y="27"/>
                </a:cxn>
                <a:cxn ang="0">
                  <a:pos x="1365" y="132"/>
                </a:cxn>
                <a:cxn ang="0">
                  <a:pos x="1225" y="281"/>
                </a:cxn>
                <a:cxn ang="0">
                  <a:pos x="1099" y="335"/>
                </a:cxn>
                <a:cxn ang="0">
                  <a:pos x="962" y="441"/>
                </a:cxn>
                <a:cxn ang="0">
                  <a:pos x="837" y="469"/>
                </a:cxn>
                <a:cxn ang="0">
                  <a:pos x="673" y="519"/>
                </a:cxn>
                <a:cxn ang="0">
                  <a:pos x="552" y="459"/>
                </a:cxn>
                <a:cxn ang="0">
                  <a:pos x="421" y="477"/>
                </a:cxn>
                <a:cxn ang="0">
                  <a:pos x="199" y="483"/>
                </a:cxn>
                <a:cxn ang="0">
                  <a:pos x="76" y="508"/>
                </a:cxn>
                <a:cxn ang="0">
                  <a:pos x="0" y="596"/>
                </a:cxn>
                <a:cxn ang="0">
                  <a:pos x="51" y="656"/>
                </a:cxn>
                <a:cxn ang="0">
                  <a:pos x="124" y="684"/>
                </a:cxn>
                <a:cxn ang="0">
                  <a:pos x="109" y="734"/>
                </a:cxn>
                <a:cxn ang="0">
                  <a:pos x="143" y="778"/>
                </a:cxn>
                <a:cxn ang="0">
                  <a:pos x="236" y="716"/>
                </a:cxn>
                <a:cxn ang="0">
                  <a:pos x="290" y="761"/>
                </a:cxn>
                <a:cxn ang="0">
                  <a:pos x="338" y="786"/>
                </a:cxn>
                <a:cxn ang="0">
                  <a:pos x="377" y="766"/>
                </a:cxn>
                <a:cxn ang="0">
                  <a:pos x="445" y="880"/>
                </a:cxn>
                <a:cxn ang="0">
                  <a:pos x="444" y="938"/>
                </a:cxn>
                <a:cxn ang="0">
                  <a:pos x="518" y="1008"/>
                </a:cxn>
                <a:cxn ang="0">
                  <a:pos x="474" y="1037"/>
                </a:cxn>
                <a:cxn ang="0">
                  <a:pos x="498" y="1084"/>
                </a:cxn>
                <a:cxn ang="0">
                  <a:pos x="586" y="1177"/>
                </a:cxn>
                <a:cxn ang="0">
                  <a:pos x="765" y="1124"/>
                </a:cxn>
                <a:cxn ang="0">
                  <a:pos x="1002" y="1085"/>
                </a:cxn>
                <a:cxn ang="0">
                  <a:pos x="1133" y="1072"/>
                </a:cxn>
                <a:cxn ang="0">
                  <a:pos x="1365" y="1218"/>
                </a:cxn>
                <a:cxn ang="0">
                  <a:pos x="1786" y="1627"/>
                </a:cxn>
                <a:cxn ang="0">
                  <a:pos x="1875" y="1651"/>
                </a:cxn>
                <a:cxn ang="0">
                  <a:pos x="2043" y="1565"/>
                </a:cxn>
                <a:cxn ang="0">
                  <a:pos x="2282" y="1566"/>
                </a:cxn>
              </a:cxnLst>
              <a:rect l="0" t="0" r="r" b="b"/>
              <a:pathLst>
                <a:path w="2364" h="1653">
                  <a:moveTo>
                    <a:pt x="2364" y="1379"/>
                  </a:moveTo>
                  <a:lnTo>
                    <a:pt x="2358" y="1377"/>
                  </a:lnTo>
                  <a:lnTo>
                    <a:pt x="2350" y="1374"/>
                  </a:lnTo>
                  <a:lnTo>
                    <a:pt x="2343" y="1371"/>
                  </a:lnTo>
                  <a:lnTo>
                    <a:pt x="2336" y="1367"/>
                  </a:lnTo>
                  <a:lnTo>
                    <a:pt x="2326" y="1357"/>
                  </a:lnTo>
                  <a:lnTo>
                    <a:pt x="2315" y="1345"/>
                  </a:lnTo>
                  <a:lnTo>
                    <a:pt x="2306" y="1333"/>
                  </a:lnTo>
                  <a:lnTo>
                    <a:pt x="2296" y="1318"/>
                  </a:lnTo>
                  <a:lnTo>
                    <a:pt x="2288" y="1304"/>
                  </a:lnTo>
                  <a:lnTo>
                    <a:pt x="2280" y="1289"/>
                  </a:lnTo>
                  <a:lnTo>
                    <a:pt x="2271" y="1273"/>
                  </a:lnTo>
                  <a:lnTo>
                    <a:pt x="2263" y="1260"/>
                  </a:lnTo>
                  <a:lnTo>
                    <a:pt x="2254" y="1246"/>
                  </a:lnTo>
                  <a:lnTo>
                    <a:pt x="2244" y="1234"/>
                  </a:lnTo>
                  <a:lnTo>
                    <a:pt x="2232" y="1225"/>
                  </a:lnTo>
                  <a:lnTo>
                    <a:pt x="2220" y="1217"/>
                  </a:lnTo>
                  <a:lnTo>
                    <a:pt x="2214" y="1214"/>
                  </a:lnTo>
                  <a:lnTo>
                    <a:pt x="2206" y="1213"/>
                  </a:lnTo>
                  <a:lnTo>
                    <a:pt x="2199" y="1212"/>
                  </a:lnTo>
                  <a:lnTo>
                    <a:pt x="2190" y="1210"/>
                  </a:lnTo>
                  <a:lnTo>
                    <a:pt x="2180" y="1210"/>
                  </a:lnTo>
                  <a:lnTo>
                    <a:pt x="2175" y="1210"/>
                  </a:lnTo>
                  <a:lnTo>
                    <a:pt x="2167" y="1210"/>
                  </a:lnTo>
                  <a:lnTo>
                    <a:pt x="2154" y="1210"/>
                  </a:lnTo>
                  <a:lnTo>
                    <a:pt x="2146" y="1210"/>
                  </a:lnTo>
                  <a:lnTo>
                    <a:pt x="2139" y="1206"/>
                  </a:lnTo>
                  <a:lnTo>
                    <a:pt x="2134" y="1202"/>
                  </a:lnTo>
                  <a:lnTo>
                    <a:pt x="2130" y="1197"/>
                  </a:lnTo>
                  <a:lnTo>
                    <a:pt x="2123" y="1182"/>
                  </a:lnTo>
                  <a:lnTo>
                    <a:pt x="2118" y="1169"/>
                  </a:lnTo>
                  <a:lnTo>
                    <a:pt x="2106" y="1172"/>
                  </a:lnTo>
                  <a:lnTo>
                    <a:pt x="2095" y="1172"/>
                  </a:lnTo>
                  <a:lnTo>
                    <a:pt x="2086" y="1172"/>
                  </a:lnTo>
                  <a:lnTo>
                    <a:pt x="2078" y="1169"/>
                  </a:lnTo>
                  <a:lnTo>
                    <a:pt x="2071" y="1165"/>
                  </a:lnTo>
                  <a:lnTo>
                    <a:pt x="2064" y="1160"/>
                  </a:lnTo>
                  <a:lnTo>
                    <a:pt x="2059" y="1153"/>
                  </a:lnTo>
                  <a:lnTo>
                    <a:pt x="2054" y="1146"/>
                  </a:lnTo>
                  <a:lnTo>
                    <a:pt x="2050" y="1138"/>
                  </a:lnTo>
                  <a:lnTo>
                    <a:pt x="2047" y="1129"/>
                  </a:lnTo>
                  <a:lnTo>
                    <a:pt x="2044" y="1118"/>
                  </a:lnTo>
                  <a:lnTo>
                    <a:pt x="2043" y="1108"/>
                  </a:lnTo>
                  <a:lnTo>
                    <a:pt x="2040" y="1085"/>
                  </a:lnTo>
                  <a:lnTo>
                    <a:pt x="2039" y="1060"/>
                  </a:lnTo>
                  <a:lnTo>
                    <a:pt x="2040" y="1044"/>
                  </a:lnTo>
                  <a:lnTo>
                    <a:pt x="2043" y="1028"/>
                  </a:lnTo>
                  <a:lnTo>
                    <a:pt x="2048" y="1014"/>
                  </a:lnTo>
                  <a:lnTo>
                    <a:pt x="2054" y="1002"/>
                  </a:lnTo>
                  <a:lnTo>
                    <a:pt x="2066" y="980"/>
                  </a:lnTo>
                  <a:lnTo>
                    <a:pt x="2076" y="958"/>
                  </a:lnTo>
                  <a:lnTo>
                    <a:pt x="2068" y="956"/>
                  </a:lnTo>
                  <a:lnTo>
                    <a:pt x="2062" y="952"/>
                  </a:lnTo>
                  <a:lnTo>
                    <a:pt x="2055" y="948"/>
                  </a:lnTo>
                  <a:lnTo>
                    <a:pt x="2048" y="942"/>
                  </a:lnTo>
                  <a:lnTo>
                    <a:pt x="2042" y="937"/>
                  </a:lnTo>
                  <a:lnTo>
                    <a:pt x="2038" y="929"/>
                  </a:lnTo>
                  <a:lnTo>
                    <a:pt x="2035" y="920"/>
                  </a:lnTo>
                  <a:lnTo>
                    <a:pt x="2034" y="909"/>
                  </a:lnTo>
                  <a:lnTo>
                    <a:pt x="2035" y="902"/>
                  </a:lnTo>
                  <a:lnTo>
                    <a:pt x="2036" y="896"/>
                  </a:lnTo>
                  <a:lnTo>
                    <a:pt x="2040" y="889"/>
                  </a:lnTo>
                  <a:lnTo>
                    <a:pt x="2046" y="881"/>
                  </a:lnTo>
                  <a:lnTo>
                    <a:pt x="2059" y="866"/>
                  </a:lnTo>
                  <a:lnTo>
                    <a:pt x="2074" y="849"/>
                  </a:lnTo>
                  <a:lnTo>
                    <a:pt x="2088" y="832"/>
                  </a:lnTo>
                  <a:lnTo>
                    <a:pt x="2102" y="813"/>
                  </a:lnTo>
                  <a:lnTo>
                    <a:pt x="2108" y="804"/>
                  </a:lnTo>
                  <a:lnTo>
                    <a:pt x="2112" y="793"/>
                  </a:lnTo>
                  <a:lnTo>
                    <a:pt x="2116" y="782"/>
                  </a:lnTo>
                  <a:lnTo>
                    <a:pt x="2118" y="772"/>
                  </a:lnTo>
                  <a:lnTo>
                    <a:pt x="2118" y="757"/>
                  </a:lnTo>
                  <a:lnTo>
                    <a:pt x="2118" y="734"/>
                  </a:lnTo>
                  <a:lnTo>
                    <a:pt x="2119" y="725"/>
                  </a:lnTo>
                  <a:lnTo>
                    <a:pt x="2120" y="717"/>
                  </a:lnTo>
                  <a:lnTo>
                    <a:pt x="2123" y="709"/>
                  </a:lnTo>
                  <a:lnTo>
                    <a:pt x="2127" y="701"/>
                  </a:lnTo>
                  <a:lnTo>
                    <a:pt x="2136" y="688"/>
                  </a:lnTo>
                  <a:lnTo>
                    <a:pt x="2148" y="676"/>
                  </a:lnTo>
                  <a:lnTo>
                    <a:pt x="2159" y="665"/>
                  </a:lnTo>
                  <a:lnTo>
                    <a:pt x="2168" y="653"/>
                  </a:lnTo>
                  <a:lnTo>
                    <a:pt x="2172" y="648"/>
                  </a:lnTo>
                  <a:lnTo>
                    <a:pt x="2175" y="641"/>
                  </a:lnTo>
                  <a:lnTo>
                    <a:pt x="2178" y="635"/>
                  </a:lnTo>
                  <a:lnTo>
                    <a:pt x="2178" y="627"/>
                  </a:lnTo>
                  <a:lnTo>
                    <a:pt x="2178" y="619"/>
                  </a:lnTo>
                  <a:lnTo>
                    <a:pt x="2175" y="612"/>
                  </a:lnTo>
                  <a:lnTo>
                    <a:pt x="2171" y="607"/>
                  </a:lnTo>
                  <a:lnTo>
                    <a:pt x="2167" y="603"/>
                  </a:lnTo>
                  <a:lnTo>
                    <a:pt x="2155" y="597"/>
                  </a:lnTo>
                  <a:lnTo>
                    <a:pt x="2142" y="592"/>
                  </a:lnTo>
                  <a:lnTo>
                    <a:pt x="2135" y="589"/>
                  </a:lnTo>
                  <a:lnTo>
                    <a:pt x="2128" y="587"/>
                  </a:lnTo>
                  <a:lnTo>
                    <a:pt x="2123" y="584"/>
                  </a:lnTo>
                  <a:lnTo>
                    <a:pt x="2118" y="580"/>
                  </a:lnTo>
                  <a:lnTo>
                    <a:pt x="2112" y="573"/>
                  </a:lnTo>
                  <a:lnTo>
                    <a:pt x="2108" y="567"/>
                  </a:lnTo>
                  <a:lnTo>
                    <a:pt x="2107" y="559"/>
                  </a:lnTo>
                  <a:lnTo>
                    <a:pt x="2106" y="548"/>
                  </a:lnTo>
                  <a:lnTo>
                    <a:pt x="2107" y="544"/>
                  </a:lnTo>
                  <a:lnTo>
                    <a:pt x="2108" y="539"/>
                  </a:lnTo>
                  <a:lnTo>
                    <a:pt x="2110" y="533"/>
                  </a:lnTo>
                  <a:lnTo>
                    <a:pt x="2114" y="528"/>
                  </a:lnTo>
                  <a:lnTo>
                    <a:pt x="2118" y="523"/>
                  </a:lnTo>
                  <a:lnTo>
                    <a:pt x="2122" y="519"/>
                  </a:lnTo>
                  <a:lnTo>
                    <a:pt x="2126" y="515"/>
                  </a:lnTo>
                  <a:lnTo>
                    <a:pt x="2130" y="512"/>
                  </a:lnTo>
                  <a:lnTo>
                    <a:pt x="2227" y="512"/>
                  </a:lnTo>
                  <a:lnTo>
                    <a:pt x="2248" y="504"/>
                  </a:lnTo>
                  <a:lnTo>
                    <a:pt x="2271" y="495"/>
                  </a:lnTo>
                  <a:lnTo>
                    <a:pt x="2282" y="488"/>
                  </a:lnTo>
                  <a:lnTo>
                    <a:pt x="2291" y="480"/>
                  </a:lnTo>
                  <a:lnTo>
                    <a:pt x="2294" y="476"/>
                  </a:lnTo>
                  <a:lnTo>
                    <a:pt x="2296" y="471"/>
                  </a:lnTo>
                  <a:lnTo>
                    <a:pt x="2298" y="464"/>
                  </a:lnTo>
                  <a:lnTo>
                    <a:pt x="2299" y="459"/>
                  </a:lnTo>
                  <a:lnTo>
                    <a:pt x="2298" y="448"/>
                  </a:lnTo>
                  <a:lnTo>
                    <a:pt x="2295" y="435"/>
                  </a:lnTo>
                  <a:lnTo>
                    <a:pt x="2290" y="420"/>
                  </a:lnTo>
                  <a:lnTo>
                    <a:pt x="2284" y="404"/>
                  </a:lnTo>
                  <a:lnTo>
                    <a:pt x="2268" y="368"/>
                  </a:lnTo>
                  <a:lnTo>
                    <a:pt x="2248" y="332"/>
                  </a:lnTo>
                  <a:lnTo>
                    <a:pt x="2239" y="313"/>
                  </a:lnTo>
                  <a:lnTo>
                    <a:pt x="2228" y="297"/>
                  </a:lnTo>
                  <a:lnTo>
                    <a:pt x="2218" y="281"/>
                  </a:lnTo>
                  <a:lnTo>
                    <a:pt x="2207" y="268"/>
                  </a:lnTo>
                  <a:lnTo>
                    <a:pt x="2198" y="257"/>
                  </a:lnTo>
                  <a:lnTo>
                    <a:pt x="2188" y="248"/>
                  </a:lnTo>
                  <a:lnTo>
                    <a:pt x="2183" y="245"/>
                  </a:lnTo>
                  <a:lnTo>
                    <a:pt x="2179" y="243"/>
                  </a:lnTo>
                  <a:lnTo>
                    <a:pt x="2176" y="241"/>
                  </a:lnTo>
                  <a:lnTo>
                    <a:pt x="2172" y="241"/>
                  </a:lnTo>
                  <a:lnTo>
                    <a:pt x="2164" y="241"/>
                  </a:lnTo>
                  <a:lnTo>
                    <a:pt x="2158" y="244"/>
                  </a:lnTo>
                  <a:lnTo>
                    <a:pt x="2151" y="245"/>
                  </a:lnTo>
                  <a:lnTo>
                    <a:pt x="2146" y="249"/>
                  </a:lnTo>
                  <a:lnTo>
                    <a:pt x="2135" y="257"/>
                  </a:lnTo>
                  <a:lnTo>
                    <a:pt x="2126" y="268"/>
                  </a:lnTo>
                  <a:lnTo>
                    <a:pt x="2118" y="279"/>
                  </a:lnTo>
                  <a:lnTo>
                    <a:pt x="2110" y="289"/>
                  </a:lnTo>
                  <a:lnTo>
                    <a:pt x="2103" y="300"/>
                  </a:lnTo>
                  <a:lnTo>
                    <a:pt x="2094" y="308"/>
                  </a:lnTo>
                  <a:lnTo>
                    <a:pt x="2084" y="315"/>
                  </a:lnTo>
                  <a:lnTo>
                    <a:pt x="2075" y="321"/>
                  </a:lnTo>
                  <a:lnTo>
                    <a:pt x="2066" y="325"/>
                  </a:lnTo>
                  <a:lnTo>
                    <a:pt x="2055" y="329"/>
                  </a:lnTo>
                  <a:lnTo>
                    <a:pt x="2046" y="333"/>
                  </a:lnTo>
                  <a:lnTo>
                    <a:pt x="2038" y="339"/>
                  </a:lnTo>
                  <a:lnTo>
                    <a:pt x="2028" y="347"/>
                  </a:lnTo>
                  <a:lnTo>
                    <a:pt x="2022" y="356"/>
                  </a:lnTo>
                  <a:lnTo>
                    <a:pt x="2018" y="361"/>
                  </a:lnTo>
                  <a:lnTo>
                    <a:pt x="2014" y="368"/>
                  </a:lnTo>
                  <a:lnTo>
                    <a:pt x="2011" y="376"/>
                  </a:lnTo>
                  <a:lnTo>
                    <a:pt x="2008" y="383"/>
                  </a:lnTo>
                  <a:lnTo>
                    <a:pt x="2003" y="399"/>
                  </a:lnTo>
                  <a:lnTo>
                    <a:pt x="1999" y="416"/>
                  </a:lnTo>
                  <a:lnTo>
                    <a:pt x="1994" y="433"/>
                  </a:lnTo>
                  <a:lnTo>
                    <a:pt x="1987" y="449"/>
                  </a:lnTo>
                  <a:lnTo>
                    <a:pt x="1984" y="456"/>
                  </a:lnTo>
                  <a:lnTo>
                    <a:pt x="1979" y="464"/>
                  </a:lnTo>
                  <a:lnTo>
                    <a:pt x="1974" y="471"/>
                  </a:lnTo>
                  <a:lnTo>
                    <a:pt x="1967" y="476"/>
                  </a:lnTo>
                  <a:lnTo>
                    <a:pt x="1952" y="484"/>
                  </a:lnTo>
                  <a:lnTo>
                    <a:pt x="1938" y="489"/>
                  </a:lnTo>
                  <a:lnTo>
                    <a:pt x="1930" y="493"/>
                  </a:lnTo>
                  <a:lnTo>
                    <a:pt x="1922" y="499"/>
                  </a:lnTo>
                  <a:lnTo>
                    <a:pt x="1914" y="504"/>
                  </a:lnTo>
                  <a:lnTo>
                    <a:pt x="1907" y="512"/>
                  </a:lnTo>
                  <a:lnTo>
                    <a:pt x="1902" y="517"/>
                  </a:lnTo>
                  <a:lnTo>
                    <a:pt x="1896" y="524"/>
                  </a:lnTo>
                  <a:lnTo>
                    <a:pt x="1892" y="531"/>
                  </a:lnTo>
                  <a:lnTo>
                    <a:pt x="1887" y="537"/>
                  </a:lnTo>
                  <a:lnTo>
                    <a:pt x="1883" y="544"/>
                  </a:lnTo>
                  <a:lnTo>
                    <a:pt x="1876" y="549"/>
                  </a:lnTo>
                  <a:lnTo>
                    <a:pt x="1872" y="552"/>
                  </a:lnTo>
                  <a:lnTo>
                    <a:pt x="1868" y="553"/>
                  </a:lnTo>
                  <a:lnTo>
                    <a:pt x="1864" y="555"/>
                  </a:lnTo>
                  <a:lnTo>
                    <a:pt x="1859" y="555"/>
                  </a:lnTo>
                  <a:lnTo>
                    <a:pt x="1846" y="553"/>
                  </a:lnTo>
                  <a:lnTo>
                    <a:pt x="1835" y="552"/>
                  </a:lnTo>
                  <a:lnTo>
                    <a:pt x="1826" y="548"/>
                  </a:lnTo>
                  <a:lnTo>
                    <a:pt x="1818" y="543"/>
                  </a:lnTo>
                  <a:lnTo>
                    <a:pt x="1804" y="532"/>
                  </a:lnTo>
                  <a:lnTo>
                    <a:pt x="1792" y="519"/>
                  </a:lnTo>
                  <a:lnTo>
                    <a:pt x="1782" y="505"/>
                  </a:lnTo>
                  <a:lnTo>
                    <a:pt x="1767" y="493"/>
                  </a:lnTo>
                  <a:lnTo>
                    <a:pt x="1759" y="489"/>
                  </a:lnTo>
                  <a:lnTo>
                    <a:pt x="1750" y="485"/>
                  </a:lnTo>
                  <a:lnTo>
                    <a:pt x="1739" y="483"/>
                  </a:lnTo>
                  <a:lnTo>
                    <a:pt x="1727" y="483"/>
                  </a:lnTo>
                  <a:lnTo>
                    <a:pt x="1717" y="484"/>
                  </a:lnTo>
                  <a:lnTo>
                    <a:pt x="1707" y="487"/>
                  </a:lnTo>
                  <a:lnTo>
                    <a:pt x="1701" y="492"/>
                  </a:lnTo>
                  <a:lnTo>
                    <a:pt x="1693" y="497"/>
                  </a:lnTo>
                  <a:lnTo>
                    <a:pt x="1685" y="503"/>
                  </a:lnTo>
                  <a:lnTo>
                    <a:pt x="1677" y="508"/>
                  </a:lnTo>
                  <a:lnTo>
                    <a:pt x="1666" y="511"/>
                  </a:lnTo>
                  <a:lnTo>
                    <a:pt x="1654" y="512"/>
                  </a:lnTo>
                  <a:lnTo>
                    <a:pt x="1643" y="512"/>
                  </a:lnTo>
                  <a:lnTo>
                    <a:pt x="1633" y="509"/>
                  </a:lnTo>
                  <a:lnTo>
                    <a:pt x="1622" y="505"/>
                  </a:lnTo>
                  <a:lnTo>
                    <a:pt x="1613" y="500"/>
                  </a:lnTo>
                  <a:lnTo>
                    <a:pt x="1605" y="492"/>
                  </a:lnTo>
                  <a:lnTo>
                    <a:pt x="1599" y="484"/>
                  </a:lnTo>
                  <a:lnTo>
                    <a:pt x="1597" y="480"/>
                  </a:lnTo>
                  <a:lnTo>
                    <a:pt x="1595" y="475"/>
                  </a:lnTo>
                  <a:lnTo>
                    <a:pt x="1594" y="469"/>
                  </a:lnTo>
                  <a:lnTo>
                    <a:pt x="1594" y="464"/>
                  </a:lnTo>
                  <a:lnTo>
                    <a:pt x="1594" y="456"/>
                  </a:lnTo>
                  <a:lnTo>
                    <a:pt x="1595" y="449"/>
                  </a:lnTo>
                  <a:lnTo>
                    <a:pt x="1598" y="443"/>
                  </a:lnTo>
                  <a:lnTo>
                    <a:pt x="1601" y="436"/>
                  </a:lnTo>
                  <a:lnTo>
                    <a:pt x="1607" y="424"/>
                  </a:lnTo>
                  <a:lnTo>
                    <a:pt x="1615" y="413"/>
                  </a:lnTo>
                  <a:lnTo>
                    <a:pt x="1623" y="401"/>
                  </a:lnTo>
                  <a:lnTo>
                    <a:pt x="1630" y="389"/>
                  </a:lnTo>
                  <a:lnTo>
                    <a:pt x="1633" y="383"/>
                  </a:lnTo>
                  <a:lnTo>
                    <a:pt x="1634" y="376"/>
                  </a:lnTo>
                  <a:lnTo>
                    <a:pt x="1635" y="369"/>
                  </a:lnTo>
                  <a:lnTo>
                    <a:pt x="1637" y="361"/>
                  </a:lnTo>
                  <a:lnTo>
                    <a:pt x="1635" y="353"/>
                  </a:lnTo>
                  <a:lnTo>
                    <a:pt x="1633" y="347"/>
                  </a:lnTo>
                  <a:lnTo>
                    <a:pt x="1629" y="340"/>
                  </a:lnTo>
                  <a:lnTo>
                    <a:pt x="1625" y="333"/>
                  </a:lnTo>
                  <a:lnTo>
                    <a:pt x="1619" y="328"/>
                  </a:lnTo>
                  <a:lnTo>
                    <a:pt x="1617" y="320"/>
                  </a:lnTo>
                  <a:lnTo>
                    <a:pt x="1613" y="312"/>
                  </a:lnTo>
                  <a:lnTo>
                    <a:pt x="1613" y="301"/>
                  </a:lnTo>
                  <a:lnTo>
                    <a:pt x="1613" y="295"/>
                  </a:lnTo>
                  <a:lnTo>
                    <a:pt x="1617" y="289"/>
                  </a:lnTo>
                  <a:lnTo>
                    <a:pt x="1621" y="285"/>
                  </a:lnTo>
                  <a:lnTo>
                    <a:pt x="1625" y="280"/>
                  </a:lnTo>
                  <a:lnTo>
                    <a:pt x="1630" y="276"/>
                  </a:lnTo>
                  <a:lnTo>
                    <a:pt x="1635" y="271"/>
                  </a:lnTo>
                  <a:lnTo>
                    <a:pt x="1639" y="265"/>
                  </a:lnTo>
                  <a:lnTo>
                    <a:pt x="1642" y="260"/>
                  </a:lnTo>
                  <a:lnTo>
                    <a:pt x="1657" y="213"/>
                  </a:lnTo>
                  <a:lnTo>
                    <a:pt x="1670" y="165"/>
                  </a:lnTo>
                  <a:lnTo>
                    <a:pt x="1675" y="142"/>
                  </a:lnTo>
                  <a:lnTo>
                    <a:pt x="1681" y="116"/>
                  </a:lnTo>
                  <a:lnTo>
                    <a:pt x="1683" y="92"/>
                  </a:lnTo>
                  <a:lnTo>
                    <a:pt x="1685" y="67"/>
                  </a:lnTo>
                  <a:lnTo>
                    <a:pt x="1683" y="50"/>
                  </a:lnTo>
                  <a:lnTo>
                    <a:pt x="1682" y="36"/>
                  </a:lnTo>
                  <a:lnTo>
                    <a:pt x="1681" y="30"/>
                  </a:lnTo>
                  <a:lnTo>
                    <a:pt x="1678" y="24"/>
                  </a:lnTo>
                  <a:lnTo>
                    <a:pt x="1675" y="20"/>
                  </a:lnTo>
                  <a:lnTo>
                    <a:pt x="1671" y="16"/>
                  </a:lnTo>
                  <a:lnTo>
                    <a:pt x="1667" y="12"/>
                  </a:lnTo>
                  <a:lnTo>
                    <a:pt x="1663" y="8"/>
                  </a:lnTo>
                  <a:lnTo>
                    <a:pt x="1658" y="6"/>
                  </a:lnTo>
                  <a:lnTo>
                    <a:pt x="1651" y="4"/>
                  </a:lnTo>
                  <a:lnTo>
                    <a:pt x="1637" y="2"/>
                  </a:lnTo>
                  <a:lnTo>
                    <a:pt x="1618" y="0"/>
                  </a:lnTo>
                  <a:lnTo>
                    <a:pt x="1605" y="2"/>
                  </a:lnTo>
                  <a:lnTo>
                    <a:pt x="1591" y="3"/>
                  </a:lnTo>
                  <a:lnTo>
                    <a:pt x="1578" y="6"/>
                  </a:lnTo>
                  <a:lnTo>
                    <a:pt x="1567" y="10"/>
                  </a:lnTo>
                  <a:lnTo>
                    <a:pt x="1555" y="15"/>
                  </a:lnTo>
                  <a:lnTo>
                    <a:pt x="1546" y="20"/>
                  </a:lnTo>
                  <a:lnTo>
                    <a:pt x="1535" y="27"/>
                  </a:lnTo>
                  <a:lnTo>
                    <a:pt x="1526" y="34"/>
                  </a:lnTo>
                  <a:lnTo>
                    <a:pt x="1509" y="50"/>
                  </a:lnTo>
                  <a:lnTo>
                    <a:pt x="1493" y="67"/>
                  </a:lnTo>
                  <a:lnTo>
                    <a:pt x="1477" y="84"/>
                  </a:lnTo>
                  <a:lnTo>
                    <a:pt x="1462" y="103"/>
                  </a:lnTo>
                  <a:lnTo>
                    <a:pt x="1419" y="103"/>
                  </a:lnTo>
                  <a:lnTo>
                    <a:pt x="1399" y="111"/>
                  </a:lnTo>
                  <a:lnTo>
                    <a:pt x="1381" y="122"/>
                  </a:lnTo>
                  <a:lnTo>
                    <a:pt x="1365" y="132"/>
                  </a:lnTo>
                  <a:lnTo>
                    <a:pt x="1350" y="143"/>
                  </a:lnTo>
                  <a:lnTo>
                    <a:pt x="1337" y="156"/>
                  </a:lnTo>
                  <a:lnTo>
                    <a:pt x="1323" y="168"/>
                  </a:lnTo>
                  <a:lnTo>
                    <a:pt x="1311" y="183"/>
                  </a:lnTo>
                  <a:lnTo>
                    <a:pt x="1301" y="196"/>
                  </a:lnTo>
                  <a:lnTo>
                    <a:pt x="1278" y="225"/>
                  </a:lnTo>
                  <a:lnTo>
                    <a:pt x="1254" y="253"/>
                  </a:lnTo>
                  <a:lnTo>
                    <a:pt x="1239" y="268"/>
                  </a:lnTo>
                  <a:lnTo>
                    <a:pt x="1225" y="281"/>
                  </a:lnTo>
                  <a:lnTo>
                    <a:pt x="1209" y="295"/>
                  </a:lnTo>
                  <a:lnTo>
                    <a:pt x="1190" y="308"/>
                  </a:lnTo>
                  <a:lnTo>
                    <a:pt x="1183" y="313"/>
                  </a:lnTo>
                  <a:lnTo>
                    <a:pt x="1175" y="317"/>
                  </a:lnTo>
                  <a:lnTo>
                    <a:pt x="1167" y="320"/>
                  </a:lnTo>
                  <a:lnTo>
                    <a:pt x="1158" y="324"/>
                  </a:lnTo>
                  <a:lnTo>
                    <a:pt x="1139" y="328"/>
                  </a:lnTo>
                  <a:lnTo>
                    <a:pt x="1119" y="332"/>
                  </a:lnTo>
                  <a:lnTo>
                    <a:pt x="1099" y="335"/>
                  </a:lnTo>
                  <a:lnTo>
                    <a:pt x="1081" y="340"/>
                  </a:lnTo>
                  <a:lnTo>
                    <a:pt x="1073" y="343"/>
                  </a:lnTo>
                  <a:lnTo>
                    <a:pt x="1065" y="347"/>
                  </a:lnTo>
                  <a:lnTo>
                    <a:pt x="1058" y="351"/>
                  </a:lnTo>
                  <a:lnTo>
                    <a:pt x="1053" y="356"/>
                  </a:lnTo>
                  <a:lnTo>
                    <a:pt x="1020" y="391"/>
                  </a:lnTo>
                  <a:lnTo>
                    <a:pt x="984" y="425"/>
                  </a:lnTo>
                  <a:lnTo>
                    <a:pt x="974" y="433"/>
                  </a:lnTo>
                  <a:lnTo>
                    <a:pt x="962" y="441"/>
                  </a:lnTo>
                  <a:lnTo>
                    <a:pt x="952" y="448"/>
                  </a:lnTo>
                  <a:lnTo>
                    <a:pt x="940" y="453"/>
                  </a:lnTo>
                  <a:lnTo>
                    <a:pt x="926" y="457"/>
                  </a:lnTo>
                  <a:lnTo>
                    <a:pt x="913" y="461"/>
                  </a:lnTo>
                  <a:lnTo>
                    <a:pt x="898" y="464"/>
                  </a:lnTo>
                  <a:lnTo>
                    <a:pt x="884" y="464"/>
                  </a:lnTo>
                  <a:lnTo>
                    <a:pt x="868" y="465"/>
                  </a:lnTo>
                  <a:lnTo>
                    <a:pt x="852" y="467"/>
                  </a:lnTo>
                  <a:lnTo>
                    <a:pt x="837" y="469"/>
                  </a:lnTo>
                  <a:lnTo>
                    <a:pt x="824" y="472"/>
                  </a:lnTo>
                  <a:lnTo>
                    <a:pt x="798" y="481"/>
                  </a:lnTo>
                  <a:lnTo>
                    <a:pt x="774" y="491"/>
                  </a:lnTo>
                  <a:lnTo>
                    <a:pt x="750" y="501"/>
                  </a:lnTo>
                  <a:lnTo>
                    <a:pt x="726" y="509"/>
                  </a:lnTo>
                  <a:lnTo>
                    <a:pt x="713" y="513"/>
                  </a:lnTo>
                  <a:lnTo>
                    <a:pt x="701" y="516"/>
                  </a:lnTo>
                  <a:lnTo>
                    <a:pt x="688" y="517"/>
                  </a:lnTo>
                  <a:lnTo>
                    <a:pt x="673" y="519"/>
                  </a:lnTo>
                  <a:lnTo>
                    <a:pt x="660" y="517"/>
                  </a:lnTo>
                  <a:lnTo>
                    <a:pt x="648" y="516"/>
                  </a:lnTo>
                  <a:lnTo>
                    <a:pt x="637" y="512"/>
                  </a:lnTo>
                  <a:lnTo>
                    <a:pt x="628" y="508"/>
                  </a:lnTo>
                  <a:lnTo>
                    <a:pt x="609" y="497"/>
                  </a:lnTo>
                  <a:lnTo>
                    <a:pt x="593" y="485"/>
                  </a:lnTo>
                  <a:lnTo>
                    <a:pt x="577" y="473"/>
                  </a:lnTo>
                  <a:lnTo>
                    <a:pt x="561" y="463"/>
                  </a:lnTo>
                  <a:lnTo>
                    <a:pt x="552" y="459"/>
                  </a:lnTo>
                  <a:lnTo>
                    <a:pt x="544" y="455"/>
                  </a:lnTo>
                  <a:lnTo>
                    <a:pt x="533" y="453"/>
                  </a:lnTo>
                  <a:lnTo>
                    <a:pt x="522" y="452"/>
                  </a:lnTo>
                  <a:lnTo>
                    <a:pt x="502" y="453"/>
                  </a:lnTo>
                  <a:lnTo>
                    <a:pt x="485" y="457"/>
                  </a:lnTo>
                  <a:lnTo>
                    <a:pt x="468" y="461"/>
                  </a:lnTo>
                  <a:lnTo>
                    <a:pt x="452" y="467"/>
                  </a:lnTo>
                  <a:lnTo>
                    <a:pt x="436" y="473"/>
                  </a:lnTo>
                  <a:lnTo>
                    <a:pt x="421" y="477"/>
                  </a:lnTo>
                  <a:lnTo>
                    <a:pt x="405" y="481"/>
                  </a:lnTo>
                  <a:lnTo>
                    <a:pt x="390" y="483"/>
                  </a:lnTo>
                  <a:lnTo>
                    <a:pt x="356" y="483"/>
                  </a:lnTo>
                  <a:lnTo>
                    <a:pt x="329" y="483"/>
                  </a:lnTo>
                  <a:lnTo>
                    <a:pt x="305" y="483"/>
                  </a:lnTo>
                  <a:lnTo>
                    <a:pt x="284" y="483"/>
                  </a:lnTo>
                  <a:lnTo>
                    <a:pt x="260" y="483"/>
                  </a:lnTo>
                  <a:lnTo>
                    <a:pt x="233" y="483"/>
                  </a:lnTo>
                  <a:lnTo>
                    <a:pt x="199" y="483"/>
                  </a:lnTo>
                  <a:lnTo>
                    <a:pt x="155" y="483"/>
                  </a:lnTo>
                  <a:lnTo>
                    <a:pt x="143" y="483"/>
                  </a:lnTo>
                  <a:lnTo>
                    <a:pt x="132" y="484"/>
                  </a:lnTo>
                  <a:lnTo>
                    <a:pt x="121" y="487"/>
                  </a:lnTo>
                  <a:lnTo>
                    <a:pt x="111" y="489"/>
                  </a:lnTo>
                  <a:lnTo>
                    <a:pt x="101" y="493"/>
                  </a:lnTo>
                  <a:lnTo>
                    <a:pt x="92" y="497"/>
                  </a:lnTo>
                  <a:lnTo>
                    <a:pt x="84" y="503"/>
                  </a:lnTo>
                  <a:lnTo>
                    <a:pt x="76" y="508"/>
                  </a:lnTo>
                  <a:lnTo>
                    <a:pt x="61" y="520"/>
                  </a:lnTo>
                  <a:lnTo>
                    <a:pt x="49" y="533"/>
                  </a:lnTo>
                  <a:lnTo>
                    <a:pt x="39" y="547"/>
                  </a:lnTo>
                  <a:lnTo>
                    <a:pt x="28" y="560"/>
                  </a:lnTo>
                  <a:lnTo>
                    <a:pt x="20" y="557"/>
                  </a:lnTo>
                  <a:lnTo>
                    <a:pt x="16" y="555"/>
                  </a:lnTo>
                  <a:lnTo>
                    <a:pt x="11" y="564"/>
                  </a:lnTo>
                  <a:lnTo>
                    <a:pt x="1" y="588"/>
                  </a:lnTo>
                  <a:lnTo>
                    <a:pt x="0" y="596"/>
                  </a:lnTo>
                  <a:lnTo>
                    <a:pt x="0" y="603"/>
                  </a:lnTo>
                  <a:lnTo>
                    <a:pt x="0" y="611"/>
                  </a:lnTo>
                  <a:lnTo>
                    <a:pt x="1" y="619"/>
                  </a:lnTo>
                  <a:lnTo>
                    <a:pt x="4" y="625"/>
                  </a:lnTo>
                  <a:lnTo>
                    <a:pt x="8" y="632"/>
                  </a:lnTo>
                  <a:lnTo>
                    <a:pt x="15" y="639"/>
                  </a:lnTo>
                  <a:lnTo>
                    <a:pt x="23" y="645"/>
                  </a:lnTo>
                  <a:lnTo>
                    <a:pt x="40" y="652"/>
                  </a:lnTo>
                  <a:lnTo>
                    <a:pt x="51" y="656"/>
                  </a:lnTo>
                  <a:lnTo>
                    <a:pt x="57" y="657"/>
                  </a:lnTo>
                  <a:lnTo>
                    <a:pt x="63" y="657"/>
                  </a:lnTo>
                  <a:lnTo>
                    <a:pt x="67" y="657"/>
                  </a:lnTo>
                  <a:lnTo>
                    <a:pt x="71" y="659"/>
                  </a:lnTo>
                  <a:lnTo>
                    <a:pt x="77" y="663"/>
                  </a:lnTo>
                  <a:lnTo>
                    <a:pt x="89" y="669"/>
                  </a:lnTo>
                  <a:lnTo>
                    <a:pt x="101" y="676"/>
                  </a:lnTo>
                  <a:lnTo>
                    <a:pt x="113" y="681"/>
                  </a:lnTo>
                  <a:lnTo>
                    <a:pt x="124" y="684"/>
                  </a:lnTo>
                  <a:lnTo>
                    <a:pt x="131" y="687"/>
                  </a:lnTo>
                  <a:lnTo>
                    <a:pt x="133" y="688"/>
                  </a:lnTo>
                  <a:lnTo>
                    <a:pt x="135" y="689"/>
                  </a:lnTo>
                  <a:lnTo>
                    <a:pt x="135" y="692"/>
                  </a:lnTo>
                  <a:lnTo>
                    <a:pt x="135" y="695"/>
                  </a:lnTo>
                  <a:lnTo>
                    <a:pt x="129" y="704"/>
                  </a:lnTo>
                  <a:lnTo>
                    <a:pt x="119" y="717"/>
                  </a:lnTo>
                  <a:lnTo>
                    <a:pt x="113" y="727"/>
                  </a:lnTo>
                  <a:lnTo>
                    <a:pt x="109" y="734"/>
                  </a:lnTo>
                  <a:lnTo>
                    <a:pt x="108" y="742"/>
                  </a:lnTo>
                  <a:lnTo>
                    <a:pt x="108" y="750"/>
                  </a:lnTo>
                  <a:lnTo>
                    <a:pt x="109" y="757"/>
                  </a:lnTo>
                  <a:lnTo>
                    <a:pt x="112" y="764"/>
                  </a:lnTo>
                  <a:lnTo>
                    <a:pt x="116" y="769"/>
                  </a:lnTo>
                  <a:lnTo>
                    <a:pt x="121" y="773"/>
                  </a:lnTo>
                  <a:lnTo>
                    <a:pt x="128" y="777"/>
                  </a:lnTo>
                  <a:lnTo>
                    <a:pt x="135" y="778"/>
                  </a:lnTo>
                  <a:lnTo>
                    <a:pt x="143" y="778"/>
                  </a:lnTo>
                  <a:lnTo>
                    <a:pt x="152" y="777"/>
                  </a:lnTo>
                  <a:lnTo>
                    <a:pt x="161" y="774"/>
                  </a:lnTo>
                  <a:lnTo>
                    <a:pt x="171" y="769"/>
                  </a:lnTo>
                  <a:lnTo>
                    <a:pt x="181" y="762"/>
                  </a:lnTo>
                  <a:lnTo>
                    <a:pt x="191" y="753"/>
                  </a:lnTo>
                  <a:lnTo>
                    <a:pt x="208" y="736"/>
                  </a:lnTo>
                  <a:lnTo>
                    <a:pt x="223" y="724"/>
                  </a:lnTo>
                  <a:lnTo>
                    <a:pt x="229" y="720"/>
                  </a:lnTo>
                  <a:lnTo>
                    <a:pt x="236" y="716"/>
                  </a:lnTo>
                  <a:lnTo>
                    <a:pt x="243" y="715"/>
                  </a:lnTo>
                  <a:lnTo>
                    <a:pt x="248" y="715"/>
                  </a:lnTo>
                  <a:lnTo>
                    <a:pt x="253" y="715"/>
                  </a:lnTo>
                  <a:lnTo>
                    <a:pt x="257" y="716"/>
                  </a:lnTo>
                  <a:lnTo>
                    <a:pt x="263" y="719"/>
                  </a:lnTo>
                  <a:lnTo>
                    <a:pt x="267" y="723"/>
                  </a:lnTo>
                  <a:lnTo>
                    <a:pt x="274" y="733"/>
                  </a:lnTo>
                  <a:lnTo>
                    <a:pt x="281" y="746"/>
                  </a:lnTo>
                  <a:lnTo>
                    <a:pt x="290" y="761"/>
                  </a:lnTo>
                  <a:lnTo>
                    <a:pt x="298" y="774"/>
                  </a:lnTo>
                  <a:lnTo>
                    <a:pt x="306" y="782"/>
                  </a:lnTo>
                  <a:lnTo>
                    <a:pt x="314" y="789"/>
                  </a:lnTo>
                  <a:lnTo>
                    <a:pt x="318" y="790"/>
                  </a:lnTo>
                  <a:lnTo>
                    <a:pt x="322" y="792"/>
                  </a:lnTo>
                  <a:lnTo>
                    <a:pt x="326" y="792"/>
                  </a:lnTo>
                  <a:lnTo>
                    <a:pt x="330" y="792"/>
                  </a:lnTo>
                  <a:lnTo>
                    <a:pt x="334" y="789"/>
                  </a:lnTo>
                  <a:lnTo>
                    <a:pt x="338" y="786"/>
                  </a:lnTo>
                  <a:lnTo>
                    <a:pt x="344" y="782"/>
                  </a:lnTo>
                  <a:lnTo>
                    <a:pt x="348" y="777"/>
                  </a:lnTo>
                  <a:lnTo>
                    <a:pt x="352" y="773"/>
                  </a:lnTo>
                  <a:lnTo>
                    <a:pt x="356" y="770"/>
                  </a:lnTo>
                  <a:lnTo>
                    <a:pt x="361" y="768"/>
                  </a:lnTo>
                  <a:lnTo>
                    <a:pt x="365" y="766"/>
                  </a:lnTo>
                  <a:lnTo>
                    <a:pt x="369" y="765"/>
                  </a:lnTo>
                  <a:lnTo>
                    <a:pt x="373" y="765"/>
                  </a:lnTo>
                  <a:lnTo>
                    <a:pt x="377" y="766"/>
                  </a:lnTo>
                  <a:lnTo>
                    <a:pt x="381" y="769"/>
                  </a:lnTo>
                  <a:lnTo>
                    <a:pt x="389" y="776"/>
                  </a:lnTo>
                  <a:lnTo>
                    <a:pt x="397" y="786"/>
                  </a:lnTo>
                  <a:lnTo>
                    <a:pt x="405" y="801"/>
                  </a:lnTo>
                  <a:lnTo>
                    <a:pt x="414" y="820"/>
                  </a:lnTo>
                  <a:lnTo>
                    <a:pt x="424" y="837"/>
                  </a:lnTo>
                  <a:lnTo>
                    <a:pt x="433" y="852"/>
                  </a:lnTo>
                  <a:lnTo>
                    <a:pt x="440" y="866"/>
                  </a:lnTo>
                  <a:lnTo>
                    <a:pt x="445" y="880"/>
                  </a:lnTo>
                  <a:lnTo>
                    <a:pt x="448" y="892"/>
                  </a:lnTo>
                  <a:lnTo>
                    <a:pt x="449" y="902"/>
                  </a:lnTo>
                  <a:lnTo>
                    <a:pt x="448" y="913"/>
                  </a:lnTo>
                  <a:lnTo>
                    <a:pt x="444" y="922"/>
                  </a:lnTo>
                  <a:lnTo>
                    <a:pt x="442" y="925"/>
                  </a:lnTo>
                  <a:lnTo>
                    <a:pt x="441" y="928"/>
                  </a:lnTo>
                  <a:lnTo>
                    <a:pt x="441" y="930"/>
                  </a:lnTo>
                  <a:lnTo>
                    <a:pt x="441" y="933"/>
                  </a:lnTo>
                  <a:lnTo>
                    <a:pt x="444" y="938"/>
                  </a:lnTo>
                  <a:lnTo>
                    <a:pt x="449" y="944"/>
                  </a:lnTo>
                  <a:lnTo>
                    <a:pt x="465" y="954"/>
                  </a:lnTo>
                  <a:lnTo>
                    <a:pt x="486" y="970"/>
                  </a:lnTo>
                  <a:lnTo>
                    <a:pt x="497" y="978"/>
                  </a:lnTo>
                  <a:lnTo>
                    <a:pt x="506" y="986"/>
                  </a:lnTo>
                  <a:lnTo>
                    <a:pt x="513" y="994"/>
                  </a:lnTo>
                  <a:lnTo>
                    <a:pt x="517" y="1001"/>
                  </a:lnTo>
                  <a:lnTo>
                    <a:pt x="518" y="1005"/>
                  </a:lnTo>
                  <a:lnTo>
                    <a:pt x="518" y="1008"/>
                  </a:lnTo>
                  <a:lnTo>
                    <a:pt x="517" y="1012"/>
                  </a:lnTo>
                  <a:lnTo>
                    <a:pt x="516" y="1014"/>
                  </a:lnTo>
                  <a:lnTo>
                    <a:pt x="513" y="1017"/>
                  </a:lnTo>
                  <a:lnTo>
                    <a:pt x="509" y="1020"/>
                  </a:lnTo>
                  <a:lnTo>
                    <a:pt x="504" y="1022"/>
                  </a:lnTo>
                  <a:lnTo>
                    <a:pt x="498" y="1024"/>
                  </a:lnTo>
                  <a:lnTo>
                    <a:pt x="486" y="1029"/>
                  </a:lnTo>
                  <a:lnTo>
                    <a:pt x="478" y="1034"/>
                  </a:lnTo>
                  <a:lnTo>
                    <a:pt x="474" y="1037"/>
                  </a:lnTo>
                  <a:lnTo>
                    <a:pt x="473" y="1041"/>
                  </a:lnTo>
                  <a:lnTo>
                    <a:pt x="472" y="1044"/>
                  </a:lnTo>
                  <a:lnTo>
                    <a:pt x="472" y="1048"/>
                  </a:lnTo>
                  <a:lnTo>
                    <a:pt x="472" y="1052"/>
                  </a:lnTo>
                  <a:lnTo>
                    <a:pt x="473" y="1056"/>
                  </a:lnTo>
                  <a:lnTo>
                    <a:pt x="474" y="1060"/>
                  </a:lnTo>
                  <a:lnTo>
                    <a:pt x="478" y="1064"/>
                  </a:lnTo>
                  <a:lnTo>
                    <a:pt x="486" y="1073"/>
                  </a:lnTo>
                  <a:lnTo>
                    <a:pt x="498" y="1084"/>
                  </a:lnTo>
                  <a:lnTo>
                    <a:pt x="516" y="1105"/>
                  </a:lnTo>
                  <a:lnTo>
                    <a:pt x="528" y="1122"/>
                  </a:lnTo>
                  <a:lnTo>
                    <a:pt x="534" y="1129"/>
                  </a:lnTo>
                  <a:lnTo>
                    <a:pt x="541" y="1137"/>
                  </a:lnTo>
                  <a:lnTo>
                    <a:pt x="549" y="1144"/>
                  </a:lnTo>
                  <a:lnTo>
                    <a:pt x="558" y="1150"/>
                  </a:lnTo>
                  <a:lnTo>
                    <a:pt x="569" y="1158"/>
                  </a:lnTo>
                  <a:lnTo>
                    <a:pt x="578" y="1168"/>
                  </a:lnTo>
                  <a:lnTo>
                    <a:pt x="586" y="1177"/>
                  </a:lnTo>
                  <a:lnTo>
                    <a:pt x="594" y="1188"/>
                  </a:lnTo>
                  <a:lnTo>
                    <a:pt x="604" y="1204"/>
                  </a:lnTo>
                  <a:lnTo>
                    <a:pt x="606" y="1210"/>
                  </a:lnTo>
                  <a:lnTo>
                    <a:pt x="636" y="1189"/>
                  </a:lnTo>
                  <a:lnTo>
                    <a:pt x="665" y="1172"/>
                  </a:lnTo>
                  <a:lnTo>
                    <a:pt x="693" y="1156"/>
                  </a:lnTo>
                  <a:lnTo>
                    <a:pt x="718" y="1142"/>
                  </a:lnTo>
                  <a:lnTo>
                    <a:pt x="744" y="1132"/>
                  </a:lnTo>
                  <a:lnTo>
                    <a:pt x="765" y="1124"/>
                  </a:lnTo>
                  <a:lnTo>
                    <a:pt x="784" y="1118"/>
                  </a:lnTo>
                  <a:lnTo>
                    <a:pt x="800" y="1114"/>
                  </a:lnTo>
                  <a:lnTo>
                    <a:pt x="842" y="1112"/>
                  </a:lnTo>
                  <a:lnTo>
                    <a:pt x="880" y="1109"/>
                  </a:lnTo>
                  <a:lnTo>
                    <a:pt x="912" y="1105"/>
                  </a:lnTo>
                  <a:lnTo>
                    <a:pt x="940" y="1100"/>
                  </a:lnTo>
                  <a:lnTo>
                    <a:pt x="965" y="1096"/>
                  </a:lnTo>
                  <a:lnTo>
                    <a:pt x="985" y="1090"/>
                  </a:lnTo>
                  <a:lnTo>
                    <a:pt x="1002" y="1085"/>
                  </a:lnTo>
                  <a:lnTo>
                    <a:pt x="1018" y="1081"/>
                  </a:lnTo>
                  <a:lnTo>
                    <a:pt x="1041" y="1072"/>
                  </a:lnTo>
                  <a:lnTo>
                    <a:pt x="1057" y="1065"/>
                  </a:lnTo>
                  <a:lnTo>
                    <a:pt x="1063" y="1062"/>
                  </a:lnTo>
                  <a:lnTo>
                    <a:pt x="1070" y="1061"/>
                  </a:lnTo>
                  <a:lnTo>
                    <a:pt x="1075" y="1060"/>
                  </a:lnTo>
                  <a:lnTo>
                    <a:pt x="1082" y="1060"/>
                  </a:lnTo>
                  <a:lnTo>
                    <a:pt x="1107" y="1065"/>
                  </a:lnTo>
                  <a:lnTo>
                    <a:pt x="1133" y="1072"/>
                  </a:lnTo>
                  <a:lnTo>
                    <a:pt x="1158" y="1080"/>
                  </a:lnTo>
                  <a:lnTo>
                    <a:pt x="1183" y="1092"/>
                  </a:lnTo>
                  <a:lnTo>
                    <a:pt x="1209" y="1105"/>
                  </a:lnTo>
                  <a:lnTo>
                    <a:pt x="1235" y="1120"/>
                  </a:lnTo>
                  <a:lnTo>
                    <a:pt x="1261" y="1137"/>
                  </a:lnTo>
                  <a:lnTo>
                    <a:pt x="1287" y="1154"/>
                  </a:lnTo>
                  <a:lnTo>
                    <a:pt x="1313" y="1174"/>
                  </a:lnTo>
                  <a:lnTo>
                    <a:pt x="1338" y="1196"/>
                  </a:lnTo>
                  <a:lnTo>
                    <a:pt x="1365" y="1218"/>
                  </a:lnTo>
                  <a:lnTo>
                    <a:pt x="1390" y="1241"/>
                  </a:lnTo>
                  <a:lnTo>
                    <a:pt x="1441" y="1289"/>
                  </a:lnTo>
                  <a:lnTo>
                    <a:pt x="1490" y="1338"/>
                  </a:lnTo>
                  <a:lnTo>
                    <a:pt x="1586" y="1438"/>
                  </a:lnTo>
                  <a:lnTo>
                    <a:pt x="1674" y="1529"/>
                  </a:lnTo>
                  <a:lnTo>
                    <a:pt x="1714" y="1569"/>
                  </a:lnTo>
                  <a:lnTo>
                    <a:pt x="1751" y="1602"/>
                  </a:lnTo>
                  <a:lnTo>
                    <a:pt x="1769" y="1615"/>
                  </a:lnTo>
                  <a:lnTo>
                    <a:pt x="1786" y="1627"/>
                  </a:lnTo>
                  <a:lnTo>
                    <a:pt x="1802" y="1637"/>
                  </a:lnTo>
                  <a:lnTo>
                    <a:pt x="1816" y="1645"/>
                  </a:lnTo>
                  <a:lnTo>
                    <a:pt x="1826" y="1647"/>
                  </a:lnTo>
                  <a:lnTo>
                    <a:pt x="1835" y="1650"/>
                  </a:lnTo>
                  <a:lnTo>
                    <a:pt x="1843" y="1651"/>
                  </a:lnTo>
                  <a:lnTo>
                    <a:pt x="1851" y="1653"/>
                  </a:lnTo>
                  <a:lnTo>
                    <a:pt x="1859" y="1653"/>
                  </a:lnTo>
                  <a:lnTo>
                    <a:pt x="1868" y="1653"/>
                  </a:lnTo>
                  <a:lnTo>
                    <a:pt x="1875" y="1651"/>
                  </a:lnTo>
                  <a:lnTo>
                    <a:pt x="1883" y="1649"/>
                  </a:lnTo>
                  <a:lnTo>
                    <a:pt x="1899" y="1643"/>
                  </a:lnTo>
                  <a:lnTo>
                    <a:pt x="1915" y="1637"/>
                  </a:lnTo>
                  <a:lnTo>
                    <a:pt x="1930" y="1627"/>
                  </a:lnTo>
                  <a:lnTo>
                    <a:pt x="1944" y="1618"/>
                  </a:lnTo>
                  <a:lnTo>
                    <a:pt x="1976" y="1598"/>
                  </a:lnTo>
                  <a:lnTo>
                    <a:pt x="2008" y="1579"/>
                  </a:lnTo>
                  <a:lnTo>
                    <a:pt x="2026" y="1571"/>
                  </a:lnTo>
                  <a:lnTo>
                    <a:pt x="2043" y="1565"/>
                  </a:lnTo>
                  <a:lnTo>
                    <a:pt x="2062" y="1561"/>
                  </a:lnTo>
                  <a:lnTo>
                    <a:pt x="2082" y="1559"/>
                  </a:lnTo>
                  <a:lnTo>
                    <a:pt x="2119" y="1561"/>
                  </a:lnTo>
                  <a:lnTo>
                    <a:pt x="2152" y="1561"/>
                  </a:lnTo>
                  <a:lnTo>
                    <a:pt x="2184" y="1562"/>
                  </a:lnTo>
                  <a:lnTo>
                    <a:pt x="2212" y="1563"/>
                  </a:lnTo>
                  <a:lnTo>
                    <a:pt x="2239" y="1565"/>
                  </a:lnTo>
                  <a:lnTo>
                    <a:pt x="2262" y="1565"/>
                  </a:lnTo>
                  <a:lnTo>
                    <a:pt x="2282" y="1566"/>
                  </a:lnTo>
                  <a:lnTo>
                    <a:pt x="2299" y="1566"/>
                  </a:lnTo>
                  <a:lnTo>
                    <a:pt x="2323" y="1511"/>
                  </a:lnTo>
                  <a:lnTo>
                    <a:pt x="2335" y="1427"/>
                  </a:lnTo>
                  <a:lnTo>
                    <a:pt x="2359" y="1397"/>
                  </a:lnTo>
                  <a:lnTo>
                    <a:pt x="2362" y="1389"/>
                  </a:lnTo>
                  <a:lnTo>
                    <a:pt x="2364" y="137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5" name="Freeform 85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3136900" y="2486025"/>
              <a:ext cx="1271588" cy="1635125"/>
            </a:xfrm>
            <a:custGeom>
              <a:avLst/>
              <a:gdLst/>
              <a:ahLst/>
              <a:cxnLst>
                <a:cxn ang="0">
                  <a:pos x="2890" y="2777"/>
                </a:cxn>
                <a:cxn ang="0">
                  <a:pos x="2932" y="2536"/>
                </a:cxn>
                <a:cxn ang="0">
                  <a:pos x="2801" y="2252"/>
                </a:cxn>
                <a:cxn ang="0">
                  <a:pos x="2701" y="1789"/>
                </a:cxn>
                <a:cxn ang="0">
                  <a:pos x="2679" y="1485"/>
                </a:cxn>
                <a:cxn ang="0">
                  <a:pos x="2710" y="1238"/>
                </a:cxn>
                <a:cxn ang="0">
                  <a:pos x="2471" y="1098"/>
                </a:cxn>
                <a:cxn ang="0">
                  <a:pos x="2586" y="848"/>
                </a:cxn>
                <a:cxn ang="0">
                  <a:pos x="2533" y="571"/>
                </a:cxn>
                <a:cxn ang="0">
                  <a:pos x="2493" y="392"/>
                </a:cxn>
                <a:cxn ang="0">
                  <a:pos x="2449" y="445"/>
                </a:cxn>
                <a:cxn ang="0">
                  <a:pos x="2270" y="495"/>
                </a:cxn>
                <a:cxn ang="0">
                  <a:pos x="2409" y="717"/>
                </a:cxn>
                <a:cxn ang="0">
                  <a:pos x="2193" y="515"/>
                </a:cxn>
                <a:cxn ang="0">
                  <a:pos x="2231" y="127"/>
                </a:cxn>
                <a:cxn ang="0">
                  <a:pos x="2057" y="388"/>
                </a:cxn>
                <a:cxn ang="0">
                  <a:pos x="2020" y="772"/>
                </a:cxn>
                <a:cxn ang="0">
                  <a:pos x="2056" y="1109"/>
                </a:cxn>
                <a:cxn ang="0">
                  <a:pos x="2251" y="1369"/>
                </a:cxn>
                <a:cxn ang="0">
                  <a:pos x="2313" y="1575"/>
                </a:cxn>
                <a:cxn ang="0">
                  <a:pos x="2197" y="1277"/>
                </a:cxn>
                <a:cxn ang="0">
                  <a:pos x="1958" y="1196"/>
                </a:cxn>
                <a:cxn ang="0">
                  <a:pos x="1780" y="1638"/>
                </a:cxn>
                <a:cxn ang="0">
                  <a:pos x="1500" y="1687"/>
                </a:cxn>
                <a:cxn ang="0">
                  <a:pos x="1349" y="1541"/>
                </a:cxn>
                <a:cxn ang="0">
                  <a:pos x="1529" y="1670"/>
                </a:cxn>
                <a:cxn ang="0">
                  <a:pos x="1814" y="1351"/>
                </a:cxn>
                <a:cxn ang="0">
                  <a:pos x="1828" y="1094"/>
                </a:cxn>
                <a:cxn ang="0">
                  <a:pos x="1953" y="548"/>
                </a:cxn>
                <a:cxn ang="0">
                  <a:pos x="2066" y="220"/>
                </a:cxn>
                <a:cxn ang="0">
                  <a:pos x="1824" y="8"/>
                </a:cxn>
                <a:cxn ang="0">
                  <a:pos x="1500" y="365"/>
                </a:cxn>
                <a:cxn ang="0">
                  <a:pos x="1481" y="563"/>
                </a:cxn>
                <a:cxn ang="0">
                  <a:pos x="1404" y="816"/>
                </a:cxn>
                <a:cxn ang="0">
                  <a:pos x="1457" y="1104"/>
                </a:cxn>
                <a:cxn ang="0">
                  <a:pos x="1187" y="798"/>
                </a:cxn>
                <a:cxn ang="0">
                  <a:pos x="1177" y="1033"/>
                </a:cxn>
                <a:cxn ang="0">
                  <a:pos x="1156" y="1240"/>
                </a:cxn>
                <a:cxn ang="0">
                  <a:pos x="660" y="1527"/>
                </a:cxn>
                <a:cxn ang="0">
                  <a:pos x="379" y="1629"/>
                </a:cxn>
                <a:cxn ang="0">
                  <a:pos x="146" y="1930"/>
                </a:cxn>
                <a:cxn ang="0">
                  <a:pos x="16" y="2300"/>
                </a:cxn>
                <a:cxn ang="0">
                  <a:pos x="254" y="2647"/>
                </a:cxn>
                <a:cxn ang="0">
                  <a:pos x="240" y="3080"/>
                </a:cxn>
                <a:cxn ang="0">
                  <a:pos x="388" y="3510"/>
                </a:cxn>
                <a:cxn ang="0">
                  <a:pos x="144" y="3763"/>
                </a:cxn>
                <a:cxn ang="0">
                  <a:pos x="207" y="3994"/>
                </a:cxn>
                <a:cxn ang="0">
                  <a:pos x="459" y="4158"/>
                </a:cxn>
                <a:cxn ang="0">
                  <a:pos x="655" y="4334"/>
                </a:cxn>
                <a:cxn ang="0">
                  <a:pos x="787" y="4202"/>
                </a:cxn>
                <a:cxn ang="0">
                  <a:pos x="980" y="4031"/>
                </a:cxn>
                <a:cxn ang="0">
                  <a:pos x="900" y="3897"/>
                </a:cxn>
                <a:cxn ang="0">
                  <a:pos x="897" y="3757"/>
                </a:cxn>
                <a:cxn ang="0">
                  <a:pos x="1029" y="3667"/>
                </a:cxn>
                <a:cxn ang="0">
                  <a:pos x="1275" y="3761"/>
                </a:cxn>
                <a:cxn ang="0">
                  <a:pos x="1584" y="3653"/>
                </a:cxn>
                <a:cxn ang="0">
                  <a:pos x="1805" y="3325"/>
                </a:cxn>
                <a:cxn ang="0">
                  <a:pos x="2195" y="3293"/>
                </a:cxn>
                <a:cxn ang="0">
                  <a:pos x="2530" y="3316"/>
                </a:cxn>
                <a:cxn ang="0">
                  <a:pos x="2725" y="3294"/>
                </a:cxn>
                <a:cxn ang="0">
                  <a:pos x="2854" y="3138"/>
                </a:cxn>
              </a:cxnLst>
              <a:rect l="0" t="0" r="r" b="b"/>
              <a:pathLst>
                <a:path w="2958" h="4375">
                  <a:moveTo>
                    <a:pt x="2753" y="2965"/>
                  </a:moveTo>
                  <a:lnTo>
                    <a:pt x="2765" y="2963"/>
                  </a:lnTo>
                  <a:lnTo>
                    <a:pt x="2774" y="2963"/>
                  </a:lnTo>
                  <a:lnTo>
                    <a:pt x="2778" y="2961"/>
                  </a:lnTo>
                  <a:lnTo>
                    <a:pt x="2783" y="2960"/>
                  </a:lnTo>
                  <a:lnTo>
                    <a:pt x="2789" y="2957"/>
                  </a:lnTo>
                  <a:lnTo>
                    <a:pt x="2795" y="2953"/>
                  </a:lnTo>
                  <a:lnTo>
                    <a:pt x="2801" y="2948"/>
                  </a:lnTo>
                  <a:lnTo>
                    <a:pt x="2805" y="2941"/>
                  </a:lnTo>
                  <a:lnTo>
                    <a:pt x="2807" y="2933"/>
                  </a:lnTo>
                  <a:lnTo>
                    <a:pt x="2809" y="2924"/>
                  </a:lnTo>
                  <a:lnTo>
                    <a:pt x="2810" y="2904"/>
                  </a:lnTo>
                  <a:lnTo>
                    <a:pt x="2813" y="2881"/>
                  </a:lnTo>
                  <a:lnTo>
                    <a:pt x="2815" y="2873"/>
                  </a:lnTo>
                  <a:lnTo>
                    <a:pt x="2819" y="2865"/>
                  </a:lnTo>
                  <a:lnTo>
                    <a:pt x="2825" y="2857"/>
                  </a:lnTo>
                  <a:lnTo>
                    <a:pt x="2830" y="2851"/>
                  </a:lnTo>
                  <a:lnTo>
                    <a:pt x="2843" y="2839"/>
                  </a:lnTo>
                  <a:lnTo>
                    <a:pt x="2857" y="2827"/>
                  </a:lnTo>
                  <a:lnTo>
                    <a:pt x="2870" y="2815"/>
                  </a:lnTo>
                  <a:lnTo>
                    <a:pt x="2881" y="2801"/>
                  </a:lnTo>
                  <a:lnTo>
                    <a:pt x="2885" y="2793"/>
                  </a:lnTo>
                  <a:lnTo>
                    <a:pt x="2889" y="2785"/>
                  </a:lnTo>
                  <a:lnTo>
                    <a:pt x="2890" y="2777"/>
                  </a:lnTo>
                  <a:lnTo>
                    <a:pt x="2891" y="2767"/>
                  </a:lnTo>
                  <a:lnTo>
                    <a:pt x="2891" y="2757"/>
                  </a:lnTo>
                  <a:lnTo>
                    <a:pt x="2890" y="2748"/>
                  </a:lnTo>
                  <a:lnTo>
                    <a:pt x="2887" y="2740"/>
                  </a:lnTo>
                  <a:lnTo>
                    <a:pt x="2885" y="2732"/>
                  </a:lnTo>
                  <a:lnTo>
                    <a:pt x="2878" y="2716"/>
                  </a:lnTo>
                  <a:lnTo>
                    <a:pt x="2870" y="2703"/>
                  </a:lnTo>
                  <a:lnTo>
                    <a:pt x="2862" y="2691"/>
                  </a:lnTo>
                  <a:lnTo>
                    <a:pt x="2855" y="2679"/>
                  </a:lnTo>
                  <a:lnTo>
                    <a:pt x="2853" y="2672"/>
                  </a:lnTo>
                  <a:lnTo>
                    <a:pt x="2851" y="2665"/>
                  </a:lnTo>
                  <a:lnTo>
                    <a:pt x="2850" y="2659"/>
                  </a:lnTo>
                  <a:lnTo>
                    <a:pt x="2849" y="2652"/>
                  </a:lnTo>
                  <a:lnTo>
                    <a:pt x="2850" y="2635"/>
                  </a:lnTo>
                  <a:lnTo>
                    <a:pt x="2854" y="2620"/>
                  </a:lnTo>
                  <a:lnTo>
                    <a:pt x="2859" y="2607"/>
                  </a:lnTo>
                  <a:lnTo>
                    <a:pt x="2866" y="2596"/>
                  </a:lnTo>
                  <a:lnTo>
                    <a:pt x="2874" y="2585"/>
                  </a:lnTo>
                  <a:lnTo>
                    <a:pt x="2883" y="2577"/>
                  </a:lnTo>
                  <a:lnTo>
                    <a:pt x="2893" y="2569"/>
                  </a:lnTo>
                  <a:lnTo>
                    <a:pt x="2903" y="2561"/>
                  </a:lnTo>
                  <a:lnTo>
                    <a:pt x="2914" y="2553"/>
                  </a:lnTo>
                  <a:lnTo>
                    <a:pt x="2923" y="2545"/>
                  </a:lnTo>
                  <a:lnTo>
                    <a:pt x="2932" y="2536"/>
                  </a:lnTo>
                  <a:lnTo>
                    <a:pt x="2940" y="2527"/>
                  </a:lnTo>
                  <a:lnTo>
                    <a:pt x="2947" y="2515"/>
                  </a:lnTo>
                  <a:lnTo>
                    <a:pt x="2952" y="2501"/>
                  </a:lnTo>
                  <a:lnTo>
                    <a:pt x="2956" y="2485"/>
                  </a:lnTo>
                  <a:lnTo>
                    <a:pt x="2958" y="2466"/>
                  </a:lnTo>
                  <a:lnTo>
                    <a:pt x="2955" y="2432"/>
                  </a:lnTo>
                  <a:lnTo>
                    <a:pt x="2951" y="2402"/>
                  </a:lnTo>
                  <a:lnTo>
                    <a:pt x="2947" y="2372"/>
                  </a:lnTo>
                  <a:lnTo>
                    <a:pt x="2946" y="2346"/>
                  </a:lnTo>
                  <a:lnTo>
                    <a:pt x="2927" y="2344"/>
                  </a:lnTo>
                  <a:lnTo>
                    <a:pt x="2904" y="2340"/>
                  </a:lnTo>
                  <a:lnTo>
                    <a:pt x="2879" y="2334"/>
                  </a:lnTo>
                  <a:lnTo>
                    <a:pt x="2854" y="2326"/>
                  </a:lnTo>
                  <a:lnTo>
                    <a:pt x="2842" y="2320"/>
                  </a:lnTo>
                  <a:lnTo>
                    <a:pt x="2831" y="2315"/>
                  </a:lnTo>
                  <a:lnTo>
                    <a:pt x="2821" y="2308"/>
                  </a:lnTo>
                  <a:lnTo>
                    <a:pt x="2813" y="2303"/>
                  </a:lnTo>
                  <a:lnTo>
                    <a:pt x="2805" y="2296"/>
                  </a:lnTo>
                  <a:lnTo>
                    <a:pt x="2799" y="2288"/>
                  </a:lnTo>
                  <a:lnTo>
                    <a:pt x="2797" y="2282"/>
                  </a:lnTo>
                  <a:lnTo>
                    <a:pt x="2795" y="2274"/>
                  </a:lnTo>
                  <a:lnTo>
                    <a:pt x="2795" y="2267"/>
                  </a:lnTo>
                  <a:lnTo>
                    <a:pt x="2798" y="2259"/>
                  </a:lnTo>
                  <a:lnTo>
                    <a:pt x="2801" y="2252"/>
                  </a:lnTo>
                  <a:lnTo>
                    <a:pt x="2805" y="2244"/>
                  </a:lnTo>
                  <a:lnTo>
                    <a:pt x="2813" y="2232"/>
                  </a:lnTo>
                  <a:lnTo>
                    <a:pt x="2819" y="2226"/>
                  </a:lnTo>
                  <a:lnTo>
                    <a:pt x="2813" y="2111"/>
                  </a:lnTo>
                  <a:lnTo>
                    <a:pt x="2794" y="2099"/>
                  </a:lnTo>
                  <a:lnTo>
                    <a:pt x="2775" y="2088"/>
                  </a:lnTo>
                  <a:lnTo>
                    <a:pt x="2758" y="2076"/>
                  </a:lnTo>
                  <a:lnTo>
                    <a:pt x="2741" y="2063"/>
                  </a:lnTo>
                  <a:lnTo>
                    <a:pt x="2733" y="2056"/>
                  </a:lnTo>
                  <a:lnTo>
                    <a:pt x="2726" y="2048"/>
                  </a:lnTo>
                  <a:lnTo>
                    <a:pt x="2719" y="2039"/>
                  </a:lnTo>
                  <a:lnTo>
                    <a:pt x="2714" y="2030"/>
                  </a:lnTo>
                  <a:lnTo>
                    <a:pt x="2710" y="2020"/>
                  </a:lnTo>
                  <a:lnTo>
                    <a:pt x="2707" y="2010"/>
                  </a:lnTo>
                  <a:lnTo>
                    <a:pt x="2705" y="1998"/>
                  </a:lnTo>
                  <a:lnTo>
                    <a:pt x="2705" y="1984"/>
                  </a:lnTo>
                  <a:lnTo>
                    <a:pt x="2705" y="1934"/>
                  </a:lnTo>
                  <a:lnTo>
                    <a:pt x="2705" y="1896"/>
                  </a:lnTo>
                  <a:lnTo>
                    <a:pt x="2705" y="1862"/>
                  </a:lnTo>
                  <a:lnTo>
                    <a:pt x="2705" y="1822"/>
                  </a:lnTo>
                  <a:lnTo>
                    <a:pt x="2705" y="1811"/>
                  </a:lnTo>
                  <a:lnTo>
                    <a:pt x="2703" y="1802"/>
                  </a:lnTo>
                  <a:lnTo>
                    <a:pt x="2702" y="1795"/>
                  </a:lnTo>
                  <a:lnTo>
                    <a:pt x="2701" y="1789"/>
                  </a:lnTo>
                  <a:lnTo>
                    <a:pt x="2698" y="1783"/>
                  </a:lnTo>
                  <a:lnTo>
                    <a:pt x="2695" y="1778"/>
                  </a:lnTo>
                  <a:lnTo>
                    <a:pt x="2693" y="1774"/>
                  </a:lnTo>
                  <a:lnTo>
                    <a:pt x="2689" y="1771"/>
                  </a:lnTo>
                  <a:lnTo>
                    <a:pt x="2671" y="1758"/>
                  </a:lnTo>
                  <a:lnTo>
                    <a:pt x="2650" y="1738"/>
                  </a:lnTo>
                  <a:lnTo>
                    <a:pt x="2645" y="1722"/>
                  </a:lnTo>
                  <a:lnTo>
                    <a:pt x="2638" y="1695"/>
                  </a:lnTo>
                  <a:lnTo>
                    <a:pt x="2631" y="1662"/>
                  </a:lnTo>
                  <a:lnTo>
                    <a:pt x="2625" y="1626"/>
                  </a:lnTo>
                  <a:lnTo>
                    <a:pt x="2618" y="1591"/>
                  </a:lnTo>
                  <a:lnTo>
                    <a:pt x="2613" y="1562"/>
                  </a:lnTo>
                  <a:lnTo>
                    <a:pt x="2610" y="1541"/>
                  </a:lnTo>
                  <a:lnTo>
                    <a:pt x="2609" y="1533"/>
                  </a:lnTo>
                  <a:lnTo>
                    <a:pt x="2609" y="1527"/>
                  </a:lnTo>
                  <a:lnTo>
                    <a:pt x="2610" y="1523"/>
                  </a:lnTo>
                  <a:lnTo>
                    <a:pt x="2611" y="1519"/>
                  </a:lnTo>
                  <a:lnTo>
                    <a:pt x="2614" y="1517"/>
                  </a:lnTo>
                  <a:lnTo>
                    <a:pt x="2621" y="1511"/>
                  </a:lnTo>
                  <a:lnTo>
                    <a:pt x="2629" y="1509"/>
                  </a:lnTo>
                  <a:lnTo>
                    <a:pt x="2646" y="1506"/>
                  </a:lnTo>
                  <a:lnTo>
                    <a:pt x="2662" y="1502"/>
                  </a:lnTo>
                  <a:lnTo>
                    <a:pt x="2671" y="1495"/>
                  </a:lnTo>
                  <a:lnTo>
                    <a:pt x="2679" y="1485"/>
                  </a:lnTo>
                  <a:lnTo>
                    <a:pt x="2686" y="1474"/>
                  </a:lnTo>
                  <a:lnTo>
                    <a:pt x="2693" y="1463"/>
                  </a:lnTo>
                  <a:lnTo>
                    <a:pt x="2698" y="1451"/>
                  </a:lnTo>
                  <a:lnTo>
                    <a:pt x="2701" y="1439"/>
                  </a:lnTo>
                  <a:lnTo>
                    <a:pt x="2703" y="1429"/>
                  </a:lnTo>
                  <a:lnTo>
                    <a:pt x="2705" y="1418"/>
                  </a:lnTo>
                  <a:lnTo>
                    <a:pt x="2710" y="1418"/>
                  </a:lnTo>
                  <a:lnTo>
                    <a:pt x="2705" y="1406"/>
                  </a:lnTo>
                  <a:lnTo>
                    <a:pt x="2702" y="1386"/>
                  </a:lnTo>
                  <a:lnTo>
                    <a:pt x="2698" y="1370"/>
                  </a:lnTo>
                  <a:lnTo>
                    <a:pt x="2709" y="1363"/>
                  </a:lnTo>
                  <a:lnTo>
                    <a:pt x="2715" y="1357"/>
                  </a:lnTo>
                  <a:lnTo>
                    <a:pt x="2721" y="1349"/>
                  </a:lnTo>
                  <a:lnTo>
                    <a:pt x="2725" y="1341"/>
                  </a:lnTo>
                  <a:lnTo>
                    <a:pt x="2727" y="1331"/>
                  </a:lnTo>
                  <a:lnTo>
                    <a:pt x="2729" y="1322"/>
                  </a:lnTo>
                  <a:lnTo>
                    <a:pt x="2729" y="1310"/>
                  </a:lnTo>
                  <a:lnTo>
                    <a:pt x="2729" y="1298"/>
                  </a:lnTo>
                  <a:lnTo>
                    <a:pt x="2727" y="1285"/>
                  </a:lnTo>
                  <a:lnTo>
                    <a:pt x="2726" y="1274"/>
                  </a:lnTo>
                  <a:lnTo>
                    <a:pt x="2723" y="1264"/>
                  </a:lnTo>
                  <a:lnTo>
                    <a:pt x="2719" y="1254"/>
                  </a:lnTo>
                  <a:lnTo>
                    <a:pt x="2715" y="1245"/>
                  </a:lnTo>
                  <a:lnTo>
                    <a:pt x="2710" y="1238"/>
                  </a:lnTo>
                  <a:lnTo>
                    <a:pt x="2705" y="1230"/>
                  </a:lnTo>
                  <a:lnTo>
                    <a:pt x="2698" y="1225"/>
                  </a:lnTo>
                  <a:lnTo>
                    <a:pt x="2686" y="1213"/>
                  </a:lnTo>
                  <a:lnTo>
                    <a:pt x="2673" y="1201"/>
                  </a:lnTo>
                  <a:lnTo>
                    <a:pt x="2661" y="1190"/>
                  </a:lnTo>
                  <a:lnTo>
                    <a:pt x="2650" y="1177"/>
                  </a:lnTo>
                  <a:lnTo>
                    <a:pt x="2645" y="1176"/>
                  </a:lnTo>
                  <a:lnTo>
                    <a:pt x="2641" y="1176"/>
                  </a:lnTo>
                  <a:lnTo>
                    <a:pt x="2637" y="1177"/>
                  </a:lnTo>
                  <a:lnTo>
                    <a:pt x="2633" y="1178"/>
                  </a:lnTo>
                  <a:lnTo>
                    <a:pt x="2629" y="1180"/>
                  </a:lnTo>
                  <a:lnTo>
                    <a:pt x="2622" y="1182"/>
                  </a:lnTo>
                  <a:lnTo>
                    <a:pt x="2614" y="1184"/>
                  </a:lnTo>
                  <a:lnTo>
                    <a:pt x="2602" y="1184"/>
                  </a:lnTo>
                  <a:lnTo>
                    <a:pt x="2590" y="1182"/>
                  </a:lnTo>
                  <a:lnTo>
                    <a:pt x="2578" y="1180"/>
                  </a:lnTo>
                  <a:lnTo>
                    <a:pt x="2565" y="1174"/>
                  </a:lnTo>
                  <a:lnTo>
                    <a:pt x="2550" y="1166"/>
                  </a:lnTo>
                  <a:lnTo>
                    <a:pt x="2537" y="1158"/>
                  </a:lnTo>
                  <a:lnTo>
                    <a:pt x="2522" y="1148"/>
                  </a:lnTo>
                  <a:lnTo>
                    <a:pt x="2509" y="1137"/>
                  </a:lnTo>
                  <a:lnTo>
                    <a:pt x="2495" y="1125"/>
                  </a:lnTo>
                  <a:lnTo>
                    <a:pt x="2482" y="1112"/>
                  </a:lnTo>
                  <a:lnTo>
                    <a:pt x="2471" y="1098"/>
                  </a:lnTo>
                  <a:lnTo>
                    <a:pt x="2461" y="1085"/>
                  </a:lnTo>
                  <a:lnTo>
                    <a:pt x="2451" y="1072"/>
                  </a:lnTo>
                  <a:lnTo>
                    <a:pt x="2443" y="1058"/>
                  </a:lnTo>
                  <a:lnTo>
                    <a:pt x="2438" y="1045"/>
                  </a:lnTo>
                  <a:lnTo>
                    <a:pt x="2434" y="1033"/>
                  </a:lnTo>
                  <a:lnTo>
                    <a:pt x="2434" y="1021"/>
                  </a:lnTo>
                  <a:lnTo>
                    <a:pt x="2434" y="1008"/>
                  </a:lnTo>
                  <a:lnTo>
                    <a:pt x="2435" y="996"/>
                  </a:lnTo>
                  <a:lnTo>
                    <a:pt x="2438" y="984"/>
                  </a:lnTo>
                  <a:lnTo>
                    <a:pt x="2441" y="974"/>
                  </a:lnTo>
                  <a:lnTo>
                    <a:pt x="2445" y="965"/>
                  </a:lnTo>
                  <a:lnTo>
                    <a:pt x="2449" y="956"/>
                  </a:lnTo>
                  <a:lnTo>
                    <a:pt x="2454" y="949"/>
                  </a:lnTo>
                  <a:lnTo>
                    <a:pt x="2459" y="942"/>
                  </a:lnTo>
                  <a:lnTo>
                    <a:pt x="2473" y="930"/>
                  </a:lnTo>
                  <a:lnTo>
                    <a:pt x="2487" y="920"/>
                  </a:lnTo>
                  <a:lnTo>
                    <a:pt x="2502" y="912"/>
                  </a:lnTo>
                  <a:lnTo>
                    <a:pt x="2518" y="902"/>
                  </a:lnTo>
                  <a:lnTo>
                    <a:pt x="2534" y="894"/>
                  </a:lnTo>
                  <a:lnTo>
                    <a:pt x="2549" y="885"/>
                  </a:lnTo>
                  <a:lnTo>
                    <a:pt x="2563" y="876"/>
                  </a:lnTo>
                  <a:lnTo>
                    <a:pt x="2575" y="862"/>
                  </a:lnTo>
                  <a:lnTo>
                    <a:pt x="2582" y="856"/>
                  </a:lnTo>
                  <a:lnTo>
                    <a:pt x="2586" y="848"/>
                  </a:lnTo>
                  <a:lnTo>
                    <a:pt x="2591" y="838"/>
                  </a:lnTo>
                  <a:lnTo>
                    <a:pt x="2595" y="829"/>
                  </a:lnTo>
                  <a:lnTo>
                    <a:pt x="2598" y="818"/>
                  </a:lnTo>
                  <a:lnTo>
                    <a:pt x="2601" y="806"/>
                  </a:lnTo>
                  <a:lnTo>
                    <a:pt x="2602" y="794"/>
                  </a:lnTo>
                  <a:lnTo>
                    <a:pt x="2602" y="780"/>
                  </a:lnTo>
                  <a:lnTo>
                    <a:pt x="2601" y="762"/>
                  </a:lnTo>
                  <a:lnTo>
                    <a:pt x="2598" y="746"/>
                  </a:lnTo>
                  <a:lnTo>
                    <a:pt x="2594" y="732"/>
                  </a:lnTo>
                  <a:lnTo>
                    <a:pt x="2589" y="719"/>
                  </a:lnTo>
                  <a:lnTo>
                    <a:pt x="2582" y="707"/>
                  </a:lnTo>
                  <a:lnTo>
                    <a:pt x="2575" y="695"/>
                  </a:lnTo>
                  <a:lnTo>
                    <a:pt x="2567" y="684"/>
                  </a:lnTo>
                  <a:lnTo>
                    <a:pt x="2559" y="675"/>
                  </a:lnTo>
                  <a:lnTo>
                    <a:pt x="2545" y="655"/>
                  </a:lnTo>
                  <a:lnTo>
                    <a:pt x="2531" y="637"/>
                  </a:lnTo>
                  <a:lnTo>
                    <a:pt x="2526" y="628"/>
                  </a:lnTo>
                  <a:lnTo>
                    <a:pt x="2522" y="619"/>
                  </a:lnTo>
                  <a:lnTo>
                    <a:pt x="2519" y="609"/>
                  </a:lnTo>
                  <a:lnTo>
                    <a:pt x="2518" y="600"/>
                  </a:lnTo>
                  <a:lnTo>
                    <a:pt x="2519" y="589"/>
                  </a:lnTo>
                  <a:lnTo>
                    <a:pt x="2522" y="581"/>
                  </a:lnTo>
                  <a:lnTo>
                    <a:pt x="2526" y="576"/>
                  </a:lnTo>
                  <a:lnTo>
                    <a:pt x="2533" y="571"/>
                  </a:lnTo>
                  <a:lnTo>
                    <a:pt x="2547" y="564"/>
                  </a:lnTo>
                  <a:lnTo>
                    <a:pt x="2565" y="557"/>
                  </a:lnTo>
                  <a:lnTo>
                    <a:pt x="2573" y="553"/>
                  </a:lnTo>
                  <a:lnTo>
                    <a:pt x="2581" y="549"/>
                  </a:lnTo>
                  <a:lnTo>
                    <a:pt x="2587" y="543"/>
                  </a:lnTo>
                  <a:lnTo>
                    <a:pt x="2594" y="535"/>
                  </a:lnTo>
                  <a:lnTo>
                    <a:pt x="2599" y="525"/>
                  </a:lnTo>
                  <a:lnTo>
                    <a:pt x="2602" y="513"/>
                  </a:lnTo>
                  <a:lnTo>
                    <a:pt x="2603" y="497"/>
                  </a:lnTo>
                  <a:lnTo>
                    <a:pt x="2602" y="479"/>
                  </a:lnTo>
                  <a:lnTo>
                    <a:pt x="2599" y="467"/>
                  </a:lnTo>
                  <a:lnTo>
                    <a:pt x="2595" y="456"/>
                  </a:lnTo>
                  <a:lnTo>
                    <a:pt x="2589" y="448"/>
                  </a:lnTo>
                  <a:lnTo>
                    <a:pt x="2582" y="441"/>
                  </a:lnTo>
                  <a:lnTo>
                    <a:pt x="2573" y="436"/>
                  </a:lnTo>
                  <a:lnTo>
                    <a:pt x="2563" y="431"/>
                  </a:lnTo>
                  <a:lnTo>
                    <a:pt x="2553" y="427"/>
                  </a:lnTo>
                  <a:lnTo>
                    <a:pt x="2542" y="423"/>
                  </a:lnTo>
                  <a:lnTo>
                    <a:pt x="2533" y="419"/>
                  </a:lnTo>
                  <a:lnTo>
                    <a:pt x="2522" y="415"/>
                  </a:lnTo>
                  <a:lnTo>
                    <a:pt x="2513" y="411"/>
                  </a:lnTo>
                  <a:lnTo>
                    <a:pt x="2505" y="405"/>
                  </a:lnTo>
                  <a:lnTo>
                    <a:pt x="2498" y="399"/>
                  </a:lnTo>
                  <a:lnTo>
                    <a:pt x="2493" y="392"/>
                  </a:lnTo>
                  <a:lnTo>
                    <a:pt x="2489" y="383"/>
                  </a:lnTo>
                  <a:lnTo>
                    <a:pt x="2487" y="371"/>
                  </a:lnTo>
                  <a:lnTo>
                    <a:pt x="2487" y="359"/>
                  </a:lnTo>
                  <a:lnTo>
                    <a:pt x="2486" y="349"/>
                  </a:lnTo>
                  <a:lnTo>
                    <a:pt x="2486" y="345"/>
                  </a:lnTo>
                  <a:lnTo>
                    <a:pt x="2487" y="340"/>
                  </a:lnTo>
                  <a:lnTo>
                    <a:pt x="2490" y="335"/>
                  </a:lnTo>
                  <a:lnTo>
                    <a:pt x="2494" y="328"/>
                  </a:lnTo>
                  <a:lnTo>
                    <a:pt x="2465" y="333"/>
                  </a:lnTo>
                  <a:lnTo>
                    <a:pt x="2437" y="340"/>
                  </a:lnTo>
                  <a:lnTo>
                    <a:pt x="2425" y="344"/>
                  </a:lnTo>
                  <a:lnTo>
                    <a:pt x="2415" y="349"/>
                  </a:lnTo>
                  <a:lnTo>
                    <a:pt x="2411" y="353"/>
                  </a:lnTo>
                  <a:lnTo>
                    <a:pt x="2407" y="356"/>
                  </a:lnTo>
                  <a:lnTo>
                    <a:pt x="2405" y="360"/>
                  </a:lnTo>
                  <a:lnTo>
                    <a:pt x="2403" y="365"/>
                  </a:lnTo>
                  <a:lnTo>
                    <a:pt x="2421" y="385"/>
                  </a:lnTo>
                  <a:lnTo>
                    <a:pt x="2435" y="403"/>
                  </a:lnTo>
                  <a:lnTo>
                    <a:pt x="2443" y="417"/>
                  </a:lnTo>
                  <a:lnTo>
                    <a:pt x="2449" y="429"/>
                  </a:lnTo>
                  <a:lnTo>
                    <a:pt x="2450" y="435"/>
                  </a:lnTo>
                  <a:lnTo>
                    <a:pt x="2450" y="439"/>
                  </a:lnTo>
                  <a:lnTo>
                    <a:pt x="2450" y="443"/>
                  </a:lnTo>
                  <a:lnTo>
                    <a:pt x="2449" y="445"/>
                  </a:lnTo>
                  <a:lnTo>
                    <a:pt x="2446" y="448"/>
                  </a:lnTo>
                  <a:lnTo>
                    <a:pt x="2443" y="451"/>
                  </a:lnTo>
                  <a:lnTo>
                    <a:pt x="2439" y="452"/>
                  </a:lnTo>
                  <a:lnTo>
                    <a:pt x="2435" y="452"/>
                  </a:lnTo>
                  <a:lnTo>
                    <a:pt x="2425" y="452"/>
                  </a:lnTo>
                  <a:lnTo>
                    <a:pt x="2413" y="448"/>
                  </a:lnTo>
                  <a:lnTo>
                    <a:pt x="2397" y="443"/>
                  </a:lnTo>
                  <a:lnTo>
                    <a:pt x="2381" y="435"/>
                  </a:lnTo>
                  <a:lnTo>
                    <a:pt x="2362" y="424"/>
                  </a:lnTo>
                  <a:lnTo>
                    <a:pt x="2342" y="411"/>
                  </a:lnTo>
                  <a:lnTo>
                    <a:pt x="2322" y="395"/>
                  </a:lnTo>
                  <a:lnTo>
                    <a:pt x="2301" y="377"/>
                  </a:lnTo>
                  <a:lnTo>
                    <a:pt x="2289" y="392"/>
                  </a:lnTo>
                  <a:lnTo>
                    <a:pt x="2275" y="409"/>
                  </a:lnTo>
                  <a:lnTo>
                    <a:pt x="2269" y="420"/>
                  </a:lnTo>
                  <a:lnTo>
                    <a:pt x="2263" y="431"/>
                  </a:lnTo>
                  <a:lnTo>
                    <a:pt x="2259" y="441"/>
                  </a:lnTo>
                  <a:lnTo>
                    <a:pt x="2257" y="453"/>
                  </a:lnTo>
                  <a:lnTo>
                    <a:pt x="2257" y="460"/>
                  </a:lnTo>
                  <a:lnTo>
                    <a:pt x="2258" y="467"/>
                  </a:lnTo>
                  <a:lnTo>
                    <a:pt x="2259" y="473"/>
                  </a:lnTo>
                  <a:lnTo>
                    <a:pt x="2262" y="480"/>
                  </a:lnTo>
                  <a:lnTo>
                    <a:pt x="2266" y="487"/>
                  </a:lnTo>
                  <a:lnTo>
                    <a:pt x="2270" y="495"/>
                  </a:lnTo>
                  <a:lnTo>
                    <a:pt x="2275" y="501"/>
                  </a:lnTo>
                  <a:lnTo>
                    <a:pt x="2282" y="509"/>
                  </a:lnTo>
                  <a:lnTo>
                    <a:pt x="2290" y="516"/>
                  </a:lnTo>
                  <a:lnTo>
                    <a:pt x="2299" y="524"/>
                  </a:lnTo>
                  <a:lnTo>
                    <a:pt x="2310" y="532"/>
                  </a:lnTo>
                  <a:lnTo>
                    <a:pt x="2322" y="541"/>
                  </a:lnTo>
                  <a:lnTo>
                    <a:pt x="2350" y="557"/>
                  </a:lnTo>
                  <a:lnTo>
                    <a:pt x="2385" y="576"/>
                  </a:lnTo>
                  <a:lnTo>
                    <a:pt x="2389" y="581"/>
                  </a:lnTo>
                  <a:lnTo>
                    <a:pt x="2398" y="595"/>
                  </a:lnTo>
                  <a:lnTo>
                    <a:pt x="2411" y="615"/>
                  </a:lnTo>
                  <a:lnTo>
                    <a:pt x="2423" y="640"/>
                  </a:lnTo>
                  <a:lnTo>
                    <a:pt x="2429" y="652"/>
                  </a:lnTo>
                  <a:lnTo>
                    <a:pt x="2434" y="665"/>
                  </a:lnTo>
                  <a:lnTo>
                    <a:pt x="2437" y="677"/>
                  </a:lnTo>
                  <a:lnTo>
                    <a:pt x="2438" y="689"/>
                  </a:lnTo>
                  <a:lnTo>
                    <a:pt x="2438" y="701"/>
                  </a:lnTo>
                  <a:lnTo>
                    <a:pt x="2435" y="711"/>
                  </a:lnTo>
                  <a:lnTo>
                    <a:pt x="2433" y="716"/>
                  </a:lnTo>
                  <a:lnTo>
                    <a:pt x="2430" y="720"/>
                  </a:lnTo>
                  <a:lnTo>
                    <a:pt x="2426" y="723"/>
                  </a:lnTo>
                  <a:lnTo>
                    <a:pt x="2422" y="727"/>
                  </a:lnTo>
                  <a:lnTo>
                    <a:pt x="2415" y="723"/>
                  </a:lnTo>
                  <a:lnTo>
                    <a:pt x="2409" y="717"/>
                  </a:lnTo>
                  <a:lnTo>
                    <a:pt x="2403" y="712"/>
                  </a:lnTo>
                  <a:lnTo>
                    <a:pt x="2399" y="707"/>
                  </a:lnTo>
                  <a:lnTo>
                    <a:pt x="2390" y="693"/>
                  </a:lnTo>
                  <a:lnTo>
                    <a:pt x="2382" y="680"/>
                  </a:lnTo>
                  <a:lnTo>
                    <a:pt x="2374" y="664"/>
                  </a:lnTo>
                  <a:lnTo>
                    <a:pt x="2366" y="649"/>
                  </a:lnTo>
                  <a:lnTo>
                    <a:pt x="2355" y="636"/>
                  </a:lnTo>
                  <a:lnTo>
                    <a:pt x="2343" y="624"/>
                  </a:lnTo>
                  <a:lnTo>
                    <a:pt x="2327" y="623"/>
                  </a:lnTo>
                  <a:lnTo>
                    <a:pt x="2313" y="620"/>
                  </a:lnTo>
                  <a:lnTo>
                    <a:pt x="2298" y="616"/>
                  </a:lnTo>
                  <a:lnTo>
                    <a:pt x="2285" y="611"/>
                  </a:lnTo>
                  <a:lnTo>
                    <a:pt x="2271" y="605"/>
                  </a:lnTo>
                  <a:lnTo>
                    <a:pt x="2259" y="597"/>
                  </a:lnTo>
                  <a:lnTo>
                    <a:pt x="2249" y="589"/>
                  </a:lnTo>
                  <a:lnTo>
                    <a:pt x="2238" y="581"/>
                  </a:lnTo>
                  <a:lnTo>
                    <a:pt x="2229" y="572"/>
                  </a:lnTo>
                  <a:lnTo>
                    <a:pt x="2221" y="563"/>
                  </a:lnTo>
                  <a:lnTo>
                    <a:pt x="2213" y="553"/>
                  </a:lnTo>
                  <a:lnTo>
                    <a:pt x="2206" y="545"/>
                  </a:lnTo>
                  <a:lnTo>
                    <a:pt x="2202" y="536"/>
                  </a:lnTo>
                  <a:lnTo>
                    <a:pt x="2197" y="528"/>
                  </a:lnTo>
                  <a:lnTo>
                    <a:pt x="2194" y="521"/>
                  </a:lnTo>
                  <a:lnTo>
                    <a:pt x="2193" y="515"/>
                  </a:lnTo>
                  <a:lnTo>
                    <a:pt x="2191" y="499"/>
                  </a:lnTo>
                  <a:lnTo>
                    <a:pt x="2193" y="483"/>
                  </a:lnTo>
                  <a:lnTo>
                    <a:pt x="2194" y="468"/>
                  </a:lnTo>
                  <a:lnTo>
                    <a:pt x="2197" y="453"/>
                  </a:lnTo>
                  <a:lnTo>
                    <a:pt x="2201" y="440"/>
                  </a:lnTo>
                  <a:lnTo>
                    <a:pt x="2205" y="427"/>
                  </a:lnTo>
                  <a:lnTo>
                    <a:pt x="2210" y="413"/>
                  </a:lnTo>
                  <a:lnTo>
                    <a:pt x="2215" y="400"/>
                  </a:lnTo>
                  <a:lnTo>
                    <a:pt x="2227" y="375"/>
                  </a:lnTo>
                  <a:lnTo>
                    <a:pt x="2239" y="351"/>
                  </a:lnTo>
                  <a:lnTo>
                    <a:pt x="2253" y="325"/>
                  </a:lnTo>
                  <a:lnTo>
                    <a:pt x="2265" y="299"/>
                  </a:lnTo>
                  <a:lnTo>
                    <a:pt x="2267" y="285"/>
                  </a:lnTo>
                  <a:lnTo>
                    <a:pt x="2271" y="248"/>
                  </a:lnTo>
                  <a:lnTo>
                    <a:pt x="2273" y="223"/>
                  </a:lnTo>
                  <a:lnTo>
                    <a:pt x="2273" y="195"/>
                  </a:lnTo>
                  <a:lnTo>
                    <a:pt x="2270" y="163"/>
                  </a:lnTo>
                  <a:lnTo>
                    <a:pt x="2265" y="130"/>
                  </a:lnTo>
                  <a:lnTo>
                    <a:pt x="2258" y="124"/>
                  </a:lnTo>
                  <a:lnTo>
                    <a:pt x="2251" y="122"/>
                  </a:lnTo>
                  <a:lnTo>
                    <a:pt x="2246" y="120"/>
                  </a:lnTo>
                  <a:lnTo>
                    <a:pt x="2241" y="120"/>
                  </a:lnTo>
                  <a:lnTo>
                    <a:pt x="2235" y="123"/>
                  </a:lnTo>
                  <a:lnTo>
                    <a:pt x="2231" y="127"/>
                  </a:lnTo>
                  <a:lnTo>
                    <a:pt x="2229" y="131"/>
                  </a:lnTo>
                  <a:lnTo>
                    <a:pt x="2225" y="138"/>
                  </a:lnTo>
                  <a:lnTo>
                    <a:pt x="2219" y="153"/>
                  </a:lnTo>
                  <a:lnTo>
                    <a:pt x="2215" y="172"/>
                  </a:lnTo>
                  <a:lnTo>
                    <a:pt x="2211" y="195"/>
                  </a:lnTo>
                  <a:lnTo>
                    <a:pt x="2209" y="217"/>
                  </a:lnTo>
                  <a:lnTo>
                    <a:pt x="2206" y="243"/>
                  </a:lnTo>
                  <a:lnTo>
                    <a:pt x="2203" y="265"/>
                  </a:lnTo>
                  <a:lnTo>
                    <a:pt x="2199" y="288"/>
                  </a:lnTo>
                  <a:lnTo>
                    <a:pt x="2195" y="308"/>
                  </a:lnTo>
                  <a:lnTo>
                    <a:pt x="2193" y="317"/>
                  </a:lnTo>
                  <a:lnTo>
                    <a:pt x="2190" y="325"/>
                  </a:lnTo>
                  <a:lnTo>
                    <a:pt x="2186" y="332"/>
                  </a:lnTo>
                  <a:lnTo>
                    <a:pt x="2182" y="339"/>
                  </a:lnTo>
                  <a:lnTo>
                    <a:pt x="2178" y="343"/>
                  </a:lnTo>
                  <a:lnTo>
                    <a:pt x="2174" y="345"/>
                  </a:lnTo>
                  <a:lnTo>
                    <a:pt x="2169" y="347"/>
                  </a:lnTo>
                  <a:lnTo>
                    <a:pt x="2162" y="347"/>
                  </a:lnTo>
                  <a:lnTo>
                    <a:pt x="2138" y="352"/>
                  </a:lnTo>
                  <a:lnTo>
                    <a:pt x="2117" y="359"/>
                  </a:lnTo>
                  <a:lnTo>
                    <a:pt x="2098" y="365"/>
                  </a:lnTo>
                  <a:lnTo>
                    <a:pt x="2082" y="372"/>
                  </a:lnTo>
                  <a:lnTo>
                    <a:pt x="2069" y="380"/>
                  </a:lnTo>
                  <a:lnTo>
                    <a:pt x="2057" y="388"/>
                  </a:lnTo>
                  <a:lnTo>
                    <a:pt x="2048" y="396"/>
                  </a:lnTo>
                  <a:lnTo>
                    <a:pt x="2040" y="404"/>
                  </a:lnTo>
                  <a:lnTo>
                    <a:pt x="2033" y="413"/>
                  </a:lnTo>
                  <a:lnTo>
                    <a:pt x="2029" y="423"/>
                  </a:lnTo>
                  <a:lnTo>
                    <a:pt x="2025" y="432"/>
                  </a:lnTo>
                  <a:lnTo>
                    <a:pt x="2021" y="443"/>
                  </a:lnTo>
                  <a:lnTo>
                    <a:pt x="2016" y="463"/>
                  </a:lnTo>
                  <a:lnTo>
                    <a:pt x="2012" y="485"/>
                  </a:lnTo>
                  <a:lnTo>
                    <a:pt x="2009" y="505"/>
                  </a:lnTo>
                  <a:lnTo>
                    <a:pt x="2009" y="525"/>
                  </a:lnTo>
                  <a:lnTo>
                    <a:pt x="2010" y="548"/>
                  </a:lnTo>
                  <a:lnTo>
                    <a:pt x="2013" y="569"/>
                  </a:lnTo>
                  <a:lnTo>
                    <a:pt x="2022" y="615"/>
                  </a:lnTo>
                  <a:lnTo>
                    <a:pt x="2032" y="657"/>
                  </a:lnTo>
                  <a:lnTo>
                    <a:pt x="2036" y="679"/>
                  </a:lnTo>
                  <a:lnTo>
                    <a:pt x="2038" y="699"/>
                  </a:lnTo>
                  <a:lnTo>
                    <a:pt x="2040" y="716"/>
                  </a:lnTo>
                  <a:lnTo>
                    <a:pt x="2040" y="733"/>
                  </a:lnTo>
                  <a:lnTo>
                    <a:pt x="2038" y="741"/>
                  </a:lnTo>
                  <a:lnTo>
                    <a:pt x="2036" y="748"/>
                  </a:lnTo>
                  <a:lnTo>
                    <a:pt x="2033" y="754"/>
                  </a:lnTo>
                  <a:lnTo>
                    <a:pt x="2029" y="761"/>
                  </a:lnTo>
                  <a:lnTo>
                    <a:pt x="2025" y="766"/>
                  </a:lnTo>
                  <a:lnTo>
                    <a:pt x="2020" y="772"/>
                  </a:lnTo>
                  <a:lnTo>
                    <a:pt x="2013" y="777"/>
                  </a:lnTo>
                  <a:lnTo>
                    <a:pt x="2006" y="780"/>
                  </a:lnTo>
                  <a:lnTo>
                    <a:pt x="1994" y="810"/>
                  </a:lnTo>
                  <a:lnTo>
                    <a:pt x="1984" y="840"/>
                  </a:lnTo>
                  <a:lnTo>
                    <a:pt x="1974" y="868"/>
                  </a:lnTo>
                  <a:lnTo>
                    <a:pt x="1965" y="894"/>
                  </a:lnTo>
                  <a:lnTo>
                    <a:pt x="1957" y="920"/>
                  </a:lnTo>
                  <a:lnTo>
                    <a:pt x="1950" y="945"/>
                  </a:lnTo>
                  <a:lnTo>
                    <a:pt x="1948" y="968"/>
                  </a:lnTo>
                  <a:lnTo>
                    <a:pt x="1946" y="990"/>
                  </a:lnTo>
                  <a:lnTo>
                    <a:pt x="1945" y="1029"/>
                  </a:lnTo>
                  <a:lnTo>
                    <a:pt x="1945" y="1060"/>
                  </a:lnTo>
                  <a:lnTo>
                    <a:pt x="1946" y="1073"/>
                  </a:lnTo>
                  <a:lnTo>
                    <a:pt x="1949" y="1085"/>
                  </a:lnTo>
                  <a:lnTo>
                    <a:pt x="1953" y="1096"/>
                  </a:lnTo>
                  <a:lnTo>
                    <a:pt x="1958" y="1104"/>
                  </a:lnTo>
                  <a:lnTo>
                    <a:pt x="1962" y="1106"/>
                  </a:lnTo>
                  <a:lnTo>
                    <a:pt x="1966" y="1109"/>
                  </a:lnTo>
                  <a:lnTo>
                    <a:pt x="1972" y="1112"/>
                  </a:lnTo>
                  <a:lnTo>
                    <a:pt x="1978" y="1113"/>
                  </a:lnTo>
                  <a:lnTo>
                    <a:pt x="1992" y="1116"/>
                  </a:lnTo>
                  <a:lnTo>
                    <a:pt x="2009" y="1116"/>
                  </a:lnTo>
                  <a:lnTo>
                    <a:pt x="2030" y="1113"/>
                  </a:lnTo>
                  <a:lnTo>
                    <a:pt x="2056" y="1109"/>
                  </a:lnTo>
                  <a:lnTo>
                    <a:pt x="2086" y="1102"/>
                  </a:lnTo>
                  <a:lnTo>
                    <a:pt x="2121" y="1093"/>
                  </a:lnTo>
                  <a:lnTo>
                    <a:pt x="2136" y="1097"/>
                  </a:lnTo>
                  <a:lnTo>
                    <a:pt x="2150" y="1104"/>
                  </a:lnTo>
                  <a:lnTo>
                    <a:pt x="2163" y="1110"/>
                  </a:lnTo>
                  <a:lnTo>
                    <a:pt x="2175" y="1118"/>
                  </a:lnTo>
                  <a:lnTo>
                    <a:pt x="2187" y="1128"/>
                  </a:lnTo>
                  <a:lnTo>
                    <a:pt x="2198" y="1140"/>
                  </a:lnTo>
                  <a:lnTo>
                    <a:pt x="2209" y="1152"/>
                  </a:lnTo>
                  <a:lnTo>
                    <a:pt x="2217" y="1164"/>
                  </a:lnTo>
                  <a:lnTo>
                    <a:pt x="2226" y="1178"/>
                  </a:lnTo>
                  <a:lnTo>
                    <a:pt x="2233" y="1193"/>
                  </a:lnTo>
                  <a:lnTo>
                    <a:pt x="2241" y="1209"/>
                  </a:lnTo>
                  <a:lnTo>
                    <a:pt x="2246" y="1225"/>
                  </a:lnTo>
                  <a:lnTo>
                    <a:pt x="2251" y="1242"/>
                  </a:lnTo>
                  <a:lnTo>
                    <a:pt x="2257" y="1261"/>
                  </a:lnTo>
                  <a:lnTo>
                    <a:pt x="2261" y="1280"/>
                  </a:lnTo>
                  <a:lnTo>
                    <a:pt x="2265" y="1298"/>
                  </a:lnTo>
                  <a:lnTo>
                    <a:pt x="2267" y="1315"/>
                  </a:lnTo>
                  <a:lnTo>
                    <a:pt x="2267" y="1330"/>
                  </a:lnTo>
                  <a:lnTo>
                    <a:pt x="2265" y="1343"/>
                  </a:lnTo>
                  <a:lnTo>
                    <a:pt x="2262" y="1354"/>
                  </a:lnTo>
                  <a:lnTo>
                    <a:pt x="2257" y="1362"/>
                  </a:lnTo>
                  <a:lnTo>
                    <a:pt x="2251" y="1369"/>
                  </a:lnTo>
                  <a:lnTo>
                    <a:pt x="2245" y="1375"/>
                  </a:lnTo>
                  <a:lnTo>
                    <a:pt x="2237" y="1381"/>
                  </a:lnTo>
                  <a:lnTo>
                    <a:pt x="2221" y="1390"/>
                  </a:lnTo>
                  <a:lnTo>
                    <a:pt x="2206" y="1401"/>
                  </a:lnTo>
                  <a:lnTo>
                    <a:pt x="2199" y="1407"/>
                  </a:lnTo>
                  <a:lnTo>
                    <a:pt x="2194" y="1415"/>
                  </a:lnTo>
                  <a:lnTo>
                    <a:pt x="2190" y="1425"/>
                  </a:lnTo>
                  <a:lnTo>
                    <a:pt x="2186" y="1437"/>
                  </a:lnTo>
                  <a:lnTo>
                    <a:pt x="2186" y="1443"/>
                  </a:lnTo>
                  <a:lnTo>
                    <a:pt x="2187" y="1450"/>
                  </a:lnTo>
                  <a:lnTo>
                    <a:pt x="2189" y="1458"/>
                  </a:lnTo>
                  <a:lnTo>
                    <a:pt x="2190" y="1465"/>
                  </a:lnTo>
                  <a:lnTo>
                    <a:pt x="2197" y="1477"/>
                  </a:lnTo>
                  <a:lnTo>
                    <a:pt x="2205" y="1489"/>
                  </a:lnTo>
                  <a:lnTo>
                    <a:pt x="2214" y="1499"/>
                  </a:lnTo>
                  <a:lnTo>
                    <a:pt x="2226" y="1510"/>
                  </a:lnTo>
                  <a:lnTo>
                    <a:pt x="2237" y="1519"/>
                  </a:lnTo>
                  <a:lnTo>
                    <a:pt x="2250" y="1529"/>
                  </a:lnTo>
                  <a:lnTo>
                    <a:pt x="2274" y="1543"/>
                  </a:lnTo>
                  <a:lnTo>
                    <a:pt x="2295" y="1557"/>
                  </a:lnTo>
                  <a:lnTo>
                    <a:pt x="2303" y="1562"/>
                  </a:lnTo>
                  <a:lnTo>
                    <a:pt x="2309" y="1567"/>
                  </a:lnTo>
                  <a:lnTo>
                    <a:pt x="2313" y="1571"/>
                  </a:lnTo>
                  <a:lnTo>
                    <a:pt x="2313" y="1575"/>
                  </a:lnTo>
                  <a:lnTo>
                    <a:pt x="2299" y="1575"/>
                  </a:lnTo>
                  <a:lnTo>
                    <a:pt x="2286" y="1575"/>
                  </a:lnTo>
                  <a:lnTo>
                    <a:pt x="2273" y="1573"/>
                  </a:lnTo>
                  <a:lnTo>
                    <a:pt x="2259" y="1570"/>
                  </a:lnTo>
                  <a:lnTo>
                    <a:pt x="2246" y="1566"/>
                  </a:lnTo>
                  <a:lnTo>
                    <a:pt x="2234" y="1562"/>
                  </a:lnTo>
                  <a:lnTo>
                    <a:pt x="2222" y="1555"/>
                  </a:lnTo>
                  <a:lnTo>
                    <a:pt x="2210" y="1549"/>
                  </a:lnTo>
                  <a:lnTo>
                    <a:pt x="2201" y="1542"/>
                  </a:lnTo>
                  <a:lnTo>
                    <a:pt x="2191" y="1534"/>
                  </a:lnTo>
                  <a:lnTo>
                    <a:pt x="2183" y="1526"/>
                  </a:lnTo>
                  <a:lnTo>
                    <a:pt x="2175" y="1517"/>
                  </a:lnTo>
                  <a:lnTo>
                    <a:pt x="2170" y="1509"/>
                  </a:lnTo>
                  <a:lnTo>
                    <a:pt x="2166" y="1498"/>
                  </a:lnTo>
                  <a:lnTo>
                    <a:pt x="2163" y="1489"/>
                  </a:lnTo>
                  <a:lnTo>
                    <a:pt x="2162" y="1478"/>
                  </a:lnTo>
                  <a:lnTo>
                    <a:pt x="2163" y="1459"/>
                  </a:lnTo>
                  <a:lnTo>
                    <a:pt x="2166" y="1439"/>
                  </a:lnTo>
                  <a:lnTo>
                    <a:pt x="2170" y="1419"/>
                  </a:lnTo>
                  <a:lnTo>
                    <a:pt x="2175" y="1399"/>
                  </a:lnTo>
                  <a:lnTo>
                    <a:pt x="2193" y="1354"/>
                  </a:lnTo>
                  <a:lnTo>
                    <a:pt x="2217" y="1298"/>
                  </a:lnTo>
                  <a:lnTo>
                    <a:pt x="2206" y="1289"/>
                  </a:lnTo>
                  <a:lnTo>
                    <a:pt x="2197" y="1277"/>
                  </a:lnTo>
                  <a:lnTo>
                    <a:pt x="2190" y="1265"/>
                  </a:lnTo>
                  <a:lnTo>
                    <a:pt x="2182" y="1253"/>
                  </a:lnTo>
                  <a:lnTo>
                    <a:pt x="2170" y="1226"/>
                  </a:lnTo>
                  <a:lnTo>
                    <a:pt x="2157" y="1201"/>
                  </a:lnTo>
                  <a:lnTo>
                    <a:pt x="2149" y="1189"/>
                  </a:lnTo>
                  <a:lnTo>
                    <a:pt x="2140" y="1178"/>
                  </a:lnTo>
                  <a:lnTo>
                    <a:pt x="2129" y="1169"/>
                  </a:lnTo>
                  <a:lnTo>
                    <a:pt x="2117" y="1162"/>
                  </a:lnTo>
                  <a:lnTo>
                    <a:pt x="2110" y="1158"/>
                  </a:lnTo>
                  <a:lnTo>
                    <a:pt x="2102" y="1156"/>
                  </a:lnTo>
                  <a:lnTo>
                    <a:pt x="2094" y="1154"/>
                  </a:lnTo>
                  <a:lnTo>
                    <a:pt x="2085" y="1153"/>
                  </a:lnTo>
                  <a:lnTo>
                    <a:pt x="2076" y="1152"/>
                  </a:lnTo>
                  <a:lnTo>
                    <a:pt x="2065" y="1152"/>
                  </a:lnTo>
                  <a:lnTo>
                    <a:pt x="2054" y="1152"/>
                  </a:lnTo>
                  <a:lnTo>
                    <a:pt x="2042" y="1153"/>
                  </a:lnTo>
                  <a:lnTo>
                    <a:pt x="2022" y="1157"/>
                  </a:lnTo>
                  <a:lnTo>
                    <a:pt x="2006" y="1161"/>
                  </a:lnTo>
                  <a:lnTo>
                    <a:pt x="1990" y="1166"/>
                  </a:lnTo>
                  <a:lnTo>
                    <a:pt x="1978" y="1174"/>
                  </a:lnTo>
                  <a:lnTo>
                    <a:pt x="1973" y="1178"/>
                  </a:lnTo>
                  <a:lnTo>
                    <a:pt x="1968" y="1184"/>
                  </a:lnTo>
                  <a:lnTo>
                    <a:pt x="1962" y="1189"/>
                  </a:lnTo>
                  <a:lnTo>
                    <a:pt x="1958" y="1196"/>
                  </a:lnTo>
                  <a:lnTo>
                    <a:pt x="1950" y="1209"/>
                  </a:lnTo>
                  <a:lnTo>
                    <a:pt x="1945" y="1225"/>
                  </a:lnTo>
                  <a:lnTo>
                    <a:pt x="1941" y="1244"/>
                  </a:lnTo>
                  <a:lnTo>
                    <a:pt x="1938" y="1265"/>
                  </a:lnTo>
                  <a:lnTo>
                    <a:pt x="1937" y="1289"/>
                  </a:lnTo>
                  <a:lnTo>
                    <a:pt x="1938" y="1315"/>
                  </a:lnTo>
                  <a:lnTo>
                    <a:pt x="1940" y="1345"/>
                  </a:lnTo>
                  <a:lnTo>
                    <a:pt x="1942" y="1378"/>
                  </a:lnTo>
                  <a:lnTo>
                    <a:pt x="1946" y="1414"/>
                  </a:lnTo>
                  <a:lnTo>
                    <a:pt x="1952" y="1454"/>
                  </a:lnTo>
                  <a:lnTo>
                    <a:pt x="1913" y="1474"/>
                  </a:lnTo>
                  <a:lnTo>
                    <a:pt x="1886" y="1490"/>
                  </a:lnTo>
                  <a:lnTo>
                    <a:pt x="1877" y="1497"/>
                  </a:lnTo>
                  <a:lnTo>
                    <a:pt x="1869" y="1503"/>
                  </a:lnTo>
                  <a:lnTo>
                    <a:pt x="1862" y="1509"/>
                  </a:lnTo>
                  <a:lnTo>
                    <a:pt x="1858" y="1515"/>
                  </a:lnTo>
                  <a:lnTo>
                    <a:pt x="1846" y="1539"/>
                  </a:lnTo>
                  <a:lnTo>
                    <a:pt x="1832" y="1575"/>
                  </a:lnTo>
                  <a:lnTo>
                    <a:pt x="1822" y="1589"/>
                  </a:lnTo>
                  <a:lnTo>
                    <a:pt x="1814" y="1601"/>
                  </a:lnTo>
                  <a:lnTo>
                    <a:pt x="1806" y="1613"/>
                  </a:lnTo>
                  <a:lnTo>
                    <a:pt x="1797" y="1622"/>
                  </a:lnTo>
                  <a:lnTo>
                    <a:pt x="1789" y="1630"/>
                  </a:lnTo>
                  <a:lnTo>
                    <a:pt x="1780" y="1638"/>
                  </a:lnTo>
                  <a:lnTo>
                    <a:pt x="1772" y="1643"/>
                  </a:lnTo>
                  <a:lnTo>
                    <a:pt x="1764" y="1649"/>
                  </a:lnTo>
                  <a:lnTo>
                    <a:pt x="1746" y="1657"/>
                  </a:lnTo>
                  <a:lnTo>
                    <a:pt x="1730" y="1662"/>
                  </a:lnTo>
                  <a:lnTo>
                    <a:pt x="1714" y="1666"/>
                  </a:lnTo>
                  <a:lnTo>
                    <a:pt x="1700" y="1669"/>
                  </a:lnTo>
                  <a:lnTo>
                    <a:pt x="1685" y="1671"/>
                  </a:lnTo>
                  <a:lnTo>
                    <a:pt x="1672" y="1675"/>
                  </a:lnTo>
                  <a:lnTo>
                    <a:pt x="1658" y="1679"/>
                  </a:lnTo>
                  <a:lnTo>
                    <a:pt x="1646" y="1686"/>
                  </a:lnTo>
                  <a:lnTo>
                    <a:pt x="1640" y="1690"/>
                  </a:lnTo>
                  <a:lnTo>
                    <a:pt x="1634" y="1695"/>
                  </a:lnTo>
                  <a:lnTo>
                    <a:pt x="1629" y="1702"/>
                  </a:lnTo>
                  <a:lnTo>
                    <a:pt x="1625" y="1709"/>
                  </a:lnTo>
                  <a:lnTo>
                    <a:pt x="1620" y="1717"/>
                  </a:lnTo>
                  <a:lnTo>
                    <a:pt x="1616" y="1726"/>
                  </a:lnTo>
                  <a:lnTo>
                    <a:pt x="1612" y="1738"/>
                  </a:lnTo>
                  <a:lnTo>
                    <a:pt x="1609" y="1750"/>
                  </a:lnTo>
                  <a:lnTo>
                    <a:pt x="1592" y="1733"/>
                  </a:lnTo>
                  <a:lnTo>
                    <a:pt x="1573" y="1719"/>
                  </a:lnTo>
                  <a:lnTo>
                    <a:pt x="1554" y="1709"/>
                  </a:lnTo>
                  <a:lnTo>
                    <a:pt x="1537" y="1701"/>
                  </a:lnTo>
                  <a:lnTo>
                    <a:pt x="1518" y="1693"/>
                  </a:lnTo>
                  <a:lnTo>
                    <a:pt x="1500" y="1687"/>
                  </a:lnTo>
                  <a:lnTo>
                    <a:pt x="1482" y="1683"/>
                  </a:lnTo>
                  <a:lnTo>
                    <a:pt x="1466" y="1679"/>
                  </a:lnTo>
                  <a:lnTo>
                    <a:pt x="1450" y="1675"/>
                  </a:lnTo>
                  <a:lnTo>
                    <a:pt x="1437" y="1671"/>
                  </a:lnTo>
                  <a:lnTo>
                    <a:pt x="1424" y="1666"/>
                  </a:lnTo>
                  <a:lnTo>
                    <a:pt x="1413" y="1659"/>
                  </a:lnTo>
                  <a:lnTo>
                    <a:pt x="1408" y="1657"/>
                  </a:lnTo>
                  <a:lnTo>
                    <a:pt x="1404" y="1653"/>
                  </a:lnTo>
                  <a:lnTo>
                    <a:pt x="1400" y="1647"/>
                  </a:lnTo>
                  <a:lnTo>
                    <a:pt x="1397" y="1643"/>
                  </a:lnTo>
                  <a:lnTo>
                    <a:pt x="1394" y="1638"/>
                  </a:lnTo>
                  <a:lnTo>
                    <a:pt x="1393" y="1631"/>
                  </a:lnTo>
                  <a:lnTo>
                    <a:pt x="1392" y="1625"/>
                  </a:lnTo>
                  <a:lnTo>
                    <a:pt x="1392" y="1617"/>
                  </a:lnTo>
                  <a:lnTo>
                    <a:pt x="1390" y="1609"/>
                  </a:lnTo>
                  <a:lnTo>
                    <a:pt x="1388" y="1601"/>
                  </a:lnTo>
                  <a:lnTo>
                    <a:pt x="1382" y="1593"/>
                  </a:lnTo>
                  <a:lnTo>
                    <a:pt x="1377" y="1585"/>
                  </a:lnTo>
                  <a:lnTo>
                    <a:pt x="1364" y="1570"/>
                  </a:lnTo>
                  <a:lnTo>
                    <a:pt x="1353" y="1557"/>
                  </a:lnTo>
                  <a:lnTo>
                    <a:pt x="1351" y="1551"/>
                  </a:lnTo>
                  <a:lnTo>
                    <a:pt x="1349" y="1546"/>
                  </a:lnTo>
                  <a:lnTo>
                    <a:pt x="1349" y="1543"/>
                  </a:lnTo>
                  <a:lnTo>
                    <a:pt x="1349" y="1541"/>
                  </a:lnTo>
                  <a:lnTo>
                    <a:pt x="1352" y="1539"/>
                  </a:lnTo>
                  <a:lnTo>
                    <a:pt x="1353" y="1538"/>
                  </a:lnTo>
                  <a:lnTo>
                    <a:pt x="1361" y="1535"/>
                  </a:lnTo>
                  <a:lnTo>
                    <a:pt x="1373" y="1533"/>
                  </a:lnTo>
                  <a:lnTo>
                    <a:pt x="1389" y="1533"/>
                  </a:lnTo>
                  <a:lnTo>
                    <a:pt x="1409" y="1533"/>
                  </a:lnTo>
                  <a:lnTo>
                    <a:pt x="1416" y="1534"/>
                  </a:lnTo>
                  <a:lnTo>
                    <a:pt x="1422" y="1535"/>
                  </a:lnTo>
                  <a:lnTo>
                    <a:pt x="1428" y="1538"/>
                  </a:lnTo>
                  <a:lnTo>
                    <a:pt x="1432" y="1541"/>
                  </a:lnTo>
                  <a:lnTo>
                    <a:pt x="1440" y="1547"/>
                  </a:lnTo>
                  <a:lnTo>
                    <a:pt x="1446" y="1557"/>
                  </a:lnTo>
                  <a:lnTo>
                    <a:pt x="1457" y="1579"/>
                  </a:lnTo>
                  <a:lnTo>
                    <a:pt x="1465" y="1605"/>
                  </a:lnTo>
                  <a:lnTo>
                    <a:pt x="1470" y="1617"/>
                  </a:lnTo>
                  <a:lnTo>
                    <a:pt x="1476" y="1629"/>
                  </a:lnTo>
                  <a:lnTo>
                    <a:pt x="1482" y="1641"/>
                  </a:lnTo>
                  <a:lnTo>
                    <a:pt x="1490" y="1650"/>
                  </a:lnTo>
                  <a:lnTo>
                    <a:pt x="1496" y="1655"/>
                  </a:lnTo>
                  <a:lnTo>
                    <a:pt x="1501" y="1659"/>
                  </a:lnTo>
                  <a:lnTo>
                    <a:pt x="1508" y="1662"/>
                  </a:lnTo>
                  <a:lnTo>
                    <a:pt x="1514" y="1666"/>
                  </a:lnTo>
                  <a:lnTo>
                    <a:pt x="1521" y="1669"/>
                  </a:lnTo>
                  <a:lnTo>
                    <a:pt x="1529" y="1670"/>
                  </a:lnTo>
                  <a:lnTo>
                    <a:pt x="1538" y="1671"/>
                  </a:lnTo>
                  <a:lnTo>
                    <a:pt x="1548" y="1671"/>
                  </a:lnTo>
                  <a:lnTo>
                    <a:pt x="1556" y="1670"/>
                  </a:lnTo>
                  <a:lnTo>
                    <a:pt x="1564" y="1669"/>
                  </a:lnTo>
                  <a:lnTo>
                    <a:pt x="1570" y="1665"/>
                  </a:lnTo>
                  <a:lnTo>
                    <a:pt x="1578" y="1661"/>
                  </a:lnTo>
                  <a:lnTo>
                    <a:pt x="1592" y="1650"/>
                  </a:lnTo>
                  <a:lnTo>
                    <a:pt x="1605" y="1637"/>
                  </a:lnTo>
                  <a:lnTo>
                    <a:pt x="1618" y="1619"/>
                  </a:lnTo>
                  <a:lnTo>
                    <a:pt x="1632" y="1601"/>
                  </a:lnTo>
                  <a:lnTo>
                    <a:pt x="1646" y="1581"/>
                  </a:lnTo>
                  <a:lnTo>
                    <a:pt x="1660" y="1558"/>
                  </a:lnTo>
                  <a:lnTo>
                    <a:pt x="1674" y="1535"/>
                  </a:lnTo>
                  <a:lnTo>
                    <a:pt x="1689" y="1511"/>
                  </a:lnTo>
                  <a:lnTo>
                    <a:pt x="1705" y="1489"/>
                  </a:lnTo>
                  <a:lnTo>
                    <a:pt x="1722" y="1465"/>
                  </a:lnTo>
                  <a:lnTo>
                    <a:pt x="1741" y="1442"/>
                  </a:lnTo>
                  <a:lnTo>
                    <a:pt x="1761" y="1421"/>
                  </a:lnTo>
                  <a:lnTo>
                    <a:pt x="1772" y="1410"/>
                  </a:lnTo>
                  <a:lnTo>
                    <a:pt x="1784" y="1401"/>
                  </a:lnTo>
                  <a:lnTo>
                    <a:pt x="1796" y="1391"/>
                  </a:lnTo>
                  <a:lnTo>
                    <a:pt x="1808" y="1382"/>
                  </a:lnTo>
                  <a:lnTo>
                    <a:pt x="1810" y="1366"/>
                  </a:lnTo>
                  <a:lnTo>
                    <a:pt x="1814" y="1351"/>
                  </a:lnTo>
                  <a:lnTo>
                    <a:pt x="1818" y="1339"/>
                  </a:lnTo>
                  <a:lnTo>
                    <a:pt x="1822" y="1329"/>
                  </a:lnTo>
                  <a:lnTo>
                    <a:pt x="1828" y="1319"/>
                  </a:lnTo>
                  <a:lnTo>
                    <a:pt x="1833" y="1311"/>
                  </a:lnTo>
                  <a:lnTo>
                    <a:pt x="1838" y="1305"/>
                  </a:lnTo>
                  <a:lnTo>
                    <a:pt x="1844" y="1301"/>
                  </a:lnTo>
                  <a:lnTo>
                    <a:pt x="1854" y="1293"/>
                  </a:lnTo>
                  <a:lnTo>
                    <a:pt x="1865" y="1288"/>
                  </a:lnTo>
                  <a:lnTo>
                    <a:pt x="1874" y="1285"/>
                  </a:lnTo>
                  <a:lnTo>
                    <a:pt x="1884" y="1281"/>
                  </a:lnTo>
                  <a:lnTo>
                    <a:pt x="1886" y="1280"/>
                  </a:lnTo>
                  <a:lnTo>
                    <a:pt x="1890" y="1277"/>
                  </a:lnTo>
                  <a:lnTo>
                    <a:pt x="1892" y="1274"/>
                  </a:lnTo>
                  <a:lnTo>
                    <a:pt x="1894" y="1272"/>
                  </a:lnTo>
                  <a:lnTo>
                    <a:pt x="1894" y="1266"/>
                  </a:lnTo>
                  <a:lnTo>
                    <a:pt x="1896" y="1261"/>
                  </a:lnTo>
                  <a:lnTo>
                    <a:pt x="1894" y="1254"/>
                  </a:lnTo>
                  <a:lnTo>
                    <a:pt x="1893" y="1246"/>
                  </a:lnTo>
                  <a:lnTo>
                    <a:pt x="1886" y="1226"/>
                  </a:lnTo>
                  <a:lnTo>
                    <a:pt x="1876" y="1198"/>
                  </a:lnTo>
                  <a:lnTo>
                    <a:pt x="1860" y="1164"/>
                  </a:lnTo>
                  <a:lnTo>
                    <a:pt x="1837" y="1117"/>
                  </a:lnTo>
                  <a:lnTo>
                    <a:pt x="1832" y="1106"/>
                  </a:lnTo>
                  <a:lnTo>
                    <a:pt x="1828" y="1094"/>
                  </a:lnTo>
                  <a:lnTo>
                    <a:pt x="1825" y="1082"/>
                  </a:lnTo>
                  <a:lnTo>
                    <a:pt x="1824" y="1069"/>
                  </a:lnTo>
                  <a:lnTo>
                    <a:pt x="1822" y="1056"/>
                  </a:lnTo>
                  <a:lnTo>
                    <a:pt x="1821" y="1041"/>
                  </a:lnTo>
                  <a:lnTo>
                    <a:pt x="1822" y="1026"/>
                  </a:lnTo>
                  <a:lnTo>
                    <a:pt x="1824" y="1012"/>
                  </a:lnTo>
                  <a:lnTo>
                    <a:pt x="1828" y="981"/>
                  </a:lnTo>
                  <a:lnTo>
                    <a:pt x="1834" y="949"/>
                  </a:lnTo>
                  <a:lnTo>
                    <a:pt x="1844" y="916"/>
                  </a:lnTo>
                  <a:lnTo>
                    <a:pt x="1854" y="884"/>
                  </a:lnTo>
                  <a:lnTo>
                    <a:pt x="1866" y="850"/>
                  </a:lnTo>
                  <a:lnTo>
                    <a:pt x="1880" y="818"/>
                  </a:lnTo>
                  <a:lnTo>
                    <a:pt x="1894" y="786"/>
                  </a:lnTo>
                  <a:lnTo>
                    <a:pt x="1908" y="756"/>
                  </a:lnTo>
                  <a:lnTo>
                    <a:pt x="1934" y="700"/>
                  </a:lnTo>
                  <a:lnTo>
                    <a:pt x="1958" y="653"/>
                  </a:lnTo>
                  <a:lnTo>
                    <a:pt x="1966" y="633"/>
                  </a:lnTo>
                  <a:lnTo>
                    <a:pt x="1970" y="617"/>
                  </a:lnTo>
                  <a:lnTo>
                    <a:pt x="1973" y="603"/>
                  </a:lnTo>
                  <a:lnTo>
                    <a:pt x="1972" y="589"/>
                  </a:lnTo>
                  <a:lnTo>
                    <a:pt x="1969" y="577"/>
                  </a:lnTo>
                  <a:lnTo>
                    <a:pt x="1965" y="568"/>
                  </a:lnTo>
                  <a:lnTo>
                    <a:pt x="1958" y="559"/>
                  </a:lnTo>
                  <a:lnTo>
                    <a:pt x="1953" y="548"/>
                  </a:lnTo>
                  <a:lnTo>
                    <a:pt x="1946" y="539"/>
                  </a:lnTo>
                  <a:lnTo>
                    <a:pt x="1940" y="528"/>
                  </a:lnTo>
                  <a:lnTo>
                    <a:pt x="1934" y="516"/>
                  </a:lnTo>
                  <a:lnTo>
                    <a:pt x="1930" y="503"/>
                  </a:lnTo>
                  <a:lnTo>
                    <a:pt x="1928" y="488"/>
                  </a:lnTo>
                  <a:lnTo>
                    <a:pt x="1926" y="469"/>
                  </a:lnTo>
                  <a:lnTo>
                    <a:pt x="1929" y="449"/>
                  </a:lnTo>
                  <a:lnTo>
                    <a:pt x="1934" y="425"/>
                  </a:lnTo>
                  <a:lnTo>
                    <a:pt x="1941" y="405"/>
                  </a:lnTo>
                  <a:lnTo>
                    <a:pt x="1948" y="389"/>
                  </a:lnTo>
                  <a:lnTo>
                    <a:pt x="1956" y="376"/>
                  </a:lnTo>
                  <a:lnTo>
                    <a:pt x="1964" y="367"/>
                  </a:lnTo>
                  <a:lnTo>
                    <a:pt x="1972" y="359"/>
                  </a:lnTo>
                  <a:lnTo>
                    <a:pt x="1981" y="353"/>
                  </a:lnTo>
                  <a:lnTo>
                    <a:pt x="1989" y="348"/>
                  </a:lnTo>
                  <a:lnTo>
                    <a:pt x="1998" y="343"/>
                  </a:lnTo>
                  <a:lnTo>
                    <a:pt x="2006" y="337"/>
                  </a:lnTo>
                  <a:lnTo>
                    <a:pt x="2016" y="329"/>
                  </a:lnTo>
                  <a:lnTo>
                    <a:pt x="2024" y="321"/>
                  </a:lnTo>
                  <a:lnTo>
                    <a:pt x="2033" y="309"/>
                  </a:lnTo>
                  <a:lnTo>
                    <a:pt x="2041" y="293"/>
                  </a:lnTo>
                  <a:lnTo>
                    <a:pt x="2050" y="275"/>
                  </a:lnTo>
                  <a:lnTo>
                    <a:pt x="2058" y="249"/>
                  </a:lnTo>
                  <a:lnTo>
                    <a:pt x="2066" y="220"/>
                  </a:lnTo>
                  <a:lnTo>
                    <a:pt x="2069" y="204"/>
                  </a:lnTo>
                  <a:lnTo>
                    <a:pt x="2070" y="189"/>
                  </a:lnTo>
                  <a:lnTo>
                    <a:pt x="2072" y="176"/>
                  </a:lnTo>
                  <a:lnTo>
                    <a:pt x="2072" y="164"/>
                  </a:lnTo>
                  <a:lnTo>
                    <a:pt x="2069" y="152"/>
                  </a:lnTo>
                  <a:lnTo>
                    <a:pt x="2066" y="143"/>
                  </a:lnTo>
                  <a:lnTo>
                    <a:pt x="2062" y="132"/>
                  </a:lnTo>
                  <a:lnTo>
                    <a:pt x="2057" y="124"/>
                  </a:lnTo>
                  <a:lnTo>
                    <a:pt x="2049" y="116"/>
                  </a:lnTo>
                  <a:lnTo>
                    <a:pt x="2041" y="108"/>
                  </a:lnTo>
                  <a:lnTo>
                    <a:pt x="2030" y="100"/>
                  </a:lnTo>
                  <a:lnTo>
                    <a:pt x="2018" y="94"/>
                  </a:lnTo>
                  <a:lnTo>
                    <a:pt x="1989" y="79"/>
                  </a:lnTo>
                  <a:lnTo>
                    <a:pt x="1952" y="64"/>
                  </a:lnTo>
                  <a:lnTo>
                    <a:pt x="1934" y="55"/>
                  </a:lnTo>
                  <a:lnTo>
                    <a:pt x="1918" y="46"/>
                  </a:lnTo>
                  <a:lnTo>
                    <a:pt x="1904" y="36"/>
                  </a:lnTo>
                  <a:lnTo>
                    <a:pt x="1892" y="27"/>
                  </a:lnTo>
                  <a:lnTo>
                    <a:pt x="1870" y="12"/>
                  </a:lnTo>
                  <a:lnTo>
                    <a:pt x="1854" y="3"/>
                  </a:lnTo>
                  <a:lnTo>
                    <a:pt x="1846" y="0"/>
                  </a:lnTo>
                  <a:lnTo>
                    <a:pt x="1838" y="0"/>
                  </a:lnTo>
                  <a:lnTo>
                    <a:pt x="1830" y="3"/>
                  </a:lnTo>
                  <a:lnTo>
                    <a:pt x="1824" y="8"/>
                  </a:lnTo>
                  <a:lnTo>
                    <a:pt x="1814" y="18"/>
                  </a:lnTo>
                  <a:lnTo>
                    <a:pt x="1805" y="30"/>
                  </a:lnTo>
                  <a:lnTo>
                    <a:pt x="1794" y="44"/>
                  </a:lnTo>
                  <a:lnTo>
                    <a:pt x="1784" y="64"/>
                  </a:lnTo>
                  <a:lnTo>
                    <a:pt x="1773" y="87"/>
                  </a:lnTo>
                  <a:lnTo>
                    <a:pt x="1757" y="126"/>
                  </a:lnTo>
                  <a:lnTo>
                    <a:pt x="1748" y="148"/>
                  </a:lnTo>
                  <a:lnTo>
                    <a:pt x="1737" y="173"/>
                  </a:lnTo>
                  <a:lnTo>
                    <a:pt x="1724" y="199"/>
                  </a:lnTo>
                  <a:lnTo>
                    <a:pt x="1709" y="225"/>
                  </a:lnTo>
                  <a:lnTo>
                    <a:pt x="1693" y="252"/>
                  </a:lnTo>
                  <a:lnTo>
                    <a:pt x="1673" y="276"/>
                  </a:lnTo>
                  <a:lnTo>
                    <a:pt x="1662" y="288"/>
                  </a:lnTo>
                  <a:lnTo>
                    <a:pt x="1652" y="300"/>
                  </a:lnTo>
                  <a:lnTo>
                    <a:pt x="1640" y="311"/>
                  </a:lnTo>
                  <a:lnTo>
                    <a:pt x="1628" y="320"/>
                  </a:lnTo>
                  <a:lnTo>
                    <a:pt x="1614" y="329"/>
                  </a:lnTo>
                  <a:lnTo>
                    <a:pt x="1600" y="337"/>
                  </a:lnTo>
                  <a:lnTo>
                    <a:pt x="1585" y="345"/>
                  </a:lnTo>
                  <a:lnTo>
                    <a:pt x="1570" y="352"/>
                  </a:lnTo>
                  <a:lnTo>
                    <a:pt x="1554" y="357"/>
                  </a:lnTo>
                  <a:lnTo>
                    <a:pt x="1537" y="361"/>
                  </a:lnTo>
                  <a:lnTo>
                    <a:pt x="1518" y="364"/>
                  </a:lnTo>
                  <a:lnTo>
                    <a:pt x="1500" y="365"/>
                  </a:lnTo>
                  <a:lnTo>
                    <a:pt x="1489" y="375"/>
                  </a:lnTo>
                  <a:lnTo>
                    <a:pt x="1481" y="385"/>
                  </a:lnTo>
                  <a:lnTo>
                    <a:pt x="1474" y="395"/>
                  </a:lnTo>
                  <a:lnTo>
                    <a:pt x="1468" y="404"/>
                  </a:lnTo>
                  <a:lnTo>
                    <a:pt x="1464" y="412"/>
                  </a:lnTo>
                  <a:lnTo>
                    <a:pt x="1461" y="420"/>
                  </a:lnTo>
                  <a:lnTo>
                    <a:pt x="1460" y="428"/>
                  </a:lnTo>
                  <a:lnTo>
                    <a:pt x="1458" y="436"/>
                  </a:lnTo>
                  <a:lnTo>
                    <a:pt x="1460" y="443"/>
                  </a:lnTo>
                  <a:lnTo>
                    <a:pt x="1460" y="449"/>
                  </a:lnTo>
                  <a:lnTo>
                    <a:pt x="1462" y="456"/>
                  </a:lnTo>
                  <a:lnTo>
                    <a:pt x="1464" y="463"/>
                  </a:lnTo>
                  <a:lnTo>
                    <a:pt x="1470" y="475"/>
                  </a:lnTo>
                  <a:lnTo>
                    <a:pt x="1477" y="485"/>
                  </a:lnTo>
                  <a:lnTo>
                    <a:pt x="1485" y="497"/>
                  </a:lnTo>
                  <a:lnTo>
                    <a:pt x="1492" y="507"/>
                  </a:lnTo>
                  <a:lnTo>
                    <a:pt x="1496" y="517"/>
                  </a:lnTo>
                  <a:lnTo>
                    <a:pt x="1498" y="528"/>
                  </a:lnTo>
                  <a:lnTo>
                    <a:pt x="1498" y="533"/>
                  </a:lnTo>
                  <a:lnTo>
                    <a:pt x="1497" y="539"/>
                  </a:lnTo>
                  <a:lnTo>
                    <a:pt x="1494" y="545"/>
                  </a:lnTo>
                  <a:lnTo>
                    <a:pt x="1492" y="551"/>
                  </a:lnTo>
                  <a:lnTo>
                    <a:pt x="1486" y="556"/>
                  </a:lnTo>
                  <a:lnTo>
                    <a:pt x="1481" y="563"/>
                  </a:lnTo>
                  <a:lnTo>
                    <a:pt x="1473" y="569"/>
                  </a:lnTo>
                  <a:lnTo>
                    <a:pt x="1464" y="576"/>
                  </a:lnTo>
                  <a:lnTo>
                    <a:pt x="1462" y="588"/>
                  </a:lnTo>
                  <a:lnTo>
                    <a:pt x="1458" y="599"/>
                  </a:lnTo>
                  <a:lnTo>
                    <a:pt x="1456" y="611"/>
                  </a:lnTo>
                  <a:lnTo>
                    <a:pt x="1450" y="621"/>
                  </a:lnTo>
                  <a:lnTo>
                    <a:pt x="1441" y="641"/>
                  </a:lnTo>
                  <a:lnTo>
                    <a:pt x="1429" y="659"/>
                  </a:lnTo>
                  <a:lnTo>
                    <a:pt x="1404" y="691"/>
                  </a:lnTo>
                  <a:lnTo>
                    <a:pt x="1380" y="719"/>
                  </a:lnTo>
                  <a:lnTo>
                    <a:pt x="1371" y="730"/>
                  </a:lnTo>
                  <a:lnTo>
                    <a:pt x="1363" y="744"/>
                  </a:lnTo>
                  <a:lnTo>
                    <a:pt x="1360" y="749"/>
                  </a:lnTo>
                  <a:lnTo>
                    <a:pt x="1359" y="754"/>
                  </a:lnTo>
                  <a:lnTo>
                    <a:pt x="1357" y="761"/>
                  </a:lnTo>
                  <a:lnTo>
                    <a:pt x="1357" y="766"/>
                  </a:lnTo>
                  <a:lnTo>
                    <a:pt x="1359" y="773"/>
                  </a:lnTo>
                  <a:lnTo>
                    <a:pt x="1361" y="778"/>
                  </a:lnTo>
                  <a:lnTo>
                    <a:pt x="1364" y="785"/>
                  </a:lnTo>
                  <a:lnTo>
                    <a:pt x="1369" y="790"/>
                  </a:lnTo>
                  <a:lnTo>
                    <a:pt x="1376" y="797"/>
                  </a:lnTo>
                  <a:lnTo>
                    <a:pt x="1384" y="804"/>
                  </a:lnTo>
                  <a:lnTo>
                    <a:pt x="1393" y="809"/>
                  </a:lnTo>
                  <a:lnTo>
                    <a:pt x="1404" y="816"/>
                  </a:lnTo>
                  <a:lnTo>
                    <a:pt x="1417" y="825"/>
                  </a:lnTo>
                  <a:lnTo>
                    <a:pt x="1428" y="833"/>
                  </a:lnTo>
                  <a:lnTo>
                    <a:pt x="1436" y="844"/>
                  </a:lnTo>
                  <a:lnTo>
                    <a:pt x="1442" y="853"/>
                  </a:lnTo>
                  <a:lnTo>
                    <a:pt x="1448" y="864"/>
                  </a:lnTo>
                  <a:lnTo>
                    <a:pt x="1452" y="876"/>
                  </a:lnTo>
                  <a:lnTo>
                    <a:pt x="1454" y="886"/>
                  </a:lnTo>
                  <a:lnTo>
                    <a:pt x="1456" y="898"/>
                  </a:lnTo>
                  <a:lnTo>
                    <a:pt x="1460" y="921"/>
                  </a:lnTo>
                  <a:lnTo>
                    <a:pt x="1462" y="944"/>
                  </a:lnTo>
                  <a:lnTo>
                    <a:pt x="1466" y="956"/>
                  </a:lnTo>
                  <a:lnTo>
                    <a:pt x="1470" y="965"/>
                  </a:lnTo>
                  <a:lnTo>
                    <a:pt x="1474" y="976"/>
                  </a:lnTo>
                  <a:lnTo>
                    <a:pt x="1482" y="985"/>
                  </a:lnTo>
                  <a:lnTo>
                    <a:pt x="1482" y="990"/>
                  </a:lnTo>
                  <a:lnTo>
                    <a:pt x="1485" y="1004"/>
                  </a:lnTo>
                  <a:lnTo>
                    <a:pt x="1486" y="1024"/>
                  </a:lnTo>
                  <a:lnTo>
                    <a:pt x="1485" y="1046"/>
                  </a:lnTo>
                  <a:lnTo>
                    <a:pt x="1484" y="1057"/>
                  </a:lnTo>
                  <a:lnTo>
                    <a:pt x="1481" y="1069"/>
                  </a:lnTo>
                  <a:lnTo>
                    <a:pt x="1477" y="1080"/>
                  </a:lnTo>
                  <a:lnTo>
                    <a:pt x="1472" y="1089"/>
                  </a:lnTo>
                  <a:lnTo>
                    <a:pt x="1465" y="1097"/>
                  </a:lnTo>
                  <a:lnTo>
                    <a:pt x="1457" y="1104"/>
                  </a:lnTo>
                  <a:lnTo>
                    <a:pt x="1452" y="1106"/>
                  </a:lnTo>
                  <a:lnTo>
                    <a:pt x="1446" y="1109"/>
                  </a:lnTo>
                  <a:lnTo>
                    <a:pt x="1440" y="1110"/>
                  </a:lnTo>
                  <a:lnTo>
                    <a:pt x="1434" y="1112"/>
                  </a:lnTo>
                  <a:lnTo>
                    <a:pt x="1426" y="1112"/>
                  </a:lnTo>
                  <a:lnTo>
                    <a:pt x="1418" y="1112"/>
                  </a:lnTo>
                  <a:lnTo>
                    <a:pt x="1410" y="1109"/>
                  </a:lnTo>
                  <a:lnTo>
                    <a:pt x="1404" y="1106"/>
                  </a:lnTo>
                  <a:lnTo>
                    <a:pt x="1396" y="1102"/>
                  </a:lnTo>
                  <a:lnTo>
                    <a:pt x="1389" y="1097"/>
                  </a:lnTo>
                  <a:lnTo>
                    <a:pt x="1381" y="1090"/>
                  </a:lnTo>
                  <a:lnTo>
                    <a:pt x="1375" y="1084"/>
                  </a:lnTo>
                  <a:lnTo>
                    <a:pt x="1360" y="1066"/>
                  </a:lnTo>
                  <a:lnTo>
                    <a:pt x="1347" y="1046"/>
                  </a:lnTo>
                  <a:lnTo>
                    <a:pt x="1333" y="1024"/>
                  </a:lnTo>
                  <a:lnTo>
                    <a:pt x="1320" y="1000"/>
                  </a:lnTo>
                  <a:lnTo>
                    <a:pt x="1292" y="945"/>
                  </a:lnTo>
                  <a:lnTo>
                    <a:pt x="1264" y="886"/>
                  </a:lnTo>
                  <a:lnTo>
                    <a:pt x="1251" y="858"/>
                  </a:lnTo>
                  <a:lnTo>
                    <a:pt x="1236" y="829"/>
                  </a:lnTo>
                  <a:lnTo>
                    <a:pt x="1221" y="801"/>
                  </a:lnTo>
                  <a:lnTo>
                    <a:pt x="1205" y="774"/>
                  </a:lnTo>
                  <a:lnTo>
                    <a:pt x="1197" y="786"/>
                  </a:lnTo>
                  <a:lnTo>
                    <a:pt x="1187" y="798"/>
                  </a:lnTo>
                  <a:lnTo>
                    <a:pt x="1176" y="809"/>
                  </a:lnTo>
                  <a:lnTo>
                    <a:pt x="1165" y="820"/>
                  </a:lnTo>
                  <a:lnTo>
                    <a:pt x="1155" y="830"/>
                  </a:lnTo>
                  <a:lnTo>
                    <a:pt x="1147" y="842"/>
                  </a:lnTo>
                  <a:lnTo>
                    <a:pt x="1144" y="849"/>
                  </a:lnTo>
                  <a:lnTo>
                    <a:pt x="1141" y="856"/>
                  </a:lnTo>
                  <a:lnTo>
                    <a:pt x="1140" y="862"/>
                  </a:lnTo>
                  <a:lnTo>
                    <a:pt x="1139" y="870"/>
                  </a:lnTo>
                  <a:lnTo>
                    <a:pt x="1140" y="878"/>
                  </a:lnTo>
                  <a:lnTo>
                    <a:pt x="1141" y="885"/>
                  </a:lnTo>
                  <a:lnTo>
                    <a:pt x="1144" y="893"/>
                  </a:lnTo>
                  <a:lnTo>
                    <a:pt x="1147" y="900"/>
                  </a:lnTo>
                  <a:lnTo>
                    <a:pt x="1155" y="913"/>
                  </a:lnTo>
                  <a:lnTo>
                    <a:pt x="1163" y="926"/>
                  </a:lnTo>
                  <a:lnTo>
                    <a:pt x="1172" y="940"/>
                  </a:lnTo>
                  <a:lnTo>
                    <a:pt x="1180" y="956"/>
                  </a:lnTo>
                  <a:lnTo>
                    <a:pt x="1183" y="964"/>
                  </a:lnTo>
                  <a:lnTo>
                    <a:pt x="1185" y="972"/>
                  </a:lnTo>
                  <a:lnTo>
                    <a:pt x="1187" y="981"/>
                  </a:lnTo>
                  <a:lnTo>
                    <a:pt x="1187" y="990"/>
                  </a:lnTo>
                  <a:lnTo>
                    <a:pt x="1187" y="1004"/>
                  </a:lnTo>
                  <a:lnTo>
                    <a:pt x="1184" y="1014"/>
                  </a:lnTo>
                  <a:lnTo>
                    <a:pt x="1181" y="1025"/>
                  </a:lnTo>
                  <a:lnTo>
                    <a:pt x="1177" y="1033"/>
                  </a:lnTo>
                  <a:lnTo>
                    <a:pt x="1167" y="1049"/>
                  </a:lnTo>
                  <a:lnTo>
                    <a:pt x="1153" y="1062"/>
                  </a:lnTo>
                  <a:lnTo>
                    <a:pt x="1141" y="1074"/>
                  </a:lnTo>
                  <a:lnTo>
                    <a:pt x="1131" y="1088"/>
                  </a:lnTo>
                  <a:lnTo>
                    <a:pt x="1127" y="1096"/>
                  </a:lnTo>
                  <a:lnTo>
                    <a:pt x="1124" y="1104"/>
                  </a:lnTo>
                  <a:lnTo>
                    <a:pt x="1121" y="1113"/>
                  </a:lnTo>
                  <a:lnTo>
                    <a:pt x="1121" y="1124"/>
                  </a:lnTo>
                  <a:lnTo>
                    <a:pt x="1121" y="1128"/>
                  </a:lnTo>
                  <a:lnTo>
                    <a:pt x="1123" y="1132"/>
                  </a:lnTo>
                  <a:lnTo>
                    <a:pt x="1125" y="1137"/>
                  </a:lnTo>
                  <a:lnTo>
                    <a:pt x="1128" y="1141"/>
                  </a:lnTo>
                  <a:lnTo>
                    <a:pt x="1135" y="1149"/>
                  </a:lnTo>
                  <a:lnTo>
                    <a:pt x="1141" y="1158"/>
                  </a:lnTo>
                  <a:lnTo>
                    <a:pt x="1149" y="1168"/>
                  </a:lnTo>
                  <a:lnTo>
                    <a:pt x="1156" y="1177"/>
                  </a:lnTo>
                  <a:lnTo>
                    <a:pt x="1159" y="1184"/>
                  </a:lnTo>
                  <a:lnTo>
                    <a:pt x="1161" y="1189"/>
                  </a:lnTo>
                  <a:lnTo>
                    <a:pt x="1163" y="1196"/>
                  </a:lnTo>
                  <a:lnTo>
                    <a:pt x="1163" y="1202"/>
                  </a:lnTo>
                  <a:lnTo>
                    <a:pt x="1163" y="1212"/>
                  </a:lnTo>
                  <a:lnTo>
                    <a:pt x="1161" y="1221"/>
                  </a:lnTo>
                  <a:lnTo>
                    <a:pt x="1159" y="1232"/>
                  </a:lnTo>
                  <a:lnTo>
                    <a:pt x="1156" y="1240"/>
                  </a:lnTo>
                  <a:lnTo>
                    <a:pt x="1151" y="1249"/>
                  </a:lnTo>
                  <a:lnTo>
                    <a:pt x="1147" y="1258"/>
                  </a:lnTo>
                  <a:lnTo>
                    <a:pt x="1141" y="1266"/>
                  </a:lnTo>
                  <a:lnTo>
                    <a:pt x="1135" y="1274"/>
                  </a:lnTo>
                  <a:lnTo>
                    <a:pt x="1120" y="1290"/>
                  </a:lnTo>
                  <a:lnTo>
                    <a:pt x="1104" y="1304"/>
                  </a:lnTo>
                  <a:lnTo>
                    <a:pt x="1085" y="1317"/>
                  </a:lnTo>
                  <a:lnTo>
                    <a:pt x="1067" y="1330"/>
                  </a:lnTo>
                  <a:lnTo>
                    <a:pt x="1047" y="1341"/>
                  </a:lnTo>
                  <a:lnTo>
                    <a:pt x="1025" y="1351"/>
                  </a:lnTo>
                  <a:lnTo>
                    <a:pt x="1005" y="1361"/>
                  </a:lnTo>
                  <a:lnTo>
                    <a:pt x="985" y="1369"/>
                  </a:lnTo>
                  <a:lnTo>
                    <a:pt x="948" y="1383"/>
                  </a:lnTo>
                  <a:lnTo>
                    <a:pt x="916" y="1394"/>
                  </a:lnTo>
                  <a:lnTo>
                    <a:pt x="893" y="1402"/>
                  </a:lnTo>
                  <a:lnTo>
                    <a:pt x="872" y="1411"/>
                  </a:lnTo>
                  <a:lnTo>
                    <a:pt x="851" y="1421"/>
                  </a:lnTo>
                  <a:lnTo>
                    <a:pt x="832" y="1430"/>
                  </a:lnTo>
                  <a:lnTo>
                    <a:pt x="796" y="1449"/>
                  </a:lnTo>
                  <a:lnTo>
                    <a:pt x="761" y="1470"/>
                  </a:lnTo>
                  <a:lnTo>
                    <a:pt x="728" y="1490"/>
                  </a:lnTo>
                  <a:lnTo>
                    <a:pt x="695" y="1510"/>
                  </a:lnTo>
                  <a:lnTo>
                    <a:pt x="677" y="1519"/>
                  </a:lnTo>
                  <a:lnTo>
                    <a:pt x="660" y="1527"/>
                  </a:lnTo>
                  <a:lnTo>
                    <a:pt x="640" y="1537"/>
                  </a:lnTo>
                  <a:lnTo>
                    <a:pt x="621" y="1545"/>
                  </a:lnTo>
                  <a:lnTo>
                    <a:pt x="604" y="1550"/>
                  </a:lnTo>
                  <a:lnTo>
                    <a:pt x="590" y="1557"/>
                  </a:lnTo>
                  <a:lnTo>
                    <a:pt x="576" y="1565"/>
                  </a:lnTo>
                  <a:lnTo>
                    <a:pt x="563" y="1573"/>
                  </a:lnTo>
                  <a:lnTo>
                    <a:pt x="539" y="1591"/>
                  </a:lnTo>
                  <a:lnTo>
                    <a:pt x="516" y="1611"/>
                  </a:lnTo>
                  <a:lnTo>
                    <a:pt x="504" y="1621"/>
                  </a:lnTo>
                  <a:lnTo>
                    <a:pt x="492" y="1630"/>
                  </a:lnTo>
                  <a:lnTo>
                    <a:pt x="482" y="1638"/>
                  </a:lnTo>
                  <a:lnTo>
                    <a:pt x="468" y="1645"/>
                  </a:lnTo>
                  <a:lnTo>
                    <a:pt x="455" y="1651"/>
                  </a:lnTo>
                  <a:lnTo>
                    <a:pt x="442" y="1655"/>
                  </a:lnTo>
                  <a:lnTo>
                    <a:pt x="427" y="1658"/>
                  </a:lnTo>
                  <a:lnTo>
                    <a:pt x="410" y="1659"/>
                  </a:lnTo>
                  <a:lnTo>
                    <a:pt x="408" y="1658"/>
                  </a:lnTo>
                  <a:lnTo>
                    <a:pt x="406" y="1655"/>
                  </a:lnTo>
                  <a:lnTo>
                    <a:pt x="404" y="1651"/>
                  </a:lnTo>
                  <a:lnTo>
                    <a:pt x="402" y="1646"/>
                  </a:lnTo>
                  <a:lnTo>
                    <a:pt x="399" y="1637"/>
                  </a:lnTo>
                  <a:lnTo>
                    <a:pt x="398" y="1629"/>
                  </a:lnTo>
                  <a:lnTo>
                    <a:pt x="386" y="1629"/>
                  </a:lnTo>
                  <a:lnTo>
                    <a:pt x="379" y="1629"/>
                  </a:lnTo>
                  <a:lnTo>
                    <a:pt x="375" y="1629"/>
                  </a:lnTo>
                  <a:lnTo>
                    <a:pt x="368" y="1629"/>
                  </a:lnTo>
                  <a:lnTo>
                    <a:pt x="352" y="1630"/>
                  </a:lnTo>
                  <a:lnTo>
                    <a:pt x="338" y="1634"/>
                  </a:lnTo>
                  <a:lnTo>
                    <a:pt x="324" y="1639"/>
                  </a:lnTo>
                  <a:lnTo>
                    <a:pt x="312" y="1647"/>
                  </a:lnTo>
                  <a:lnTo>
                    <a:pt x="302" y="1657"/>
                  </a:lnTo>
                  <a:lnTo>
                    <a:pt x="291" y="1667"/>
                  </a:lnTo>
                  <a:lnTo>
                    <a:pt x="283" y="1681"/>
                  </a:lnTo>
                  <a:lnTo>
                    <a:pt x="275" y="1694"/>
                  </a:lnTo>
                  <a:lnTo>
                    <a:pt x="268" y="1709"/>
                  </a:lnTo>
                  <a:lnTo>
                    <a:pt x="262" y="1723"/>
                  </a:lnTo>
                  <a:lnTo>
                    <a:pt x="256" y="1739"/>
                  </a:lnTo>
                  <a:lnTo>
                    <a:pt x="251" y="1757"/>
                  </a:lnTo>
                  <a:lnTo>
                    <a:pt x="243" y="1790"/>
                  </a:lnTo>
                  <a:lnTo>
                    <a:pt x="235" y="1822"/>
                  </a:lnTo>
                  <a:lnTo>
                    <a:pt x="235" y="1827"/>
                  </a:lnTo>
                  <a:lnTo>
                    <a:pt x="232" y="1833"/>
                  </a:lnTo>
                  <a:lnTo>
                    <a:pt x="228" y="1839"/>
                  </a:lnTo>
                  <a:lnTo>
                    <a:pt x="224" y="1846"/>
                  </a:lnTo>
                  <a:lnTo>
                    <a:pt x="212" y="1861"/>
                  </a:lnTo>
                  <a:lnTo>
                    <a:pt x="198" y="1877"/>
                  </a:lnTo>
                  <a:lnTo>
                    <a:pt x="167" y="1906"/>
                  </a:lnTo>
                  <a:lnTo>
                    <a:pt x="146" y="1930"/>
                  </a:lnTo>
                  <a:lnTo>
                    <a:pt x="135" y="1944"/>
                  </a:lnTo>
                  <a:lnTo>
                    <a:pt x="126" y="1958"/>
                  </a:lnTo>
                  <a:lnTo>
                    <a:pt x="118" y="1972"/>
                  </a:lnTo>
                  <a:lnTo>
                    <a:pt x="111" y="1987"/>
                  </a:lnTo>
                  <a:lnTo>
                    <a:pt x="100" y="2016"/>
                  </a:lnTo>
                  <a:lnTo>
                    <a:pt x="91" y="2047"/>
                  </a:lnTo>
                  <a:lnTo>
                    <a:pt x="83" y="2080"/>
                  </a:lnTo>
                  <a:lnTo>
                    <a:pt x="76" y="2114"/>
                  </a:lnTo>
                  <a:lnTo>
                    <a:pt x="67" y="2147"/>
                  </a:lnTo>
                  <a:lnTo>
                    <a:pt x="55" y="2183"/>
                  </a:lnTo>
                  <a:lnTo>
                    <a:pt x="50" y="2195"/>
                  </a:lnTo>
                  <a:lnTo>
                    <a:pt x="42" y="2206"/>
                  </a:lnTo>
                  <a:lnTo>
                    <a:pt x="32" y="2218"/>
                  </a:lnTo>
                  <a:lnTo>
                    <a:pt x="23" y="2228"/>
                  </a:lnTo>
                  <a:lnTo>
                    <a:pt x="15" y="2240"/>
                  </a:lnTo>
                  <a:lnTo>
                    <a:pt x="7" y="2254"/>
                  </a:lnTo>
                  <a:lnTo>
                    <a:pt x="4" y="2260"/>
                  </a:lnTo>
                  <a:lnTo>
                    <a:pt x="3" y="2266"/>
                  </a:lnTo>
                  <a:lnTo>
                    <a:pt x="2" y="2272"/>
                  </a:lnTo>
                  <a:lnTo>
                    <a:pt x="0" y="2279"/>
                  </a:lnTo>
                  <a:lnTo>
                    <a:pt x="2" y="2284"/>
                  </a:lnTo>
                  <a:lnTo>
                    <a:pt x="6" y="2290"/>
                  </a:lnTo>
                  <a:lnTo>
                    <a:pt x="10" y="2295"/>
                  </a:lnTo>
                  <a:lnTo>
                    <a:pt x="16" y="2300"/>
                  </a:lnTo>
                  <a:lnTo>
                    <a:pt x="26" y="2310"/>
                  </a:lnTo>
                  <a:lnTo>
                    <a:pt x="31" y="2315"/>
                  </a:lnTo>
                  <a:lnTo>
                    <a:pt x="38" y="2336"/>
                  </a:lnTo>
                  <a:lnTo>
                    <a:pt x="47" y="2356"/>
                  </a:lnTo>
                  <a:lnTo>
                    <a:pt x="56" y="2372"/>
                  </a:lnTo>
                  <a:lnTo>
                    <a:pt x="67" y="2388"/>
                  </a:lnTo>
                  <a:lnTo>
                    <a:pt x="79" y="2402"/>
                  </a:lnTo>
                  <a:lnTo>
                    <a:pt x="91" y="2414"/>
                  </a:lnTo>
                  <a:lnTo>
                    <a:pt x="103" y="2426"/>
                  </a:lnTo>
                  <a:lnTo>
                    <a:pt x="115" y="2438"/>
                  </a:lnTo>
                  <a:lnTo>
                    <a:pt x="140" y="2460"/>
                  </a:lnTo>
                  <a:lnTo>
                    <a:pt x="163" y="2484"/>
                  </a:lnTo>
                  <a:lnTo>
                    <a:pt x="174" y="2499"/>
                  </a:lnTo>
                  <a:lnTo>
                    <a:pt x="183" y="2513"/>
                  </a:lnTo>
                  <a:lnTo>
                    <a:pt x="192" y="2531"/>
                  </a:lnTo>
                  <a:lnTo>
                    <a:pt x="199" y="2551"/>
                  </a:lnTo>
                  <a:lnTo>
                    <a:pt x="215" y="2572"/>
                  </a:lnTo>
                  <a:lnTo>
                    <a:pt x="234" y="2593"/>
                  </a:lnTo>
                  <a:lnTo>
                    <a:pt x="242" y="2605"/>
                  </a:lnTo>
                  <a:lnTo>
                    <a:pt x="248" y="2617"/>
                  </a:lnTo>
                  <a:lnTo>
                    <a:pt x="250" y="2624"/>
                  </a:lnTo>
                  <a:lnTo>
                    <a:pt x="252" y="2632"/>
                  </a:lnTo>
                  <a:lnTo>
                    <a:pt x="254" y="2639"/>
                  </a:lnTo>
                  <a:lnTo>
                    <a:pt x="254" y="2647"/>
                  </a:lnTo>
                  <a:lnTo>
                    <a:pt x="252" y="2660"/>
                  </a:lnTo>
                  <a:lnTo>
                    <a:pt x="251" y="2672"/>
                  </a:lnTo>
                  <a:lnTo>
                    <a:pt x="248" y="2684"/>
                  </a:lnTo>
                  <a:lnTo>
                    <a:pt x="244" y="2695"/>
                  </a:lnTo>
                  <a:lnTo>
                    <a:pt x="242" y="2707"/>
                  </a:lnTo>
                  <a:lnTo>
                    <a:pt x="239" y="2717"/>
                  </a:lnTo>
                  <a:lnTo>
                    <a:pt x="236" y="2729"/>
                  </a:lnTo>
                  <a:lnTo>
                    <a:pt x="235" y="2743"/>
                  </a:lnTo>
                  <a:lnTo>
                    <a:pt x="236" y="2767"/>
                  </a:lnTo>
                  <a:lnTo>
                    <a:pt x="239" y="2791"/>
                  </a:lnTo>
                  <a:lnTo>
                    <a:pt x="242" y="2813"/>
                  </a:lnTo>
                  <a:lnTo>
                    <a:pt x="244" y="2836"/>
                  </a:lnTo>
                  <a:lnTo>
                    <a:pt x="248" y="2859"/>
                  </a:lnTo>
                  <a:lnTo>
                    <a:pt x="251" y="2881"/>
                  </a:lnTo>
                  <a:lnTo>
                    <a:pt x="252" y="2905"/>
                  </a:lnTo>
                  <a:lnTo>
                    <a:pt x="254" y="2929"/>
                  </a:lnTo>
                  <a:lnTo>
                    <a:pt x="254" y="2960"/>
                  </a:lnTo>
                  <a:lnTo>
                    <a:pt x="254" y="2991"/>
                  </a:lnTo>
                  <a:lnTo>
                    <a:pt x="254" y="3019"/>
                  </a:lnTo>
                  <a:lnTo>
                    <a:pt x="254" y="3039"/>
                  </a:lnTo>
                  <a:lnTo>
                    <a:pt x="251" y="3049"/>
                  </a:lnTo>
                  <a:lnTo>
                    <a:pt x="246" y="3064"/>
                  </a:lnTo>
                  <a:lnTo>
                    <a:pt x="243" y="3072"/>
                  </a:lnTo>
                  <a:lnTo>
                    <a:pt x="240" y="3080"/>
                  </a:lnTo>
                  <a:lnTo>
                    <a:pt x="240" y="3089"/>
                  </a:lnTo>
                  <a:lnTo>
                    <a:pt x="242" y="3098"/>
                  </a:lnTo>
                  <a:lnTo>
                    <a:pt x="246" y="3109"/>
                  </a:lnTo>
                  <a:lnTo>
                    <a:pt x="251" y="3117"/>
                  </a:lnTo>
                  <a:lnTo>
                    <a:pt x="259" y="3125"/>
                  </a:lnTo>
                  <a:lnTo>
                    <a:pt x="267" y="3130"/>
                  </a:lnTo>
                  <a:lnTo>
                    <a:pt x="284" y="3141"/>
                  </a:lnTo>
                  <a:lnTo>
                    <a:pt x="304" y="3149"/>
                  </a:lnTo>
                  <a:lnTo>
                    <a:pt x="324" y="3157"/>
                  </a:lnTo>
                  <a:lnTo>
                    <a:pt x="343" y="3168"/>
                  </a:lnTo>
                  <a:lnTo>
                    <a:pt x="351" y="3174"/>
                  </a:lnTo>
                  <a:lnTo>
                    <a:pt x="358" y="3181"/>
                  </a:lnTo>
                  <a:lnTo>
                    <a:pt x="364" y="3190"/>
                  </a:lnTo>
                  <a:lnTo>
                    <a:pt x="368" y="3201"/>
                  </a:lnTo>
                  <a:lnTo>
                    <a:pt x="375" y="3224"/>
                  </a:lnTo>
                  <a:lnTo>
                    <a:pt x="382" y="3250"/>
                  </a:lnTo>
                  <a:lnTo>
                    <a:pt x="387" y="3280"/>
                  </a:lnTo>
                  <a:lnTo>
                    <a:pt x="394" y="3308"/>
                  </a:lnTo>
                  <a:lnTo>
                    <a:pt x="402" y="3356"/>
                  </a:lnTo>
                  <a:lnTo>
                    <a:pt x="404" y="3376"/>
                  </a:lnTo>
                  <a:lnTo>
                    <a:pt x="402" y="3425"/>
                  </a:lnTo>
                  <a:lnTo>
                    <a:pt x="398" y="3469"/>
                  </a:lnTo>
                  <a:lnTo>
                    <a:pt x="394" y="3490"/>
                  </a:lnTo>
                  <a:lnTo>
                    <a:pt x="388" y="3510"/>
                  </a:lnTo>
                  <a:lnTo>
                    <a:pt x="384" y="3520"/>
                  </a:lnTo>
                  <a:lnTo>
                    <a:pt x="380" y="3530"/>
                  </a:lnTo>
                  <a:lnTo>
                    <a:pt x="375" y="3540"/>
                  </a:lnTo>
                  <a:lnTo>
                    <a:pt x="368" y="3550"/>
                  </a:lnTo>
                  <a:lnTo>
                    <a:pt x="230" y="3550"/>
                  </a:lnTo>
                  <a:lnTo>
                    <a:pt x="218" y="3560"/>
                  </a:lnTo>
                  <a:lnTo>
                    <a:pt x="207" y="3569"/>
                  </a:lnTo>
                  <a:lnTo>
                    <a:pt x="199" y="3580"/>
                  </a:lnTo>
                  <a:lnTo>
                    <a:pt x="191" y="3592"/>
                  </a:lnTo>
                  <a:lnTo>
                    <a:pt x="176" y="3620"/>
                  </a:lnTo>
                  <a:lnTo>
                    <a:pt x="158" y="3651"/>
                  </a:lnTo>
                  <a:lnTo>
                    <a:pt x="163" y="3666"/>
                  </a:lnTo>
                  <a:lnTo>
                    <a:pt x="171" y="3698"/>
                  </a:lnTo>
                  <a:lnTo>
                    <a:pt x="172" y="3707"/>
                  </a:lnTo>
                  <a:lnTo>
                    <a:pt x="174" y="3717"/>
                  </a:lnTo>
                  <a:lnTo>
                    <a:pt x="174" y="3726"/>
                  </a:lnTo>
                  <a:lnTo>
                    <a:pt x="172" y="3735"/>
                  </a:lnTo>
                  <a:lnTo>
                    <a:pt x="171" y="3745"/>
                  </a:lnTo>
                  <a:lnTo>
                    <a:pt x="168" y="3753"/>
                  </a:lnTo>
                  <a:lnTo>
                    <a:pt x="163" y="3761"/>
                  </a:lnTo>
                  <a:lnTo>
                    <a:pt x="158" y="3766"/>
                  </a:lnTo>
                  <a:lnTo>
                    <a:pt x="152" y="3766"/>
                  </a:lnTo>
                  <a:lnTo>
                    <a:pt x="148" y="3766"/>
                  </a:lnTo>
                  <a:lnTo>
                    <a:pt x="144" y="3763"/>
                  </a:lnTo>
                  <a:lnTo>
                    <a:pt x="139" y="3761"/>
                  </a:lnTo>
                  <a:lnTo>
                    <a:pt x="139" y="3785"/>
                  </a:lnTo>
                  <a:lnTo>
                    <a:pt x="139" y="3805"/>
                  </a:lnTo>
                  <a:lnTo>
                    <a:pt x="139" y="3822"/>
                  </a:lnTo>
                  <a:lnTo>
                    <a:pt x="139" y="3839"/>
                  </a:lnTo>
                  <a:lnTo>
                    <a:pt x="140" y="3854"/>
                  </a:lnTo>
                  <a:lnTo>
                    <a:pt x="143" y="3866"/>
                  </a:lnTo>
                  <a:lnTo>
                    <a:pt x="148" y="3874"/>
                  </a:lnTo>
                  <a:lnTo>
                    <a:pt x="154" y="3881"/>
                  </a:lnTo>
                  <a:lnTo>
                    <a:pt x="162" y="3887"/>
                  </a:lnTo>
                  <a:lnTo>
                    <a:pt x="170" y="3897"/>
                  </a:lnTo>
                  <a:lnTo>
                    <a:pt x="179" y="3907"/>
                  </a:lnTo>
                  <a:lnTo>
                    <a:pt x="187" y="3923"/>
                  </a:lnTo>
                  <a:lnTo>
                    <a:pt x="191" y="3933"/>
                  </a:lnTo>
                  <a:lnTo>
                    <a:pt x="191" y="3942"/>
                  </a:lnTo>
                  <a:lnTo>
                    <a:pt x="190" y="3951"/>
                  </a:lnTo>
                  <a:lnTo>
                    <a:pt x="188" y="3961"/>
                  </a:lnTo>
                  <a:lnTo>
                    <a:pt x="188" y="3970"/>
                  </a:lnTo>
                  <a:lnTo>
                    <a:pt x="190" y="3977"/>
                  </a:lnTo>
                  <a:lnTo>
                    <a:pt x="191" y="3981"/>
                  </a:lnTo>
                  <a:lnTo>
                    <a:pt x="192" y="3983"/>
                  </a:lnTo>
                  <a:lnTo>
                    <a:pt x="195" y="3987"/>
                  </a:lnTo>
                  <a:lnTo>
                    <a:pt x="199" y="3989"/>
                  </a:lnTo>
                  <a:lnTo>
                    <a:pt x="207" y="3994"/>
                  </a:lnTo>
                  <a:lnTo>
                    <a:pt x="215" y="3998"/>
                  </a:lnTo>
                  <a:lnTo>
                    <a:pt x="222" y="4001"/>
                  </a:lnTo>
                  <a:lnTo>
                    <a:pt x="230" y="4003"/>
                  </a:lnTo>
                  <a:lnTo>
                    <a:pt x="243" y="4006"/>
                  </a:lnTo>
                  <a:lnTo>
                    <a:pt x="258" y="4006"/>
                  </a:lnTo>
                  <a:lnTo>
                    <a:pt x="272" y="4006"/>
                  </a:lnTo>
                  <a:lnTo>
                    <a:pt x="287" y="4006"/>
                  </a:lnTo>
                  <a:lnTo>
                    <a:pt x="303" y="4009"/>
                  </a:lnTo>
                  <a:lnTo>
                    <a:pt x="320" y="4014"/>
                  </a:lnTo>
                  <a:lnTo>
                    <a:pt x="327" y="4017"/>
                  </a:lnTo>
                  <a:lnTo>
                    <a:pt x="335" y="4022"/>
                  </a:lnTo>
                  <a:lnTo>
                    <a:pt x="340" y="4027"/>
                  </a:lnTo>
                  <a:lnTo>
                    <a:pt x="347" y="4033"/>
                  </a:lnTo>
                  <a:lnTo>
                    <a:pt x="356" y="4046"/>
                  </a:lnTo>
                  <a:lnTo>
                    <a:pt x="366" y="4061"/>
                  </a:lnTo>
                  <a:lnTo>
                    <a:pt x="382" y="4093"/>
                  </a:lnTo>
                  <a:lnTo>
                    <a:pt x="398" y="4122"/>
                  </a:lnTo>
                  <a:lnTo>
                    <a:pt x="406" y="4130"/>
                  </a:lnTo>
                  <a:lnTo>
                    <a:pt x="415" y="4137"/>
                  </a:lnTo>
                  <a:lnTo>
                    <a:pt x="424" y="4141"/>
                  </a:lnTo>
                  <a:lnTo>
                    <a:pt x="434" y="4145"/>
                  </a:lnTo>
                  <a:lnTo>
                    <a:pt x="443" y="4149"/>
                  </a:lnTo>
                  <a:lnTo>
                    <a:pt x="451" y="4153"/>
                  </a:lnTo>
                  <a:lnTo>
                    <a:pt x="459" y="4158"/>
                  </a:lnTo>
                  <a:lnTo>
                    <a:pt x="464" y="4163"/>
                  </a:lnTo>
                  <a:lnTo>
                    <a:pt x="468" y="4177"/>
                  </a:lnTo>
                  <a:lnTo>
                    <a:pt x="470" y="4194"/>
                  </a:lnTo>
                  <a:lnTo>
                    <a:pt x="472" y="4211"/>
                  </a:lnTo>
                  <a:lnTo>
                    <a:pt x="474" y="4230"/>
                  </a:lnTo>
                  <a:lnTo>
                    <a:pt x="476" y="4246"/>
                  </a:lnTo>
                  <a:lnTo>
                    <a:pt x="482" y="4259"/>
                  </a:lnTo>
                  <a:lnTo>
                    <a:pt x="484" y="4264"/>
                  </a:lnTo>
                  <a:lnTo>
                    <a:pt x="490" y="4268"/>
                  </a:lnTo>
                  <a:lnTo>
                    <a:pt x="495" y="4271"/>
                  </a:lnTo>
                  <a:lnTo>
                    <a:pt x="500" y="4272"/>
                  </a:lnTo>
                  <a:lnTo>
                    <a:pt x="518" y="4272"/>
                  </a:lnTo>
                  <a:lnTo>
                    <a:pt x="534" y="4272"/>
                  </a:lnTo>
                  <a:lnTo>
                    <a:pt x="547" y="4274"/>
                  </a:lnTo>
                  <a:lnTo>
                    <a:pt x="560" y="4276"/>
                  </a:lnTo>
                  <a:lnTo>
                    <a:pt x="575" y="4279"/>
                  </a:lnTo>
                  <a:lnTo>
                    <a:pt x="588" y="4284"/>
                  </a:lnTo>
                  <a:lnTo>
                    <a:pt x="604" y="4292"/>
                  </a:lnTo>
                  <a:lnTo>
                    <a:pt x="621" y="4302"/>
                  </a:lnTo>
                  <a:lnTo>
                    <a:pt x="628" y="4306"/>
                  </a:lnTo>
                  <a:lnTo>
                    <a:pt x="633" y="4311"/>
                  </a:lnTo>
                  <a:lnTo>
                    <a:pt x="639" y="4315"/>
                  </a:lnTo>
                  <a:lnTo>
                    <a:pt x="644" y="4322"/>
                  </a:lnTo>
                  <a:lnTo>
                    <a:pt x="655" y="4334"/>
                  </a:lnTo>
                  <a:lnTo>
                    <a:pt x="664" y="4346"/>
                  </a:lnTo>
                  <a:lnTo>
                    <a:pt x="675" y="4356"/>
                  </a:lnTo>
                  <a:lnTo>
                    <a:pt x="687" y="4366"/>
                  </a:lnTo>
                  <a:lnTo>
                    <a:pt x="693" y="4370"/>
                  </a:lnTo>
                  <a:lnTo>
                    <a:pt x="701" y="4372"/>
                  </a:lnTo>
                  <a:lnTo>
                    <a:pt x="708" y="4374"/>
                  </a:lnTo>
                  <a:lnTo>
                    <a:pt x="717" y="4375"/>
                  </a:lnTo>
                  <a:lnTo>
                    <a:pt x="727" y="4374"/>
                  </a:lnTo>
                  <a:lnTo>
                    <a:pt x="736" y="4371"/>
                  </a:lnTo>
                  <a:lnTo>
                    <a:pt x="743" y="4366"/>
                  </a:lnTo>
                  <a:lnTo>
                    <a:pt x="749" y="4360"/>
                  </a:lnTo>
                  <a:lnTo>
                    <a:pt x="755" y="4354"/>
                  </a:lnTo>
                  <a:lnTo>
                    <a:pt x="760" y="4344"/>
                  </a:lnTo>
                  <a:lnTo>
                    <a:pt x="764" y="4335"/>
                  </a:lnTo>
                  <a:lnTo>
                    <a:pt x="768" y="4324"/>
                  </a:lnTo>
                  <a:lnTo>
                    <a:pt x="773" y="4302"/>
                  </a:lnTo>
                  <a:lnTo>
                    <a:pt x="776" y="4278"/>
                  </a:lnTo>
                  <a:lnTo>
                    <a:pt x="777" y="4254"/>
                  </a:lnTo>
                  <a:lnTo>
                    <a:pt x="777" y="4230"/>
                  </a:lnTo>
                  <a:lnTo>
                    <a:pt x="777" y="4222"/>
                  </a:lnTo>
                  <a:lnTo>
                    <a:pt x="779" y="4215"/>
                  </a:lnTo>
                  <a:lnTo>
                    <a:pt x="781" y="4210"/>
                  </a:lnTo>
                  <a:lnTo>
                    <a:pt x="784" y="4205"/>
                  </a:lnTo>
                  <a:lnTo>
                    <a:pt x="787" y="4202"/>
                  </a:lnTo>
                  <a:lnTo>
                    <a:pt x="789" y="4199"/>
                  </a:lnTo>
                  <a:lnTo>
                    <a:pt x="793" y="4197"/>
                  </a:lnTo>
                  <a:lnTo>
                    <a:pt x="797" y="4195"/>
                  </a:lnTo>
                  <a:lnTo>
                    <a:pt x="816" y="4193"/>
                  </a:lnTo>
                  <a:lnTo>
                    <a:pt x="832" y="4189"/>
                  </a:lnTo>
                  <a:lnTo>
                    <a:pt x="835" y="4185"/>
                  </a:lnTo>
                  <a:lnTo>
                    <a:pt x="837" y="4179"/>
                  </a:lnTo>
                  <a:lnTo>
                    <a:pt x="839" y="4174"/>
                  </a:lnTo>
                  <a:lnTo>
                    <a:pt x="840" y="4167"/>
                  </a:lnTo>
                  <a:lnTo>
                    <a:pt x="843" y="4154"/>
                  </a:lnTo>
                  <a:lnTo>
                    <a:pt x="843" y="4139"/>
                  </a:lnTo>
                  <a:lnTo>
                    <a:pt x="844" y="4126"/>
                  </a:lnTo>
                  <a:lnTo>
                    <a:pt x="844" y="4111"/>
                  </a:lnTo>
                  <a:lnTo>
                    <a:pt x="847" y="4101"/>
                  </a:lnTo>
                  <a:lnTo>
                    <a:pt x="849" y="4091"/>
                  </a:lnTo>
                  <a:lnTo>
                    <a:pt x="857" y="4082"/>
                  </a:lnTo>
                  <a:lnTo>
                    <a:pt x="868" y="4074"/>
                  </a:lnTo>
                  <a:lnTo>
                    <a:pt x="879" y="4067"/>
                  </a:lnTo>
                  <a:lnTo>
                    <a:pt x="892" y="4062"/>
                  </a:lnTo>
                  <a:lnTo>
                    <a:pt x="919" y="4053"/>
                  </a:lnTo>
                  <a:lnTo>
                    <a:pt x="947" y="4045"/>
                  </a:lnTo>
                  <a:lnTo>
                    <a:pt x="959" y="4041"/>
                  </a:lnTo>
                  <a:lnTo>
                    <a:pt x="969" y="4037"/>
                  </a:lnTo>
                  <a:lnTo>
                    <a:pt x="980" y="4031"/>
                  </a:lnTo>
                  <a:lnTo>
                    <a:pt x="987" y="4026"/>
                  </a:lnTo>
                  <a:lnTo>
                    <a:pt x="989" y="4022"/>
                  </a:lnTo>
                  <a:lnTo>
                    <a:pt x="992" y="4019"/>
                  </a:lnTo>
                  <a:lnTo>
                    <a:pt x="993" y="4015"/>
                  </a:lnTo>
                  <a:lnTo>
                    <a:pt x="995" y="4010"/>
                  </a:lnTo>
                  <a:lnTo>
                    <a:pt x="995" y="4006"/>
                  </a:lnTo>
                  <a:lnTo>
                    <a:pt x="993" y="4001"/>
                  </a:lnTo>
                  <a:lnTo>
                    <a:pt x="991" y="3995"/>
                  </a:lnTo>
                  <a:lnTo>
                    <a:pt x="988" y="3989"/>
                  </a:lnTo>
                  <a:lnTo>
                    <a:pt x="973" y="3953"/>
                  </a:lnTo>
                  <a:lnTo>
                    <a:pt x="961" y="3917"/>
                  </a:lnTo>
                  <a:lnTo>
                    <a:pt x="959" y="3910"/>
                  </a:lnTo>
                  <a:lnTo>
                    <a:pt x="955" y="3902"/>
                  </a:lnTo>
                  <a:lnTo>
                    <a:pt x="951" y="3897"/>
                  </a:lnTo>
                  <a:lnTo>
                    <a:pt x="947" y="3891"/>
                  </a:lnTo>
                  <a:lnTo>
                    <a:pt x="941" y="3887"/>
                  </a:lnTo>
                  <a:lnTo>
                    <a:pt x="936" y="3883"/>
                  </a:lnTo>
                  <a:lnTo>
                    <a:pt x="929" y="3882"/>
                  </a:lnTo>
                  <a:lnTo>
                    <a:pt x="923" y="3881"/>
                  </a:lnTo>
                  <a:lnTo>
                    <a:pt x="915" y="3882"/>
                  </a:lnTo>
                  <a:lnTo>
                    <a:pt x="909" y="3885"/>
                  </a:lnTo>
                  <a:lnTo>
                    <a:pt x="905" y="3889"/>
                  </a:lnTo>
                  <a:lnTo>
                    <a:pt x="903" y="3893"/>
                  </a:lnTo>
                  <a:lnTo>
                    <a:pt x="900" y="3897"/>
                  </a:lnTo>
                  <a:lnTo>
                    <a:pt x="899" y="3901"/>
                  </a:lnTo>
                  <a:lnTo>
                    <a:pt x="896" y="3903"/>
                  </a:lnTo>
                  <a:lnTo>
                    <a:pt x="892" y="3905"/>
                  </a:lnTo>
                  <a:lnTo>
                    <a:pt x="884" y="3903"/>
                  </a:lnTo>
                  <a:lnTo>
                    <a:pt x="877" y="3901"/>
                  </a:lnTo>
                  <a:lnTo>
                    <a:pt x="872" y="3895"/>
                  </a:lnTo>
                  <a:lnTo>
                    <a:pt x="868" y="3889"/>
                  </a:lnTo>
                  <a:lnTo>
                    <a:pt x="865" y="3882"/>
                  </a:lnTo>
                  <a:lnTo>
                    <a:pt x="863" y="3874"/>
                  </a:lnTo>
                  <a:lnTo>
                    <a:pt x="863" y="3869"/>
                  </a:lnTo>
                  <a:lnTo>
                    <a:pt x="861" y="3863"/>
                  </a:lnTo>
                  <a:lnTo>
                    <a:pt x="863" y="3855"/>
                  </a:lnTo>
                  <a:lnTo>
                    <a:pt x="864" y="3849"/>
                  </a:lnTo>
                  <a:lnTo>
                    <a:pt x="868" y="3843"/>
                  </a:lnTo>
                  <a:lnTo>
                    <a:pt x="872" y="3837"/>
                  </a:lnTo>
                  <a:lnTo>
                    <a:pt x="881" y="3827"/>
                  </a:lnTo>
                  <a:lnTo>
                    <a:pt x="891" y="3817"/>
                  </a:lnTo>
                  <a:lnTo>
                    <a:pt x="895" y="3810"/>
                  </a:lnTo>
                  <a:lnTo>
                    <a:pt x="899" y="3803"/>
                  </a:lnTo>
                  <a:lnTo>
                    <a:pt x="901" y="3797"/>
                  </a:lnTo>
                  <a:lnTo>
                    <a:pt x="903" y="3789"/>
                  </a:lnTo>
                  <a:lnTo>
                    <a:pt x="903" y="3779"/>
                  </a:lnTo>
                  <a:lnTo>
                    <a:pt x="901" y="3769"/>
                  </a:lnTo>
                  <a:lnTo>
                    <a:pt x="897" y="3757"/>
                  </a:lnTo>
                  <a:lnTo>
                    <a:pt x="892" y="3742"/>
                  </a:lnTo>
                  <a:lnTo>
                    <a:pt x="900" y="3725"/>
                  </a:lnTo>
                  <a:lnTo>
                    <a:pt x="912" y="3703"/>
                  </a:lnTo>
                  <a:lnTo>
                    <a:pt x="925" y="3679"/>
                  </a:lnTo>
                  <a:lnTo>
                    <a:pt x="941" y="3657"/>
                  </a:lnTo>
                  <a:lnTo>
                    <a:pt x="949" y="3646"/>
                  </a:lnTo>
                  <a:lnTo>
                    <a:pt x="957" y="3637"/>
                  </a:lnTo>
                  <a:lnTo>
                    <a:pt x="967" y="3628"/>
                  </a:lnTo>
                  <a:lnTo>
                    <a:pt x="976" y="3620"/>
                  </a:lnTo>
                  <a:lnTo>
                    <a:pt x="985" y="3613"/>
                  </a:lnTo>
                  <a:lnTo>
                    <a:pt x="995" y="3608"/>
                  </a:lnTo>
                  <a:lnTo>
                    <a:pt x="1003" y="3605"/>
                  </a:lnTo>
                  <a:lnTo>
                    <a:pt x="1012" y="3604"/>
                  </a:lnTo>
                  <a:lnTo>
                    <a:pt x="1019" y="3605"/>
                  </a:lnTo>
                  <a:lnTo>
                    <a:pt x="1024" y="3608"/>
                  </a:lnTo>
                  <a:lnTo>
                    <a:pt x="1028" y="3613"/>
                  </a:lnTo>
                  <a:lnTo>
                    <a:pt x="1031" y="3618"/>
                  </a:lnTo>
                  <a:lnTo>
                    <a:pt x="1033" y="3625"/>
                  </a:lnTo>
                  <a:lnTo>
                    <a:pt x="1035" y="3632"/>
                  </a:lnTo>
                  <a:lnTo>
                    <a:pt x="1036" y="3640"/>
                  </a:lnTo>
                  <a:lnTo>
                    <a:pt x="1036" y="3646"/>
                  </a:lnTo>
                  <a:lnTo>
                    <a:pt x="1036" y="3654"/>
                  </a:lnTo>
                  <a:lnTo>
                    <a:pt x="1033" y="3661"/>
                  </a:lnTo>
                  <a:lnTo>
                    <a:pt x="1029" y="3667"/>
                  </a:lnTo>
                  <a:lnTo>
                    <a:pt x="1024" y="3671"/>
                  </a:lnTo>
                  <a:lnTo>
                    <a:pt x="1020" y="3675"/>
                  </a:lnTo>
                  <a:lnTo>
                    <a:pt x="1016" y="3679"/>
                  </a:lnTo>
                  <a:lnTo>
                    <a:pt x="1013" y="3683"/>
                  </a:lnTo>
                  <a:lnTo>
                    <a:pt x="1012" y="3689"/>
                  </a:lnTo>
                  <a:lnTo>
                    <a:pt x="1015" y="3693"/>
                  </a:lnTo>
                  <a:lnTo>
                    <a:pt x="1020" y="3699"/>
                  </a:lnTo>
                  <a:lnTo>
                    <a:pt x="1028" y="3706"/>
                  </a:lnTo>
                  <a:lnTo>
                    <a:pt x="1039" y="3713"/>
                  </a:lnTo>
                  <a:lnTo>
                    <a:pt x="1068" y="3727"/>
                  </a:lnTo>
                  <a:lnTo>
                    <a:pt x="1101" y="3742"/>
                  </a:lnTo>
                  <a:lnTo>
                    <a:pt x="1136" y="3757"/>
                  </a:lnTo>
                  <a:lnTo>
                    <a:pt x="1169" y="3767"/>
                  </a:lnTo>
                  <a:lnTo>
                    <a:pt x="1185" y="3773"/>
                  </a:lnTo>
                  <a:lnTo>
                    <a:pt x="1199" y="3775"/>
                  </a:lnTo>
                  <a:lnTo>
                    <a:pt x="1209" y="3778"/>
                  </a:lnTo>
                  <a:lnTo>
                    <a:pt x="1217" y="3778"/>
                  </a:lnTo>
                  <a:lnTo>
                    <a:pt x="1225" y="3778"/>
                  </a:lnTo>
                  <a:lnTo>
                    <a:pt x="1235" y="3775"/>
                  </a:lnTo>
                  <a:lnTo>
                    <a:pt x="1243" y="3773"/>
                  </a:lnTo>
                  <a:lnTo>
                    <a:pt x="1251" y="3770"/>
                  </a:lnTo>
                  <a:lnTo>
                    <a:pt x="1259" y="3766"/>
                  </a:lnTo>
                  <a:lnTo>
                    <a:pt x="1267" y="3763"/>
                  </a:lnTo>
                  <a:lnTo>
                    <a:pt x="1275" y="3761"/>
                  </a:lnTo>
                  <a:lnTo>
                    <a:pt x="1284" y="3761"/>
                  </a:lnTo>
                  <a:lnTo>
                    <a:pt x="1293" y="3761"/>
                  </a:lnTo>
                  <a:lnTo>
                    <a:pt x="1303" y="3762"/>
                  </a:lnTo>
                  <a:lnTo>
                    <a:pt x="1312" y="3765"/>
                  </a:lnTo>
                  <a:lnTo>
                    <a:pt x="1320" y="3767"/>
                  </a:lnTo>
                  <a:lnTo>
                    <a:pt x="1336" y="3773"/>
                  </a:lnTo>
                  <a:lnTo>
                    <a:pt x="1352" y="3779"/>
                  </a:lnTo>
                  <a:lnTo>
                    <a:pt x="1367" y="3786"/>
                  </a:lnTo>
                  <a:lnTo>
                    <a:pt x="1382" y="3791"/>
                  </a:lnTo>
                  <a:lnTo>
                    <a:pt x="1390" y="3793"/>
                  </a:lnTo>
                  <a:lnTo>
                    <a:pt x="1398" y="3793"/>
                  </a:lnTo>
                  <a:lnTo>
                    <a:pt x="1406" y="3793"/>
                  </a:lnTo>
                  <a:lnTo>
                    <a:pt x="1416" y="3790"/>
                  </a:lnTo>
                  <a:lnTo>
                    <a:pt x="1438" y="3782"/>
                  </a:lnTo>
                  <a:lnTo>
                    <a:pt x="1458" y="3771"/>
                  </a:lnTo>
                  <a:lnTo>
                    <a:pt x="1474" y="3762"/>
                  </a:lnTo>
                  <a:lnTo>
                    <a:pt x="1489" y="3750"/>
                  </a:lnTo>
                  <a:lnTo>
                    <a:pt x="1501" y="3738"/>
                  </a:lnTo>
                  <a:lnTo>
                    <a:pt x="1512" y="3723"/>
                  </a:lnTo>
                  <a:lnTo>
                    <a:pt x="1521" y="3707"/>
                  </a:lnTo>
                  <a:lnTo>
                    <a:pt x="1530" y="3689"/>
                  </a:lnTo>
                  <a:lnTo>
                    <a:pt x="1566" y="3689"/>
                  </a:lnTo>
                  <a:lnTo>
                    <a:pt x="1576" y="3670"/>
                  </a:lnTo>
                  <a:lnTo>
                    <a:pt x="1584" y="3653"/>
                  </a:lnTo>
                  <a:lnTo>
                    <a:pt x="1590" y="3637"/>
                  </a:lnTo>
                  <a:lnTo>
                    <a:pt x="1596" y="3621"/>
                  </a:lnTo>
                  <a:lnTo>
                    <a:pt x="1601" y="3605"/>
                  </a:lnTo>
                  <a:lnTo>
                    <a:pt x="1606" y="3590"/>
                  </a:lnTo>
                  <a:lnTo>
                    <a:pt x="1613" y="3576"/>
                  </a:lnTo>
                  <a:lnTo>
                    <a:pt x="1621" y="3562"/>
                  </a:lnTo>
                  <a:lnTo>
                    <a:pt x="1626" y="3552"/>
                  </a:lnTo>
                  <a:lnTo>
                    <a:pt x="1633" y="3542"/>
                  </a:lnTo>
                  <a:lnTo>
                    <a:pt x="1641" y="3536"/>
                  </a:lnTo>
                  <a:lnTo>
                    <a:pt x="1649" y="3530"/>
                  </a:lnTo>
                  <a:lnTo>
                    <a:pt x="1666" y="3521"/>
                  </a:lnTo>
                  <a:lnTo>
                    <a:pt x="1684" y="3514"/>
                  </a:lnTo>
                  <a:lnTo>
                    <a:pt x="1702" y="3508"/>
                  </a:lnTo>
                  <a:lnTo>
                    <a:pt x="1718" y="3500"/>
                  </a:lnTo>
                  <a:lnTo>
                    <a:pt x="1726" y="3494"/>
                  </a:lnTo>
                  <a:lnTo>
                    <a:pt x="1734" y="3489"/>
                  </a:lnTo>
                  <a:lnTo>
                    <a:pt x="1741" y="3481"/>
                  </a:lnTo>
                  <a:lnTo>
                    <a:pt x="1746" y="3472"/>
                  </a:lnTo>
                  <a:lnTo>
                    <a:pt x="1754" y="3458"/>
                  </a:lnTo>
                  <a:lnTo>
                    <a:pt x="1762" y="3444"/>
                  </a:lnTo>
                  <a:lnTo>
                    <a:pt x="1769" y="3426"/>
                  </a:lnTo>
                  <a:lnTo>
                    <a:pt x="1776" y="3408"/>
                  </a:lnTo>
                  <a:lnTo>
                    <a:pt x="1789" y="3366"/>
                  </a:lnTo>
                  <a:lnTo>
                    <a:pt x="1805" y="3325"/>
                  </a:lnTo>
                  <a:lnTo>
                    <a:pt x="1813" y="3305"/>
                  </a:lnTo>
                  <a:lnTo>
                    <a:pt x="1822" y="3286"/>
                  </a:lnTo>
                  <a:lnTo>
                    <a:pt x="1833" y="3270"/>
                  </a:lnTo>
                  <a:lnTo>
                    <a:pt x="1845" y="3254"/>
                  </a:lnTo>
                  <a:lnTo>
                    <a:pt x="1850" y="3248"/>
                  </a:lnTo>
                  <a:lnTo>
                    <a:pt x="1857" y="3242"/>
                  </a:lnTo>
                  <a:lnTo>
                    <a:pt x="1864" y="3237"/>
                  </a:lnTo>
                  <a:lnTo>
                    <a:pt x="1870" y="3233"/>
                  </a:lnTo>
                  <a:lnTo>
                    <a:pt x="1878" y="3229"/>
                  </a:lnTo>
                  <a:lnTo>
                    <a:pt x="1886" y="3226"/>
                  </a:lnTo>
                  <a:lnTo>
                    <a:pt x="1894" y="3225"/>
                  </a:lnTo>
                  <a:lnTo>
                    <a:pt x="1904" y="3225"/>
                  </a:lnTo>
                  <a:lnTo>
                    <a:pt x="1920" y="3225"/>
                  </a:lnTo>
                  <a:lnTo>
                    <a:pt x="1934" y="3229"/>
                  </a:lnTo>
                  <a:lnTo>
                    <a:pt x="1948" y="3233"/>
                  </a:lnTo>
                  <a:lnTo>
                    <a:pt x="1961" y="3237"/>
                  </a:lnTo>
                  <a:lnTo>
                    <a:pt x="1986" y="3248"/>
                  </a:lnTo>
                  <a:lnTo>
                    <a:pt x="2006" y="3254"/>
                  </a:lnTo>
                  <a:lnTo>
                    <a:pt x="2109" y="3254"/>
                  </a:lnTo>
                  <a:lnTo>
                    <a:pt x="2125" y="3266"/>
                  </a:lnTo>
                  <a:lnTo>
                    <a:pt x="2141" y="3277"/>
                  </a:lnTo>
                  <a:lnTo>
                    <a:pt x="2158" y="3284"/>
                  </a:lnTo>
                  <a:lnTo>
                    <a:pt x="2177" y="3289"/>
                  </a:lnTo>
                  <a:lnTo>
                    <a:pt x="2195" y="3293"/>
                  </a:lnTo>
                  <a:lnTo>
                    <a:pt x="2215" y="3296"/>
                  </a:lnTo>
                  <a:lnTo>
                    <a:pt x="2237" y="3297"/>
                  </a:lnTo>
                  <a:lnTo>
                    <a:pt x="2259" y="3297"/>
                  </a:lnTo>
                  <a:lnTo>
                    <a:pt x="2275" y="3297"/>
                  </a:lnTo>
                  <a:lnTo>
                    <a:pt x="2291" y="3300"/>
                  </a:lnTo>
                  <a:lnTo>
                    <a:pt x="2305" y="3304"/>
                  </a:lnTo>
                  <a:lnTo>
                    <a:pt x="2318" y="3308"/>
                  </a:lnTo>
                  <a:lnTo>
                    <a:pt x="2329" y="3313"/>
                  </a:lnTo>
                  <a:lnTo>
                    <a:pt x="2339" y="3320"/>
                  </a:lnTo>
                  <a:lnTo>
                    <a:pt x="2350" y="3326"/>
                  </a:lnTo>
                  <a:lnTo>
                    <a:pt x="2359" y="3333"/>
                  </a:lnTo>
                  <a:lnTo>
                    <a:pt x="2379" y="3346"/>
                  </a:lnTo>
                  <a:lnTo>
                    <a:pt x="2399" y="3358"/>
                  </a:lnTo>
                  <a:lnTo>
                    <a:pt x="2410" y="3362"/>
                  </a:lnTo>
                  <a:lnTo>
                    <a:pt x="2423" y="3366"/>
                  </a:lnTo>
                  <a:lnTo>
                    <a:pt x="2437" y="3368"/>
                  </a:lnTo>
                  <a:lnTo>
                    <a:pt x="2451" y="3369"/>
                  </a:lnTo>
                  <a:lnTo>
                    <a:pt x="2461" y="3368"/>
                  </a:lnTo>
                  <a:lnTo>
                    <a:pt x="2470" y="3365"/>
                  </a:lnTo>
                  <a:lnTo>
                    <a:pt x="2479" y="3361"/>
                  </a:lnTo>
                  <a:lnTo>
                    <a:pt x="2487" y="3356"/>
                  </a:lnTo>
                  <a:lnTo>
                    <a:pt x="2505" y="3341"/>
                  </a:lnTo>
                  <a:lnTo>
                    <a:pt x="2521" y="3324"/>
                  </a:lnTo>
                  <a:lnTo>
                    <a:pt x="2530" y="3316"/>
                  </a:lnTo>
                  <a:lnTo>
                    <a:pt x="2538" y="3308"/>
                  </a:lnTo>
                  <a:lnTo>
                    <a:pt x="2547" y="3300"/>
                  </a:lnTo>
                  <a:lnTo>
                    <a:pt x="2558" y="3293"/>
                  </a:lnTo>
                  <a:lnTo>
                    <a:pt x="2569" y="3288"/>
                  </a:lnTo>
                  <a:lnTo>
                    <a:pt x="2581" y="3282"/>
                  </a:lnTo>
                  <a:lnTo>
                    <a:pt x="2594" y="3280"/>
                  </a:lnTo>
                  <a:lnTo>
                    <a:pt x="2609" y="3278"/>
                  </a:lnTo>
                  <a:lnTo>
                    <a:pt x="2615" y="3280"/>
                  </a:lnTo>
                  <a:lnTo>
                    <a:pt x="2623" y="3281"/>
                  </a:lnTo>
                  <a:lnTo>
                    <a:pt x="2630" y="3284"/>
                  </a:lnTo>
                  <a:lnTo>
                    <a:pt x="2635" y="3288"/>
                  </a:lnTo>
                  <a:lnTo>
                    <a:pt x="2647" y="3296"/>
                  </a:lnTo>
                  <a:lnTo>
                    <a:pt x="2659" y="3306"/>
                  </a:lnTo>
                  <a:lnTo>
                    <a:pt x="2671" y="3316"/>
                  </a:lnTo>
                  <a:lnTo>
                    <a:pt x="2682" y="3325"/>
                  </a:lnTo>
                  <a:lnTo>
                    <a:pt x="2689" y="3328"/>
                  </a:lnTo>
                  <a:lnTo>
                    <a:pt x="2695" y="3330"/>
                  </a:lnTo>
                  <a:lnTo>
                    <a:pt x="2703" y="3333"/>
                  </a:lnTo>
                  <a:lnTo>
                    <a:pt x="2710" y="3333"/>
                  </a:lnTo>
                  <a:lnTo>
                    <a:pt x="2711" y="3324"/>
                  </a:lnTo>
                  <a:lnTo>
                    <a:pt x="2713" y="3316"/>
                  </a:lnTo>
                  <a:lnTo>
                    <a:pt x="2715" y="3308"/>
                  </a:lnTo>
                  <a:lnTo>
                    <a:pt x="2719" y="3301"/>
                  </a:lnTo>
                  <a:lnTo>
                    <a:pt x="2725" y="3294"/>
                  </a:lnTo>
                  <a:lnTo>
                    <a:pt x="2730" y="3289"/>
                  </a:lnTo>
                  <a:lnTo>
                    <a:pt x="2737" y="3284"/>
                  </a:lnTo>
                  <a:lnTo>
                    <a:pt x="2743" y="3280"/>
                  </a:lnTo>
                  <a:lnTo>
                    <a:pt x="2759" y="3270"/>
                  </a:lnTo>
                  <a:lnTo>
                    <a:pt x="2777" y="3264"/>
                  </a:lnTo>
                  <a:lnTo>
                    <a:pt x="2795" y="3257"/>
                  </a:lnTo>
                  <a:lnTo>
                    <a:pt x="2814" y="3250"/>
                  </a:lnTo>
                  <a:lnTo>
                    <a:pt x="2833" y="3244"/>
                  </a:lnTo>
                  <a:lnTo>
                    <a:pt x="2850" y="3237"/>
                  </a:lnTo>
                  <a:lnTo>
                    <a:pt x="2858" y="3232"/>
                  </a:lnTo>
                  <a:lnTo>
                    <a:pt x="2866" y="3228"/>
                  </a:lnTo>
                  <a:lnTo>
                    <a:pt x="2874" y="3222"/>
                  </a:lnTo>
                  <a:lnTo>
                    <a:pt x="2881" y="3217"/>
                  </a:lnTo>
                  <a:lnTo>
                    <a:pt x="2887" y="3210"/>
                  </a:lnTo>
                  <a:lnTo>
                    <a:pt x="2893" y="3204"/>
                  </a:lnTo>
                  <a:lnTo>
                    <a:pt x="2897" y="3197"/>
                  </a:lnTo>
                  <a:lnTo>
                    <a:pt x="2901" y="3188"/>
                  </a:lnTo>
                  <a:lnTo>
                    <a:pt x="2903" y="3180"/>
                  </a:lnTo>
                  <a:lnTo>
                    <a:pt x="2904" y="3169"/>
                  </a:lnTo>
                  <a:lnTo>
                    <a:pt x="2904" y="3158"/>
                  </a:lnTo>
                  <a:lnTo>
                    <a:pt x="2903" y="3146"/>
                  </a:lnTo>
                  <a:lnTo>
                    <a:pt x="2886" y="3145"/>
                  </a:lnTo>
                  <a:lnTo>
                    <a:pt x="2869" y="3142"/>
                  </a:lnTo>
                  <a:lnTo>
                    <a:pt x="2854" y="3138"/>
                  </a:lnTo>
                  <a:lnTo>
                    <a:pt x="2839" y="3132"/>
                  </a:lnTo>
                  <a:lnTo>
                    <a:pt x="2826" y="3124"/>
                  </a:lnTo>
                  <a:lnTo>
                    <a:pt x="2813" y="3114"/>
                  </a:lnTo>
                  <a:lnTo>
                    <a:pt x="2802" y="3104"/>
                  </a:lnTo>
                  <a:lnTo>
                    <a:pt x="2791" y="3092"/>
                  </a:lnTo>
                  <a:lnTo>
                    <a:pt x="2783" y="3078"/>
                  </a:lnTo>
                  <a:lnTo>
                    <a:pt x="2775" y="3064"/>
                  </a:lnTo>
                  <a:lnTo>
                    <a:pt x="2769" y="3048"/>
                  </a:lnTo>
                  <a:lnTo>
                    <a:pt x="2762" y="3032"/>
                  </a:lnTo>
                  <a:lnTo>
                    <a:pt x="2758" y="3015"/>
                  </a:lnTo>
                  <a:lnTo>
                    <a:pt x="2755" y="2997"/>
                  </a:lnTo>
                  <a:lnTo>
                    <a:pt x="2753" y="2979"/>
                  </a:lnTo>
                  <a:lnTo>
                    <a:pt x="2753" y="2960"/>
                  </a:lnTo>
                  <a:lnTo>
                    <a:pt x="2753" y="296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6" name="Freeform 86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2625725" y="3278188"/>
              <a:ext cx="501650" cy="501650"/>
            </a:xfrm>
            <a:custGeom>
              <a:avLst/>
              <a:gdLst/>
              <a:ahLst/>
              <a:cxnLst>
                <a:cxn ang="0">
                  <a:pos x="542" y="141"/>
                </a:cxn>
                <a:cxn ang="0">
                  <a:pos x="494" y="97"/>
                </a:cxn>
                <a:cxn ang="0">
                  <a:pos x="460" y="95"/>
                </a:cxn>
                <a:cxn ang="0">
                  <a:pos x="450" y="41"/>
                </a:cxn>
                <a:cxn ang="0">
                  <a:pos x="417" y="4"/>
                </a:cxn>
                <a:cxn ang="0">
                  <a:pos x="310" y="5"/>
                </a:cxn>
                <a:cxn ang="0">
                  <a:pos x="261" y="1"/>
                </a:cxn>
                <a:cxn ang="0">
                  <a:pos x="263" y="39"/>
                </a:cxn>
                <a:cxn ang="0">
                  <a:pos x="269" y="104"/>
                </a:cxn>
                <a:cxn ang="0">
                  <a:pos x="240" y="125"/>
                </a:cxn>
                <a:cxn ang="0">
                  <a:pos x="253" y="153"/>
                </a:cxn>
                <a:cxn ang="0">
                  <a:pos x="309" y="201"/>
                </a:cxn>
                <a:cxn ang="0">
                  <a:pos x="362" y="245"/>
                </a:cxn>
                <a:cxn ang="0">
                  <a:pos x="365" y="285"/>
                </a:cxn>
                <a:cxn ang="0">
                  <a:pos x="326" y="337"/>
                </a:cxn>
                <a:cxn ang="0">
                  <a:pos x="260" y="384"/>
                </a:cxn>
                <a:cxn ang="0">
                  <a:pos x="240" y="433"/>
                </a:cxn>
                <a:cxn ang="0">
                  <a:pos x="216" y="569"/>
                </a:cxn>
                <a:cxn ang="0">
                  <a:pos x="168" y="633"/>
                </a:cxn>
                <a:cxn ang="0">
                  <a:pos x="127" y="833"/>
                </a:cxn>
                <a:cxn ang="0">
                  <a:pos x="95" y="966"/>
                </a:cxn>
                <a:cxn ang="0">
                  <a:pos x="15" y="1011"/>
                </a:cxn>
                <a:cxn ang="0">
                  <a:pos x="0" y="1050"/>
                </a:cxn>
                <a:cxn ang="0">
                  <a:pos x="17" y="1083"/>
                </a:cxn>
                <a:cxn ang="0">
                  <a:pos x="69" y="1113"/>
                </a:cxn>
                <a:cxn ang="0">
                  <a:pos x="99" y="1177"/>
                </a:cxn>
                <a:cxn ang="0">
                  <a:pos x="153" y="1195"/>
                </a:cxn>
                <a:cxn ang="0">
                  <a:pos x="203" y="1207"/>
                </a:cxn>
                <a:cxn ang="0">
                  <a:pos x="229" y="1238"/>
                </a:cxn>
                <a:cxn ang="0">
                  <a:pos x="275" y="1266"/>
                </a:cxn>
                <a:cxn ang="0">
                  <a:pos x="273" y="1315"/>
                </a:cxn>
                <a:cxn ang="0">
                  <a:pos x="322" y="1333"/>
                </a:cxn>
                <a:cxn ang="0">
                  <a:pos x="356" y="1322"/>
                </a:cxn>
                <a:cxn ang="0">
                  <a:pos x="388" y="1239"/>
                </a:cxn>
                <a:cxn ang="0">
                  <a:pos x="432" y="1195"/>
                </a:cxn>
                <a:cxn ang="0">
                  <a:pos x="482" y="1194"/>
                </a:cxn>
                <a:cxn ang="0">
                  <a:pos x="544" y="1119"/>
                </a:cxn>
                <a:cxn ang="0">
                  <a:pos x="586" y="1090"/>
                </a:cxn>
                <a:cxn ang="0">
                  <a:pos x="658" y="1101"/>
                </a:cxn>
                <a:cxn ang="0">
                  <a:pos x="684" y="1045"/>
                </a:cxn>
                <a:cxn ang="0">
                  <a:pos x="716" y="1006"/>
                </a:cxn>
                <a:cxn ang="0">
                  <a:pos x="794" y="989"/>
                </a:cxn>
                <a:cxn ang="0">
                  <a:pos x="836" y="949"/>
                </a:cxn>
                <a:cxn ang="0">
                  <a:pos x="834" y="898"/>
                </a:cxn>
                <a:cxn ang="0">
                  <a:pos x="818" y="861"/>
                </a:cxn>
                <a:cxn ang="0">
                  <a:pos x="844" y="822"/>
                </a:cxn>
                <a:cxn ang="0">
                  <a:pos x="854" y="788"/>
                </a:cxn>
                <a:cxn ang="0">
                  <a:pos x="830" y="736"/>
                </a:cxn>
                <a:cxn ang="0">
                  <a:pos x="820" y="676"/>
                </a:cxn>
                <a:cxn ang="0">
                  <a:pos x="858" y="637"/>
                </a:cxn>
                <a:cxn ang="0">
                  <a:pos x="937" y="612"/>
                </a:cxn>
                <a:cxn ang="0">
                  <a:pos x="1021" y="506"/>
                </a:cxn>
                <a:cxn ang="0">
                  <a:pos x="1114" y="328"/>
                </a:cxn>
                <a:cxn ang="0">
                  <a:pos x="1131" y="235"/>
                </a:cxn>
                <a:cxn ang="0">
                  <a:pos x="1055" y="232"/>
                </a:cxn>
                <a:cxn ang="0">
                  <a:pos x="909" y="159"/>
                </a:cxn>
                <a:cxn ang="0">
                  <a:pos x="830" y="139"/>
                </a:cxn>
                <a:cxn ang="0">
                  <a:pos x="781" y="159"/>
                </a:cxn>
                <a:cxn ang="0">
                  <a:pos x="589" y="156"/>
                </a:cxn>
              </a:cxnLst>
              <a:rect l="0" t="0" r="r" b="b"/>
              <a:pathLst>
                <a:path w="1162" h="1338">
                  <a:moveTo>
                    <a:pt x="589" y="163"/>
                  </a:moveTo>
                  <a:lnTo>
                    <a:pt x="578" y="161"/>
                  </a:lnTo>
                  <a:lnTo>
                    <a:pt x="569" y="160"/>
                  </a:lnTo>
                  <a:lnTo>
                    <a:pt x="561" y="156"/>
                  </a:lnTo>
                  <a:lnTo>
                    <a:pt x="554" y="152"/>
                  </a:lnTo>
                  <a:lnTo>
                    <a:pt x="542" y="141"/>
                  </a:lnTo>
                  <a:lnTo>
                    <a:pt x="532" y="129"/>
                  </a:lnTo>
                  <a:lnTo>
                    <a:pt x="522" y="117"/>
                  </a:lnTo>
                  <a:lnTo>
                    <a:pt x="513" y="107"/>
                  </a:lnTo>
                  <a:lnTo>
                    <a:pt x="508" y="103"/>
                  </a:lnTo>
                  <a:lnTo>
                    <a:pt x="501" y="99"/>
                  </a:lnTo>
                  <a:lnTo>
                    <a:pt x="494" y="97"/>
                  </a:lnTo>
                  <a:lnTo>
                    <a:pt x="488" y="96"/>
                  </a:lnTo>
                  <a:lnTo>
                    <a:pt x="480" y="96"/>
                  </a:lnTo>
                  <a:lnTo>
                    <a:pt x="477" y="96"/>
                  </a:lnTo>
                  <a:lnTo>
                    <a:pt x="474" y="96"/>
                  </a:lnTo>
                  <a:lnTo>
                    <a:pt x="464" y="96"/>
                  </a:lnTo>
                  <a:lnTo>
                    <a:pt x="460" y="95"/>
                  </a:lnTo>
                  <a:lnTo>
                    <a:pt x="456" y="91"/>
                  </a:lnTo>
                  <a:lnTo>
                    <a:pt x="454" y="87"/>
                  </a:lnTo>
                  <a:lnTo>
                    <a:pt x="453" y="80"/>
                  </a:lnTo>
                  <a:lnTo>
                    <a:pt x="452" y="65"/>
                  </a:lnTo>
                  <a:lnTo>
                    <a:pt x="452" y="55"/>
                  </a:lnTo>
                  <a:lnTo>
                    <a:pt x="450" y="41"/>
                  </a:lnTo>
                  <a:lnTo>
                    <a:pt x="448" y="31"/>
                  </a:lnTo>
                  <a:lnTo>
                    <a:pt x="444" y="23"/>
                  </a:lnTo>
                  <a:lnTo>
                    <a:pt x="440" y="16"/>
                  </a:lnTo>
                  <a:lnTo>
                    <a:pt x="433" y="11"/>
                  </a:lnTo>
                  <a:lnTo>
                    <a:pt x="425" y="7"/>
                  </a:lnTo>
                  <a:lnTo>
                    <a:pt x="417" y="4"/>
                  </a:lnTo>
                  <a:lnTo>
                    <a:pt x="409" y="3"/>
                  </a:lnTo>
                  <a:lnTo>
                    <a:pt x="370" y="3"/>
                  </a:lnTo>
                  <a:lnTo>
                    <a:pt x="330" y="5"/>
                  </a:lnTo>
                  <a:lnTo>
                    <a:pt x="321" y="5"/>
                  </a:lnTo>
                  <a:lnTo>
                    <a:pt x="316" y="5"/>
                  </a:lnTo>
                  <a:lnTo>
                    <a:pt x="310" y="5"/>
                  </a:lnTo>
                  <a:lnTo>
                    <a:pt x="301" y="5"/>
                  </a:lnTo>
                  <a:lnTo>
                    <a:pt x="289" y="4"/>
                  </a:lnTo>
                  <a:lnTo>
                    <a:pt x="275" y="1"/>
                  </a:lnTo>
                  <a:lnTo>
                    <a:pt x="269" y="0"/>
                  </a:lnTo>
                  <a:lnTo>
                    <a:pt x="264" y="1"/>
                  </a:lnTo>
                  <a:lnTo>
                    <a:pt x="261" y="1"/>
                  </a:lnTo>
                  <a:lnTo>
                    <a:pt x="260" y="3"/>
                  </a:lnTo>
                  <a:lnTo>
                    <a:pt x="259" y="4"/>
                  </a:lnTo>
                  <a:lnTo>
                    <a:pt x="259" y="5"/>
                  </a:lnTo>
                  <a:lnTo>
                    <a:pt x="259" y="19"/>
                  </a:lnTo>
                  <a:lnTo>
                    <a:pt x="260" y="29"/>
                  </a:lnTo>
                  <a:lnTo>
                    <a:pt x="263" y="39"/>
                  </a:lnTo>
                  <a:lnTo>
                    <a:pt x="264" y="49"/>
                  </a:lnTo>
                  <a:lnTo>
                    <a:pt x="267" y="59"/>
                  </a:lnTo>
                  <a:lnTo>
                    <a:pt x="269" y="69"/>
                  </a:lnTo>
                  <a:lnTo>
                    <a:pt x="271" y="81"/>
                  </a:lnTo>
                  <a:lnTo>
                    <a:pt x="271" y="96"/>
                  </a:lnTo>
                  <a:lnTo>
                    <a:pt x="269" y="104"/>
                  </a:lnTo>
                  <a:lnTo>
                    <a:pt x="267" y="111"/>
                  </a:lnTo>
                  <a:lnTo>
                    <a:pt x="263" y="116"/>
                  </a:lnTo>
                  <a:lnTo>
                    <a:pt x="257" y="120"/>
                  </a:lnTo>
                  <a:lnTo>
                    <a:pt x="251" y="123"/>
                  </a:lnTo>
                  <a:lnTo>
                    <a:pt x="245" y="125"/>
                  </a:lnTo>
                  <a:lnTo>
                    <a:pt x="240" y="125"/>
                  </a:lnTo>
                  <a:lnTo>
                    <a:pt x="235" y="127"/>
                  </a:lnTo>
                  <a:lnTo>
                    <a:pt x="247" y="127"/>
                  </a:lnTo>
                  <a:lnTo>
                    <a:pt x="248" y="133"/>
                  </a:lnTo>
                  <a:lnTo>
                    <a:pt x="249" y="141"/>
                  </a:lnTo>
                  <a:lnTo>
                    <a:pt x="251" y="148"/>
                  </a:lnTo>
                  <a:lnTo>
                    <a:pt x="253" y="153"/>
                  </a:lnTo>
                  <a:lnTo>
                    <a:pt x="260" y="164"/>
                  </a:lnTo>
                  <a:lnTo>
                    <a:pt x="268" y="173"/>
                  </a:lnTo>
                  <a:lnTo>
                    <a:pt x="277" y="181"/>
                  </a:lnTo>
                  <a:lnTo>
                    <a:pt x="288" y="188"/>
                  </a:lnTo>
                  <a:lnTo>
                    <a:pt x="298" y="195"/>
                  </a:lnTo>
                  <a:lnTo>
                    <a:pt x="309" y="201"/>
                  </a:lnTo>
                  <a:lnTo>
                    <a:pt x="320" y="207"/>
                  </a:lnTo>
                  <a:lnTo>
                    <a:pt x="330" y="213"/>
                  </a:lnTo>
                  <a:lnTo>
                    <a:pt x="340" y="220"/>
                  </a:lnTo>
                  <a:lnTo>
                    <a:pt x="349" y="227"/>
                  </a:lnTo>
                  <a:lnTo>
                    <a:pt x="356" y="236"/>
                  </a:lnTo>
                  <a:lnTo>
                    <a:pt x="362" y="245"/>
                  </a:lnTo>
                  <a:lnTo>
                    <a:pt x="364" y="251"/>
                  </a:lnTo>
                  <a:lnTo>
                    <a:pt x="365" y="257"/>
                  </a:lnTo>
                  <a:lnTo>
                    <a:pt x="366" y="264"/>
                  </a:lnTo>
                  <a:lnTo>
                    <a:pt x="366" y="271"/>
                  </a:lnTo>
                  <a:lnTo>
                    <a:pt x="366" y="279"/>
                  </a:lnTo>
                  <a:lnTo>
                    <a:pt x="365" y="285"/>
                  </a:lnTo>
                  <a:lnTo>
                    <a:pt x="364" y="292"/>
                  </a:lnTo>
                  <a:lnTo>
                    <a:pt x="361" y="299"/>
                  </a:lnTo>
                  <a:lnTo>
                    <a:pt x="356" y="309"/>
                  </a:lnTo>
                  <a:lnTo>
                    <a:pt x="346" y="320"/>
                  </a:lnTo>
                  <a:lnTo>
                    <a:pt x="337" y="329"/>
                  </a:lnTo>
                  <a:lnTo>
                    <a:pt x="326" y="337"/>
                  </a:lnTo>
                  <a:lnTo>
                    <a:pt x="316" y="345"/>
                  </a:lnTo>
                  <a:lnTo>
                    <a:pt x="304" y="352"/>
                  </a:lnTo>
                  <a:lnTo>
                    <a:pt x="292" y="360"/>
                  </a:lnTo>
                  <a:lnTo>
                    <a:pt x="280" y="366"/>
                  </a:lnTo>
                  <a:lnTo>
                    <a:pt x="269" y="376"/>
                  </a:lnTo>
                  <a:lnTo>
                    <a:pt x="260" y="384"/>
                  </a:lnTo>
                  <a:lnTo>
                    <a:pt x="252" y="394"/>
                  </a:lnTo>
                  <a:lnTo>
                    <a:pt x="245" y="405"/>
                  </a:lnTo>
                  <a:lnTo>
                    <a:pt x="244" y="412"/>
                  </a:lnTo>
                  <a:lnTo>
                    <a:pt x="241" y="418"/>
                  </a:lnTo>
                  <a:lnTo>
                    <a:pt x="241" y="425"/>
                  </a:lnTo>
                  <a:lnTo>
                    <a:pt x="240" y="433"/>
                  </a:lnTo>
                  <a:lnTo>
                    <a:pt x="240" y="464"/>
                  </a:lnTo>
                  <a:lnTo>
                    <a:pt x="240" y="492"/>
                  </a:lnTo>
                  <a:lnTo>
                    <a:pt x="240" y="521"/>
                  </a:lnTo>
                  <a:lnTo>
                    <a:pt x="240" y="554"/>
                  </a:lnTo>
                  <a:lnTo>
                    <a:pt x="223" y="566"/>
                  </a:lnTo>
                  <a:lnTo>
                    <a:pt x="216" y="569"/>
                  </a:lnTo>
                  <a:lnTo>
                    <a:pt x="208" y="573"/>
                  </a:lnTo>
                  <a:lnTo>
                    <a:pt x="203" y="578"/>
                  </a:lnTo>
                  <a:lnTo>
                    <a:pt x="196" y="584"/>
                  </a:lnTo>
                  <a:lnTo>
                    <a:pt x="185" y="598"/>
                  </a:lnTo>
                  <a:lnTo>
                    <a:pt x="176" y="614"/>
                  </a:lnTo>
                  <a:lnTo>
                    <a:pt x="168" y="633"/>
                  </a:lnTo>
                  <a:lnTo>
                    <a:pt x="160" y="653"/>
                  </a:lnTo>
                  <a:lnTo>
                    <a:pt x="155" y="676"/>
                  </a:lnTo>
                  <a:lnTo>
                    <a:pt x="149" y="698"/>
                  </a:lnTo>
                  <a:lnTo>
                    <a:pt x="140" y="745"/>
                  </a:lnTo>
                  <a:lnTo>
                    <a:pt x="133" y="792"/>
                  </a:lnTo>
                  <a:lnTo>
                    <a:pt x="127" y="833"/>
                  </a:lnTo>
                  <a:lnTo>
                    <a:pt x="120" y="866"/>
                  </a:lnTo>
                  <a:lnTo>
                    <a:pt x="115" y="894"/>
                  </a:lnTo>
                  <a:lnTo>
                    <a:pt x="107" y="926"/>
                  </a:lnTo>
                  <a:lnTo>
                    <a:pt x="103" y="941"/>
                  </a:lnTo>
                  <a:lnTo>
                    <a:pt x="99" y="955"/>
                  </a:lnTo>
                  <a:lnTo>
                    <a:pt x="95" y="966"/>
                  </a:lnTo>
                  <a:lnTo>
                    <a:pt x="89" y="975"/>
                  </a:lnTo>
                  <a:lnTo>
                    <a:pt x="63" y="987"/>
                  </a:lnTo>
                  <a:lnTo>
                    <a:pt x="33" y="999"/>
                  </a:lnTo>
                  <a:lnTo>
                    <a:pt x="27" y="1003"/>
                  </a:lnTo>
                  <a:lnTo>
                    <a:pt x="20" y="1006"/>
                  </a:lnTo>
                  <a:lnTo>
                    <a:pt x="15" y="1011"/>
                  </a:lnTo>
                  <a:lnTo>
                    <a:pt x="9" y="1015"/>
                  </a:lnTo>
                  <a:lnTo>
                    <a:pt x="5" y="1021"/>
                  </a:lnTo>
                  <a:lnTo>
                    <a:pt x="3" y="1027"/>
                  </a:lnTo>
                  <a:lnTo>
                    <a:pt x="0" y="1034"/>
                  </a:lnTo>
                  <a:lnTo>
                    <a:pt x="0" y="1041"/>
                  </a:lnTo>
                  <a:lnTo>
                    <a:pt x="0" y="1050"/>
                  </a:lnTo>
                  <a:lnTo>
                    <a:pt x="1" y="1058"/>
                  </a:lnTo>
                  <a:lnTo>
                    <a:pt x="3" y="1065"/>
                  </a:lnTo>
                  <a:lnTo>
                    <a:pt x="5" y="1070"/>
                  </a:lnTo>
                  <a:lnTo>
                    <a:pt x="9" y="1075"/>
                  </a:lnTo>
                  <a:lnTo>
                    <a:pt x="12" y="1079"/>
                  </a:lnTo>
                  <a:lnTo>
                    <a:pt x="17" y="1083"/>
                  </a:lnTo>
                  <a:lnTo>
                    <a:pt x="21" y="1086"/>
                  </a:lnTo>
                  <a:lnTo>
                    <a:pt x="32" y="1091"/>
                  </a:lnTo>
                  <a:lnTo>
                    <a:pt x="43" y="1094"/>
                  </a:lnTo>
                  <a:lnTo>
                    <a:pt x="55" y="1095"/>
                  </a:lnTo>
                  <a:lnTo>
                    <a:pt x="65" y="1095"/>
                  </a:lnTo>
                  <a:lnTo>
                    <a:pt x="69" y="1113"/>
                  </a:lnTo>
                  <a:lnTo>
                    <a:pt x="73" y="1130"/>
                  </a:lnTo>
                  <a:lnTo>
                    <a:pt x="79" y="1146"/>
                  </a:lnTo>
                  <a:lnTo>
                    <a:pt x="85" y="1159"/>
                  </a:lnTo>
                  <a:lnTo>
                    <a:pt x="89" y="1166"/>
                  </a:lnTo>
                  <a:lnTo>
                    <a:pt x="95" y="1171"/>
                  </a:lnTo>
                  <a:lnTo>
                    <a:pt x="99" y="1177"/>
                  </a:lnTo>
                  <a:lnTo>
                    <a:pt x="105" y="1181"/>
                  </a:lnTo>
                  <a:lnTo>
                    <a:pt x="111" y="1185"/>
                  </a:lnTo>
                  <a:lnTo>
                    <a:pt x="117" y="1189"/>
                  </a:lnTo>
                  <a:lnTo>
                    <a:pt x="124" y="1190"/>
                  </a:lnTo>
                  <a:lnTo>
                    <a:pt x="132" y="1191"/>
                  </a:lnTo>
                  <a:lnTo>
                    <a:pt x="153" y="1195"/>
                  </a:lnTo>
                  <a:lnTo>
                    <a:pt x="175" y="1197"/>
                  </a:lnTo>
                  <a:lnTo>
                    <a:pt x="185" y="1198"/>
                  </a:lnTo>
                  <a:lnTo>
                    <a:pt x="193" y="1201"/>
                  </a:lnTo>
                  <a:lnTo>
                    <a:pt x="197" y="1202"/>
                  </a:lnTo>
                  <a:lnTo>
                    <a:pt x="200" y="1205"/>
                  </a:lnTo>
                  <a:lnTo>
                    <a:pt x="203" y="1207"/>
                  </a:lnTo>
                  <a:lnTo>
                    <a:pt x="204" y="1210"/>
                  </a:lnTo>
                  <a:lnTo>
                    <a:pt x="211" y="1225"/>
                  </a:lnTo>
                  <a:lnTo>
                    <a:pt x="215" y="1233"/>
                  </a:lnTo>
                  <a:lnTo>
                    <a:pt x="219" y="1237"/>
                  </a:lnTo>
                  <a:lnTo>
                    <a:pt x="223" y="1238"/>
                  </a:lnTo>
                  <a:lnTo>
                    <a:pt x="229" y="1238"/>
                  </a:lnTo>
                  <a:lnTo>
                    <a:pt x="237" y="1239"/>
                  </a:lnTo>
                  <a:lnTo>
                    <a:pt x="249" y="1243"/>
                  </a:lnTo>
                  <a:lnTo>
                    <a:pt x="264" y="1253"/>
                  </a:lnTo>
                  <a:lnTo>
                    <a:pt x="269" y="1257"/>
                  </a:lnTo>
                  <a:lnTo>
                    <a:pt x="272" y="1261"/>
                  </a:lnTo>
                  <a:lnTo>
                    <a:pt x="275" y="1266"/>
                  </a:lnTo>
                  <a:lnTo>
                    <a:pt x="275" y="1273"/>
                  </a:lnTo>
                  <a:lnTo>
                    <a:pt x="273" y="1285"/>
                  </a:lnTo>
                  <a:lnTo>
                    <a:pt x="272" y="1298"/>
                  </a:lnTo>
                  <a:lnTo>
                    <a:pt x="272" y="1305"/>
                  </a:lnTo>
                  <a:lnTo>
                    <a:pt x="272" y="1310"/>
                  </a:lnTo>
                  <a:lnTo>
                    <a:pt x="273" y="1315"/>
                  </a:lnTo>
                  <a:lnTo>
                    <a:pt x="276" y="1321"/>
                  </a:lnTo>
                  <a:lnTo>
                    <a:pt x="281" y="1325"/>
                  </a:lnTo>
                  <a:lnTo>
                    <a:pt x="287" y="1327"/>
                  </a:lnTo>
                  <a:lnTo>
                    <a:pt x="296" y="1330"/>
                  </a:lnTo>
                  <a:lnTo>
                    <a:pt x="306" y="1330"/>
                  </a:lnTo>
                  <a:lnTo>
                    <a:pt x="322" y="1333"/>
                  </a:lnTo>
                  <a:lnTo>
                    <a:pt x="336" y="1337"/>
                  </a:lnTo>
                  <a:lnTo>
                    <a:pt x="341" y="1338"/>
                  </a:lnTo>
                  <a:lnTo>
                    <a:pt x="345" y="1338"/>
                  </a:lnTo>
                  <a:lnTo>
                    <a:pt x="350" y="1335"/>
                  </a:lnTo>
                  <a:lnTo>
                    <a:pt x="354" y="1330"/>
                  </a:lnTo>
                  <a:lnTo>
                    <a:pt x="356" y="1322"/>
                  </a:lnTo>
                  <a:lnTo>
                    <a:pt x="357" y="1313"/>
                  </a:lnTo>
                  <a:lnTo>
                    <a:pt x="358" y="1303"/>
                  </a:lnTo>
                  <a:lnTo>
                    <a:pt x="362" y="1293"/>
                  </a:lnTo>
                  <a:lnTo>
                    <a:pt x="370" y="1271"/>
                  </a:lnTo>
                  <a:lnTo>
                    <a:pt x="381" y="1250"/>
                  </a:lnTo>
                  <a:lnTo>
                    <a:pt x="388" y="1239"/>
                  </a:lnTo>
                  <a:lnTo>
                    <a:pt x="394" y="1230"/>
                  </a:lnTo>
                  <a:lnTo>
                    <a:pt x="401" y="1221"/>
                  </a:lnTo>
                  <a:lnTo>
                    <a:pt x="408" y="1213"/>
                  </a:lnTo>
                  <a:lnTo>
                    <a:pt x="416" y="1206"/>
                  </a:lnTo>
                  <a:lnTo>
                    <a:pt x="424" y="1199"/>
                  </a:lnTo>
                  <a:lnTo>
                    <a:pt x="432" y="1195"/>
                  </a:lnTo>
                  <a:lnTo>
                    <a:pt x="440" y="1191"/>
                  </a:lnTo>
                  <a:lnTo>
                    <a:pt x="448" y="1190"/>
                  </a:lnTo>
                  <a:lnTo>
                    <a:pt x="457" y="1191"/>
                  </a:lnTo>
                  <a:lnTo>
                    <a:pt x="466" y="1193"/>
                  </a:lnTo>
                  <a:lnTo>
                    <a:pt x="474" y="1194"/>
                  </a:lnTo>
                  <a:lnTo>
                    <a:pt x="482" y="1194"/>
                  </a:lnTo>
                  <a:lnTo>
                    <a:pt x="490" y="1194"/>
                  </a:lnTo>
                  <a:lnTo>
                    <a:pt x="498" y="1191"/>
                  </a:lnTo>
                  <a:lnTo>
                    <a:pt x="505" y="1186"/>
                  </a:lnTo>
                  <a:lnTo>
                    <a:pt x="522" y="1158"/>
                  </a:lnTo>
                  <a:lnTo>
                    <a:pt x="540" y="1126"/>
                  </a:lnTo>
                  <a:lnTo>
                    <a:pt x="544" y="1119"/>
                  </a:lnTo>
                  <a:lnTo>
                    <a:pt x="549" y="1113"/>
                  </a:lnTo>
                  <a:lnTo>
                    <a:pt x="556" y="1106"/>
                  </a:lnTo>
                  <a:lnTo>
                    <a:pt x="562" y="1101"/>
                  </a:lnTo>
                  <a:lnTo>
                    <a:pt x="569" y="1095"/>
                  </a:lnTo>
                  <a:lnTo>
                    <a:pt x="577" y="1093"/>
                  </a:lnTo>
                  <a:lnTo>
                    <a:pt x="586" y="1090"/>
                  </a:lnTo>
                  <a:lnTo>
                    <a:pt x="596" y="1090"/>
                  </a:lnTo>
                  <a:lnTo>
                    <a:pt x="613" y="1091"/>
                  </a:lnTo>
                  <a:lnTo>
                    <a:pt x="628" y="1095"/>
                  </a:lnTo>
                  <a:lnTo>
                    <a:pt x="640" y="1099"/>
                  </a:lnTo>
                  <a:lnTo>
                    <a:pt x="650" y="1102"/>
                  </a:lnTo>
                  <a:lnTo>
                    <a:pt x="658" y="1101"/>
                  </a:lnTo>
                  <a:lnTo>
                    <a:pt x="666" y="1098"/>
                  </a:lnTo>
                  <a:lnTo>
                    <a:pt x="672" y="1093"/>
                  </a:lnTo>
                  <a:lnTo>
                    <a:pt x="674" y="1086"/>
                  </a:lnTo>
                  <a:lnTo>
                    <a:pt x="680" y="1071"/>
                  </a:lnTo>
                  <a:lnTo>
                    <a:pt x="682" y="1054"/>
                  </a:lnTo>
                  <a:lnTo>
                    <a:pt x="684" y="1045"/>
                  </a:lnTo>
                  <a:lnTo>
                    <a:pt x="686" y="1035"/>
                  </a:lnTo>
                  <a:lnTo>
                    <a:pt x="689" y="1027"/>
                  </a:lnTo>
                  <a:lnTo>
                    <a:pt x="693" y="1021"/>
                  </a:lnTo>
                  <a:lnTo>
                    <a:pt x="698" y="1014"/>
                  </a:lnTo>
                  <a:lnTo>
                    <a:pt x="706" y="1009"/>
                  </a:lnTo>
                  <a:lnTo>
                    <a:pt x="716" y="1006"/>
                  </a:lnTo>
                  <a:lnTo>
                    <a:pt x="728" y="1005"/>
                  </a:lnTo>
                  <a:lnTo>
                    <a:pt x="746" y="1003"/>
                  </a:lnTo>
                  <a:lnTo>
                    <a:pt x="766" y="999"/>
                  </a:lnTo>
                  <a:lnTo>
                    <a:pt x="776" y="997"/>
                  </a:lnTo>
                  <a:lnTo>
                    <a:pt x="785" y="993"/>
                  </a:lnTo>
                  <a:lnTo>
                    <a:pt x="794" y="989"/>
                  </a:lnTo>
                  <a:lnTo>
                    <a:pt x="804" y="983"/>
                  </a:lnTo>
                  <a:lnTo>
                    <a:pt x="812" y="978"/>
                  </a:lnTo>
                  <a:lnTo>
                    <a:pt x="820" y="971"/>
                  </a:lnTo>
                  <a:lnTo>
                    <a:pt x="826" y="965"/>
                  </a:lnTo>
                  <a:lnTo>
                    <a:pt x="832" y="957"/>
                  </a:lnTo>
                  <a:lnTo>
                    <a:pt x="836" y="949"/>
                  </a:lnTo>
                  <a:lnTo>
                    <a:pt x="840" y="941"/>
                  </a:lnTo>
                  <a:lnTo>
                    <a:pt x="842" y="932"/>
                  </a:lnTo>
                  <a:lnTo>
                    <a:pt x="842" y="921"/>
                  </a:lnTo>
                  <a:lnTo>
                    <a:pt x="841" y="913"/>
                  </a:lnTo>
                  <a:lnTo>
                    <a:pt x="838" y="905"/>
                  </a:lnTo>
                  <a:lnTo>
                    <a:pt x="834" y="898"/>
                  </a:lnTo>
                  <a:lnTo>
                    <a:pt x="830" y="892"/>
                  </a:lnTo>
                  <a:lnTo>
                    <a:pt x="826" y="886"/>
                  </a:lnTo>
                  <a:lnTo>
                    <a:pt x="822" y="880"/>
                  </a:lnTo>
                  <a:lnTo>
                    <a:pt x="820" y="873"/>
                  </a:lnTo>
                  <a:lnTo>
                    <a:pt x="818" y="866"/>
                  </a:lnTo>
                  <a:lnTo>
                    <a:pt x="818" y="861"/>
                  </a:lnTo>
                  <a:lnTo>
                    <a:pt x="820" y="857"/>
                  </a:lnTo>
                  <a:lnTo>
                    <a:pt x="822" y="852"/>
                  </a:lnTo>
                  <a:lnTo>
                    <a:pt x="824" y="848"/>
                  </a:lnTo>
                  <a:lnTo>
                    <a:pt x="830" y="838"/>
                  </a:lnTo>
                  <a:lnTo>
                    <a:pt x="837" y="830"/>
                  </a:lnTo>
                  <a:lnTo>
                    <a:pt x="844" y="822"/>
                  </a:lnTo>
                  <a:lnTo>
                    <a:pt x="849" y="814"/>
                  </a:lnTo>
                  <a:lnTo>
                    <a:pt x="852" y="810"/>
                  </a:lnTo>
                  <a:lnTo>
                    <a:pt x="853" y="805"/>
                  </a:lnTo>
                  <a:lnTo>
                    <a:pt x="854" y="800"/>
                  </a:lnTo>
                  <a:lnTo>
                    <a:pt x="854" y="794"/>
                  </a:lnTo>
                  <a:lnTo>
                    <a:pt x="854" y="788"/>
                  </a:lnTo>
                  <a:lnTo>
                    <a:pt x="853" y="781"/>
                  </a:lnTo>
                  <a:lnTo>
                    <a:pt x="852" y="774"/>
                  </a:lnTo>
                  <a:lnTo>
                    <a:pt x="849" y="769"/>
                  </a:lnTo>
                  <a:lnTo>
                    <a:pt x="844" y="758"/>
                  </a:lnTo>
                  <a:lnTo>
                    <a:pt x="837" y="748"/>
                  </a:lnTo>
                  <a:lnTo>
                    <a:pt x="830" y="736"/>
                  </a:lnTo>
                  <a:lnTo>
                    <a:pt x="824" y="722"/>
                  </a:lnTo>
                  <a:lnTo>
                    <a:pt x="822" y="714"/>
                  </a:lnTo>
                  <a:lnTo>
                    <a:pt x="820" y="706"/>
                  </a:lnTo>
                  <a:lnTo>
                    <a:pt x="818" y="697"/>
                  </a:lnTo>
                  <a:lnTo>
                    <a:pt x="818" y="686"/>
                  </a:lnTo>
                  <a:lnTo>
                    <a:pt x="820" y="676"/>
                  </a:lnTo>
                  <a:lnTo>
                    <a:pt x="822" y="666"/>
                  </a:lnTo>
                  <a:lnTo>
                    <a:pt x="828" y="658"/>
                  </a:lnTo>
                  <a:lnTo>
                    <a:pt x="833" y="652"/>
                  </a:lnTo>
                  <a:lnTo>
                    <a:pt x="841" y="646"/>
                  </a:lnTo>
                  <a:lnTo>
                    <a:pt x="849" y="641"/>
                  </a:lnTo>
                  <a:lnTo>
                    <a:pt x="858" y="637"/>
                  </a:lnTo>
                  <a:lnTo>
                    <a:pt x="868" y="633"/>
                  </a:lnTo>
                  <a:lnTo>
                    <a:pt x="889" y="628"/>
                  </a:lnTo>
                  <a:lnTo>
                    <a:pt x="910" y="622"/>
                  </a:lnTo>
                  <a:lnTo>
                    <a:pt x="920" y="618"/>
                  </a:lnTo>
                  <a:lnTo>
                    <a:pt x="929" y="616"/>
                  </a:lnTo>
                  <a:lnTo>
                    <a:pt x="937" y="612"/>
                  </a:lnTo>
                  <a:lnTo>
                    <a:pt x="945" y="608"/>
                  </a:lnTo>
                  <a:lnTo>
                    <a:pt x="962" y="594"/>
                  </a:lnTo>
                  <a:lnTo>
                    <a:pt x="976" y="578"/>
                  </a:lnTo>
                  <a:lnTo>
                    <a:pt x="989" y="562"/>
                  </a:lnTo>
                  <a:lnTo>
                    <a:pt x="1000" y="545"/>
                  </a:lnTo>
                  <a:lnTo>
                    <a:pt x="1021" y="506"/>
                  </a:lnTo>
                  <a:lnTo>
                    <a:pt x="1041" y="464"/>
                  </a:lnTo>
                  <a:lnTo>
                    <a:pt x="1057" y="438"/>
                  </a:lnTo>
                  <a:lnTo>
                    <a:pt x="1071" y="412"/>
                  </a:lnTo>
                  <a:lnTo>
                    <a:pt x="1086" y="384"/>
                  </a:lnTo>
                  <a:lnTo>
                    <a:pt x="1101" y="357"/>
                  </a:lnTo>
                  <a:lnTo>
                    <a:pt x="1114" y="328"/>
                  </a:lnTo>
                  <a:lnTo>
                    <a:pt x="1129" y="299"/>
                  </a:lnTo>
                  <a:lnTo>
                    <a:pt x="1142" y="271"/>
                  </a:lnTo>
                  <a:lnTo>
                    <a:pt x="1155" y="241"/>
                  </a:lnTo>
                  <a:lnTo>
                    <a:pt x="1162" y="229"/>
                  </a:lnTo>
                  <a:lnTo>
                    <a:pt x="1146" y="232"/>
                  </a:lnTo>
                  <a:lnTo>
                    <a:pt x="1131" y="235"/>
                  </a:lnTo>
                  <a:lnTo>
                    <a:pt x="1117" y="236"/>
                  </a:lnTo>
                  <a:lnTo>
                    <a:pt x="1103" y="237"/>
                  </a:lnTo>
                  <a:lnTo>
                    <a:pt x="1091" y="237"/>
                  </a:lnTo>
                  <a:lnTo>
                    <a:pt x="1079" y="236"/>
                  </a:lnTo>
                  <a:lnTo>
                    <a:pt x="1067" y="235"/>
                  </a:lnTo>
                  <a:lnTo>
                    <a:pt x="1055" y="232"/>
                  </a:lnTo>
                  <a:lnTo>
                    <a:pt x="1034" y="227"/>
                  </a:lnTo>
                  <a:lnTo>
                    <a:pt x="1014" y="219"/>
                  </a:lnTo>
                  <a:lnTo>
                    <a:pt x="996" y="209"/>
                  </a:lnTo>
                  <a:lnTo>
                    <a:pt x="978" y="200"/>
                  </a:lnTo>
                  <a:lnTo>
                    <a:pt x="944" y="179"/>
                  </a:lnTo>
                  <a:lnTo>
                    <a:pt x="909" y="159"/>
                  </a:lnTo>
                  <a:lnTo>
                    <a:pt x="892" y="151"/>
                  </a:lnTo>
                  <a:lnTo>
                    <a:pt x="873" y="144"/>
                  </a:lnTo>
                  <a:lnTo>
                    <a:pt x="862" y="141"/>
                  </a:lnTo>
                  <a:lnTo>
                    <a:pt x="852" y="140"/>
                  </a:lnTo>
                  <a:lnTo>
                    <a:pt x="841" y="139"/>
                  </a:lnTo>
                  <a:lnTo>
                    <a:pt x="830" y="139"/>
                  </a:lnTo>
                  <a:lnTo>
                    <a:pt x="820" y="140"/>
                  </a:lnTo>
                  <a:lnTo>
                    <a:pt x="812" y="143"/>
                  </a:lnTo>
                  <a:lnTo>
                    <a:pt x="804" y="145"/>
                  </a:lnTo>
                  <a:lnTo>
                    <a:pt x="797" y="151"/>
                  </a:lnTo>
                  <a:lnTo>
                    <a:pt x="789" y="155"/>
                  </a:lnTo>
                  <a:lnTo>
                    <a:pt x="781" y="159"/>
                  </a:lnTo>
                  <a:lnTo>
                    <a:pt x="770" y="161"/>
                  </a:lnTo>
                  <a:lnTo>
                    <a:pt x="758" y="163"/>
                  </a:lnTo>
                  <a:lnTo>
                    <a:pt x="713" y="161"/>
                  </a:lnTo>
                  <a:lnTo>
                    <a:pt x="672" y="160"/>
                  </a:lnTo>
                  <a:lnTo>
                    <a:pt x="632" y="157"/>
                  </a:lnTo>
                  <a:lnTo>
                    <a:pt x="589" y="156"/>
                  </a:lnTo>
                  <a:lnTo>
                    <a:pt x="589" y="16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7" name="Freeform 87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2198688" y="2468563"/>
              <a:ext cx="1458912" cy="722312"/>
            </a:xfrm>
            <a:custGeom>
              <a:avLst/>
              <a:gdLst/>
              <a:ahLst/>
              <a:cxnLst>
                <a:cxn ang="0">
                  <a:pos x="2060" y="828"/>
                </a:cxn>
                <a:cxn ang="0">
                  <a:pos x="2241" y="932"/>
                </a:cxn>
                <a:cxn ang="0">
                  <a:pos x="2988" y="1268"/>
                </a:cxn>
                <a:cxn ang="0">
                  <a:pos x="3324" y="1068"/>
                </a:cxn>
                <a:cxn ang="0">
                  <a:pos x="3344" y="942"/>
                </a:cxn>
                <a:cxn ang="0">
                  <a:pos x="3390" y="792"/>
                </a:cxn>
                <a:cxn ang="0">
                  <a:pos x="3088" y="563"/>
                </a:cxn>
                <a:cxn ang="0">
                  <a:pos x="3022" y="695"/>
                </a:cxn>
                <a:cxn ang="0">
                  <a:pos x="2917" y="782"/>
                </a:cxn>
                <a:cxn ang="0">
                  <a:pos x="2850" y="891"/>
                </a:cxn>
                <a:cxn ang="0">
                  <a:pos x="2840" y="788"/>
                </a:cxn>
                <a:cxn ang="0">
                  <a:pos x="2727" y="714"/>
                </a:cxn>
                <a:cxn ang="0">
                  <a:pos x="2460" y="690"/>
                </a:cxn>
                <a:cxn ang="0">
                  <a:pos x="2320" y="610"/>
                </a:cxn>
                <a:cxn ang="0">
                  <a:pos x="2473" y="506"/>
                </a:cxn>
                <a:cxn ang="0">
                  <a:pos x="2331" y="473"/>
                </a:cxn>
                <a:cxn ang="0">
                  <a:pos x="2139" y="481"/>
                </a:cxn>
                <a:cxn ang="0">
                  <a:pos x="1791" y="487"/>
                </a:cxn>
                <a:cxn ang="0">
                  <a:pos x="1559" y="533"/>
                </a:cxn>
                <a:cxn ang="0">
                  <a:pos x="1604" y="318"/>
                </a:cxn>
                <a:cxn ang="0">
                  <a:pos x="1776" y="325"/>
                </a:cxn>
                <a:cxn ang="0">
                  <a:pos x="1708" y="94"/>
                </a:cxn>
                <a:cxn ang="0">
                  <a:pos x="1607" y="141"/>
                </a:cxn>
                <a:cxn ang="0">
                  <a:pos x="1422" y="313"/>
                </a:cxn>
                <a:cxn ang="0">
                  <a:pos x="1432" y="443"/>
                </a:cxn>
                <a:cxn ang="0">
                  <a:pos x="1287" y="546"/>
                </a:cxn>
                <a:cxn ang="0">
                  <a:pos x="1245" y="485"/>
                </a:cxn>
                <a:cxn ang="0">
                  <a:pos x="1149" y="375"/>
                </a:cxn>
                <a:cxn ang="0">
                  <a:pos x="859" y="367"/>
                </a:cxn>
                <a:cxn ang="0">
                  <a:pos x="782" y="601"/>
                </a:cxn>
                <a:cxn ang="0">
                  <a:pos x="631" y="342"/>
                </a:cxn>
                <a:cxn ang="0">
                  <a:pos x="521" y="265"/>
                </a:cxn>
                <a:cxn ang="0">
                  <a:pos x="522" y="458"/>
                </a:cxn>
                <a:cxn ang="0">
                  <a:pos x="434" y="542"/>
                </a:cxn>
                <a:cxn ang="0">
                  <a:pos x="330" y="486"/>
                </a:cxn>
                <a:cxn ang="0">
                  <a:pos x="192" y="614"/>
                </a:cxn>
                <a:cxn ang="0">
                  <a:pos x="204" y="757"/>
                </a:cxn>
                <a:cxn ang="0">
                  <a:pos x="133" y="898"/>
                </a:cxn>
                <a:cxn ang="0">
                  <a:pos x="9" y="1222"/>
                </a:cxn>
                <a:cxn ang="0">
                  <a:pos x="106" y="1346"/>
                </a:cxn>
                <a:cxn ang="0">
                  <a:pos x="200" y="1415"/>
                </a:cxn>
                <a:cxn ang="0">
                  <a:pos x="342" y="1483"/>
                </a:cxn>
                <a:cxn ang="0">
                  <a:pos x="558" y="1608"/>
                </a:cxn>
                <a:cxn ang="0">
                  <a:pos x="669" y="1653"/>
                </a:cxn>
                <a:cxn ang="0">
                  <a:pos x="719" y="1709"/>
                </a:cxn>
                <a:cxn ang="0">
                  <a:pos x="807" y="1813"/>
                </a:cxn>
                <a:cxn ang="0">
                  <a:pos x="907" y="1880"/>
                </a:cxn>
                <a:cxn ang="0">
                  <a:pos x="995" y="1893"/>
                </a:cxn>
                <a:cxn ang="0">
                  <a:pos x="1114" y="1801"/>
                </a:cxn>
                <a:cxn ang="0">
                  <a:pos x="1255" y="1652"/>
                </a:cxn>
                <a:cxn ang="0">
                  <a:pos x="1211" y="1545"/>
                </a:cxn>
                <a:cxn ang="0">
                  <a:pos x="1082" y="1600"/>
                </a:cxn>
                <a:cxn ang="0">
                  <a:pos x="1081" y="1437"/>
                </a:cxn>
                <a:cxn ang="0">
                  <a:pos x="1155" y="1361"/>
                </a:cxn>
                <a:cxn ang="0">
                  <a:pos x="1167" y="1158"/>
                </a:cxn>
                <a:cxn ang="0">
                  <a:pos x="1221" y="1076"/>
                </a:cxn>
                <a:cxn ang="0">
                  <a:pos x="1440" y="1202"/>
                </a:cxn>
                <a:cxn ang="0">
                  <a:pos x="1536" y="1216"/>
                </a:cxn>
                <a:cxn ang="0">
                  <a:pos x="1639" y="1258"/>
                </a:cxn>
                <a:cxn ang="0">
                  <a:pos x="1602" y="1063"/>
                </a:cxn>
                <a:cxn ang="0">
                  <a:pos x="1688" y="886"/>
                </a:cxn>
              </a:cxnLst>
              <a:rect l="0" t="0" r="r" b="b"/>
              <a:pathLst>
                <a:path w="3402" h="1931">
                  <a:moveTo>
                    <a:pt x="1704" y="846"/>
                  </a:moveTo>
                  <a:lnTo>
                    <a:pt x="1714" y="850"/>
                  </a:lnTo>
                  <a:lnTo>
                    <a:pt x="1722" y="854"/>
                  </a:lnTo>
                  <a:lnTo>
                    <a:pt x="1731" y="855"/>
                  </a:lnTo>
                  <a:lnTo>
                    <a:pt x="1740" y="856"/>
                  </a:lnTo>
                  <a:lnTo>
                    <a:pt x="1760" y="858"/>
                  </a:lnTo>
                  <a:lnTo>
                    <a:pt x="1783" y="858"/>
                  </a:lnTo>
                  <a:lnTo>
                    <a:pt x="1824" y="858"/>
                  </a:lnTo>
                  <a:lnTo>
                    <a:pt x="1864" y="858"/>
                  </a:lnTo>
                  <a:lnTo>
                    <a:pt x="1902" y="856"/>
                  </a:lnTo>
                  <a:lnTo>
                    <a:pt x="1939" y="854"/>
                  </a:lnTo>
                  <a:lnTo>
                    <a:pt x="1975" y="850"/>
                  </a:lnTo>
                  <a:lnTo>
                    <a:pt x="2010" y="843"/>
                  </a:lnTo>
                  <a:lnTo>
                    <a:pt x="2027" y="839"/>
                  </a:lnTo>
                  <a:lnTo>
                    <a:pt x="2043" y="834"/>
                  </a:lnTo>
                  <a:lnTo>
                    <a:pt x="2060" y="828"/>
                  </a:lnTo>
                  <a:lnTo>
                    <a:pt x="2077" y="822"/>
                  </a:lnTo>
                  <a:lnTo>
                    <a:pt x="2085" y="820"/>
                  </a:lnTo>
                  <a:lnTo>
                    <a:pt x="2092" y="818"/>
                  </a:lnTo>
                  <a:lnTo>
                    <a:pt x="2100" y="818"/>
                  </a:lnTo>
                  <a:lnTo>
                    <a:pt x="2107" y="818"/>
                  </a:lnTo>
                  <a:lnTo>
                    <a:pt x="2113" y="819"/>
                  </a:lnTo>
                  <a:lnTo>
                    <a:pt x="2121" y="820"/>
                  </a:lnTo>
                  <a:lnTo>
                    <a:pt x="2127" y="823"/>
                  </a:lnTo>
                  <a:lnTo>
                    <a:pt x="2133" y="826"/>
                  </a:lnTo>
                  <a:lnTo>
                    <a:pt x="2147" y="832"/>
                  </a:lnTo>
                  <a:lnTo>
                    <a:pt x="2159" y="842"/>
                  </a:lnTo>
                  <a:lnTo>
                    <a:pt x="2171" y="852"/>
                  </a:lnTo>
                  <a:lnTo>
                    <a:pt x="2181" y="864"/>
                  </a:lnTo>
                  <a:lnTo>
                    <a:pt x="2205" y="892"/>
                  </a:lnTo>
                  <a:lnTo>
                    <a:pt x="2229" y="919"/>
                  </a:lnTo>
                  <a:lnTo>
                    <a:pt x="2241" y="932"/>
                  </a:lnTo>
                  <a:lnTo>
                    <a:pt x="2255" y="946"/>
                  </a:lnTo>
                  <a:lnTo>
                    <a:pt x="2268" y="956"/>
                  </a:lnTo>
                  <a:lnTo>
                    <a:pt x="2283" y="967"/>
                  </a:lnTo>
                  <a:lnTo>
                    <a:pt x="2351" y="1006"/>
                  </a:lnTo>
                  <a:lnTo>
                    <a:pt x="2437" y="1051"/>
                  </a:lnTo>
                  <a:lnTo>
                    <a:pt x="2535" y="1100"/>
                  </a:lnTo>
                  <a:lnTo>
                    <a:pt x="2635" y="1150"/>
                  </a:lnTo>
                  <a:lnTo>
                    <a:pt x="2729" y="1195"/>
                  </a:lnTo>
                  <a:lnTo>
                    <a:pt x="2812" y="1234"/>
                  </a:lnTo>
                  <a:lnTo>
                    <a:pt x="2872" y="1260"/>
                  </a:lnTo>
                  <a:lnTo>
                    <a:pt x="2902" y="1274"/>
                  </a:lnTo>
                  <a:lnTo>
                    <a:pt x="2921" y="1275"/>
                  </a:lnTo>
                  <a:lnTo>
                    <a:pt x="2938" y="1275"/>
                  </a:lnTo>
                  <a:lnTo>
                    <a:pt x="2954" y="1274"/>
                  </a:lnTo>
                  <a:lnTo>
                    <a:pt x="2972" y="1272"/>
                  </a:lnTo>
                  <a:lnTo>
                    <a:pt x="2988" y="1268"/>
                  </a:lnTo>
                  <a:lnTo>
                    <a:pt x="3002" y="1263"/>
                  </a:lnTo>
                  <a:lnTo>
                    <a:pt x="3017" y="1258"/>
                  </a:lnTo>
                  <a:lnTo>
                    <a:pt x="3032" y="1251"/>
                  </a:lnTo>
                  <a:lnTo>
                    <a:pt x="3060" y="1235"/>
                  </a:lnTo>
                  <a:lnTo>
                    <a:pt x="3086" y="1218"/>
                  </a:lnTo>
                  <a:lnTo>
                    <a:pt x="3112" y="1198"/>
                  </a:lnTo>
                  <a:lnTo>
                    <a:pt x="3138" y="1178"/>
                  </a:lnTo>
                  <a:lnTo>
                    <a:pt x="3164" y="1156"/>
                  </a:lnTo>
                  <a:lnTo>
                    <a:pt x="3190" y="1136"/>
                  </a:lnTo>
                  <a:lnTo>
                    <a:pt x="3217" y="1116"/>
                  </a:lnTo>
                  <a:lnTo>
                    <a:pt x="3245" y="1099"/>
                  </a:lnTo>
                  <a:lnTo>
                    <a:pt x="3260" y="1091"/>
                  </a:lnTo>
                  <a:lnTo>
                    <a:pt x="3276" y="1084"/>
                  </a:lnTo>
                  <a:lnTo>
                    <a:pt x="3290" y="1079"/>
                  </a:lnTo>
                  <a:lnTo>
                    <a:pt x="3306" y="1074"/>
                  </a:lnTo>
                  <a:lnTo>
                    <a:pt x="3324" y="1068"/>
                  </a:lnTo>
                  <a:lnTo>
                    <a:pt x="3341" y="1066"/>
                  </a:lnTo>
                  <a:lnTo>
                    <a:pt x="3360" y="1064"/>
                  </a:lnTo>
                  <a:lnTo>
                    <a:pt x="3378" y="1063"/>
                  </a:lnTo>
                  <a:lnTo>
                    <a:pt x="3372" y="1075"/>
                  </a:lnTo>
                  <a:lnTo>
                    <a:pt x="3377" y="1066"/>
                  </a:lnTo>
                  <a:lnTo>
                    <a:pt x="3380" y="1056"/>
                  </a:lnTo>
                  <a:lnTo>
                    <a:pt x="3384" y="1046"/>
                  </a:lnTo>
                  <a:lnTo>
                    <a:pt x="3384" y="1032"/>
                  </a:lnTo>
                  <a:lnTo>
                    <a:pt x="3384" y="1023"/>
                  </a:lnTo>
                  <a:lnTo>
                    <a:pt x="3382" y="1014"/>
                  </a:lnTo>
                  <a:lnTo>
                    <a:pt x="3380" y="1006"/>
                  </a:lnTo>
                  <a:lnTo>
                    <a:pt x="3377" y="998"/>
                  </a:lnTo>
                  <a:lnTo>
                    <a:pt x="3369" y="982"/>
                  </a:lnTo>
                  <a:lnTo>
                    <a:pt x="3360" y="968"/>
                  </a:lnTo>
                  <a:lnTo>
                    <a:pt x="3352" y="955"/>
                  </a:lnTo>
                  <a:lnTo>
                    <a:pt x="3344" y="942"/>
                  </a:lnTo>
                  <a:lnTo>
                    <a:pt x="3341" y="935"/>
                  </a:lnTo>
                  <a:lnTo>
                    <a:pt x="3338" y="927"/>
                  </a:lnTo>
                  <a:lnTo>
                    <a:pt x="3337" y="920"/>
                  </a:lnTo>
                  <a:lnTo>
                    <a:pt x="3336" y="912"/>
                  </a:lnTo>
                  <a:lnTo>
                    <a:pt x="3337" y="904"/>
                  </a:lnTo>
                  <a:lnTo>
                    <a:pt x="3338" y="898"/>
                  </a:lnTo>
                  <a:lnTo>
                    <a:pt x="3341" y="891"/>
                  </a:lnTo>
                  <a:lnTo>
                    <a:pt x="3344" y="884"/>
                  </a:lnTo>
                  <a:lnTo>
                    <a:pt x="3352" y="872"/>
                  </a:lnTo>
                  <a:lnTo>
                    <a:pt x="3362" y="862"/>
                  </a:lnTo>
                  <a:lnTo>
                    <a:pt x="3373" y="851"/>
                  </a:lnTo>
                  <a:lnTo>
                    <a:pt x="3384" y="840"/>
                  </a:lnTo>
                  <a:lnTo>
                    <a:pt x="3394" y="828"/>
                  </a:lnTo>
                  <a:lnTo>
                    <a:pt x="3402" y="816"/>
                  </a:lnTo>
                  <a:lnTo>
                    <a:pt x="3397" y="806"/>
                  </a:lnTo>
                  <a:lnTo>
                    <a:pt x="3390" y="792"/>
                  </a:lnTo>
                  <a:lnTo>
                    <a:pt x="3384" y="779"/>
                  </a:lnTo>
                  <a:lnTo>
                    <a:pt x="3378" y="769"/>
                  </a:lnTo>
                  <a:lnTo>
                    <a:pt x="3366" y="753"/>
                  </a:lnTo>
                  <a:lnTo>
                    <a:pt x="3353" y="739"/>
                  </a:lnTo>
                  <a:lnTo>
                    <a:pt x="3338" y="726"/>
                  </a:lnTo>
                  <a:lnTo>
                    <a:pt x="3322" y="713"/>
                  </a:lnTo>
                  <a:lnTo>
                    <a:pt x="3286" y="690"/>
                  </a:lnTo>
                  <a:lnTo>
                    <a:pt x="3248" y="669"/>
                  </a:lnTo>
                  <a:lnTo>
                    <a:pt x="3208" y="646"/>
                  </a:lnTo>
                  <a:lnTo>
                    <a:pt x="3170" y="622"/>
                  </a:lnTo>
                  <a:lnTo>
                    <a:pt x="3152" y="609"/>
                  </a:lnTo>
                  <a:lnTo>
                    <a:pt x="3136" y="594"/>
                  </a:lnTo>
                  <a:lnTo>
                    <a:pt x="3121" y="579"/>
                  </a:lnTo>
                  <a:lnTo>
                    <a:pt x="3106" y="563"/>
                  </a:lnTo>
                  <a:lnTo>
                    <a:pt x="3102" y="563"/>
                  </a:lnTo>
                  <a:lnTo>
                    <a:pt x="3088" y="563"/>
                  </a:lnTo>
                  <a:lnTo>
                    <a:pt x="3077" y="565"/>
                  </a:lnTo>
                  <a:lnTo>
                    <a:pt x="3064" y="569"/>
                  </a:lnTo>
                  <a:lnTo>
                    <a:pt x="3048" y="574"/>
                  </a:lnTo>
                  <a:lnTo>
                    <a:pt x="3029" y="582"/>
                  </a:lnTo>
                  <a:lnTo>
                    <a:pt x="3022" y="585"/>
                  </a:lnTo>
                  <a:lnTo>
                    <a:pt x="3018" y="590"/>
                  </a:lnTo>
                  <a:lnTo>
                    <a:pt x="3016" y="595"/>
                  </a:lnTo>
                  <a:lnTo>
                    <a:pt x="3016" y="602"/>
                  </a:lnTo>
                  <a:lnTo>
                    <a:pt x="3016" y="617"/>
                  </a:lnTo>
                  <a:lnTo>
                    <a:pt x="3018" y="631"/>
                  </a:lnTo>
                  <a:lnTo>
                    <a:pt x="3022" y="649"/>
                  </a:lnTo>
                  <a:lnTo>
                    <a:pt x="3026" y="665"/>
                  </a:lnTo>
                  <a:lnTo>
                    <a:pt x="3026" y="674"/>
                  </a:lnTo>
                  <a:lnTo>
                    <a:pt x="3026" y="682"/>
                  </a:lnTo>
                  <a:lnTo>
                    <a:pt x="3025" y="689"/>
                  </a:lnTo>
                  <a:lnTo>
                    <a:pt x="3022" y="695"/>
                  </a:lnTo>
                  <a:lnTo>
                    <a:pt x="3028" y="729"/>
                  </a:lnTo>
                  <a:lnTo>
                    <a:pt x="3029" y="754"/>
                  </a:lnTo>
                  <a:lnTo>
                    <a:pt x="3029" y="763"/>
                  </a:lnTo>
                  <a:lnTo>
                    <a:pt x="3028" y="772"/>
                  </a:lnTo>
                  <a:lnTo>
                    <a:pt x="3026" y="779"/>
                  </a:lnTo>
                  <a:lnTo>
                    <a:pt x="3024" y="786"/>
                  </a:lnTo>
                  <a:lnTo>
                    <a:pt x="3020" y="790"/>
                  </a:lnTo>
                  <a:lnTo>
                    <a:pt x="3017" y="794"/>
                  </a:lnTo>
                  <a:lnTo>
                    <a:pt x="3013" y="796"/>
                  </a:lnTo>
                  <a:lnTo>
                    <a:pt x="3009" y="798"/>
                  </a:lnTo>
                  <a:lnTo>
                    <a:pt x="2998" y="799"/>
                  </a:lnTo>
                  <a:lnTo>
                    <a:pt x="2988" y="798"/>
                  </a:lnTo>
                  <a:lnTo>
                    <a:pt x="2964" y="791"/>
                  </a:lnTo>
                  <a:lnTo>
                    <a:pt x="2938" y="783"/>
                  </a:lnTo>
                  <a:lnTo>
                    <a:pt x="2928" y="782"/>
                  </a:lnTo>
                  <a:lnTo>
                    <a:pt x="2917" y="782"/>
                  </a:lnTo>
                  <a:lnTo>
                    <a:pt x="2913" y="783"/>
                  </a:lnTo>
                  <a:lnTo>
                    <a:pt x="2909" y="786"/>
                  </a:lnTo>
                  <a:lnTo>
                    <a:pt x="2905" y="788"/>
                  </a:lnTo>
                  <a:lnTo>
                    <a:pt x="2902" y="792"/>
                  </a:lnTo>
                  <a:lnTo>
                    <a:pt x="2904" y="800"/>
                  </a:lnTo>
                  <a:lnTo>
                    <a:pt x="2905" y="807"/>
                  </a:lnTo>
                  <a:lnTo>
                    <a:pt x="2905" y="815"/>
                  </a:lnTo>
                  <a:lnTo>
                    <a:pt x="2905" y="823"/>
                  </a:lnTo>
                  <a:lnTo>
                    <a:pt x="2902" y="836"/>
                  </a:lnTo>
                  <a:lnTo>
                    <a:pt x="2898" y="850"/>
                  </a:lnTo>
                  <a:lnTo>
                    <a:pt x="2892" y="862"/>
                  </a:lnTo>
                  <a:lnTo>
                    <a:pt x="2885" y="872"/>
                  </a:lnTo>
                  <a:lnTo>
                    <a:pt x="2877" y="880"/>
                  </a:lnTo>
                  <a:lnTo>
                    <a:pt x="2868" y="886"/>
                  </a:lnTo>
                  <a:lnTo>
                    <a:pt x="2858" y="890"/>
                  </a:lnTo>
                  <a:lnTo>
                    <a:pt x="2850" y="891"/>
                  </a:lnTo>
                  <a:lnTo>
                    <a:pt x="2845" y="890"/>
                  </a:lnTo>
                  <a:lnTo>
                    <a:pt x="2841" y="888"/>
                  </a:lnTo>
                  <a:lnTo>
                    <a:pt x="2838" y="886"/>
                  </a:lnTo>
                  <a:lnTo>
                    <a:pt x="2834" y="883"/>
                  </a:lnTo>
                  <a:lnTo>
                    <a:pt x="2832" y="879"/>
                  </a:lnTo>
                  <a:lnTo>
                    <a:pt x="2829" y="874"/>
                  </a:lnTo>
                  <a:lnTo>
                    <a:pt x="2826" y="867"/>
                  </a:lnTo>
                  <a:lnTo>
                    <a:pt x="2825" y="860"/>
                  </a:lnTo>
                  <a:lnTo>
                    <a:pt x="2824" y="852"/>
                  </a:lnTo>
                  <a:lnTo>
                    <a:pt x="2824" y="843"/>
                  </a:lnTo>
                  <a:lnTo>
                    <a:pt x="2824" y="834"/>
                  </a:lnTo>
                  <a:lnTo>
                    <a:pt x="2824" y="822"/>
                  </a:lnTo>
                  <a:lnTo>
                    <a:pt x="2825" y="811"/>
                  </a:lnTo>
                  <a:lnTo>
                    <a:pt x="2829" y="803"/>
                  </a:lnTo>
                  <a:lnTo>
                    <a:pt x="2833" y="795"/>
                  </a:lnTo>
                  <a:lnTo>
                    <a:pt x="2840" y="788"/>
                  </a:lnTo>
                  <a:lnTo>
                    <a:pt x="2856" y="775"/>
                  </a:lnTo>
                  <a:lnTo>
                    <a:pt x="2872" y="765"/>
                  </a:lnTo>
                  <a:lnTo>
                    <a:pt x="2878" y="758"/>
                  </a:lnTo>
                  <a:lnTo>
                    <a:pt x="2885" y="751"/>
                  </a:lnTo>
                  <a:lnTo>
                    <a:pt x="2889" y="743"/>
                  </a:lnTo>
                  <a:lnTo>
                    <a:pt x="2893" y="735"/>
                  </a:lnTo>
                  <a:lnTo>
                    <a:pt x="2893" y="725"/>
                  </a:lnTo>
                  <a:lnTo>
                    <a:pt x="2892" y="713"/>
                  </a:lnTo>
                  <a:lnTo>
                    <a:pt x="2886" y="699"/>
                  </a:lnTo>
                  <a:lnTo>
                    <a:pt x="2878" y="683"/>
                  </a:lnTo>
                  <a:lnTo>
                    <a:pt x="2846" y="693"/>
                  </a:lnTo>
                  <a:lnTo>
                    <a:pt x="2817" y="699"/>
                  </a:lnTo>
                  <a:lnTo>
                    <a:pt x="2791" y="705"/>
                  </a:lnTo>
                  <a:lnTo>
                    <a:pt x="2768" y="710"/>
                  </a:lnTo>
                  <a:lnTo>
                    <a:pt x="2745" y="713"/>
                  </a:lnTo>
                  <a:lnTo>
                    <a:pt x="2727" y="714"/>
                  </a:lnTo>
                  <a:lnTo>
                    <a:pt x="2708" y="714"/>
                  </a:lnTo>
                  <a:lnTo>
                    <a:pt x="2691" y="711"/>
                  </a:lnTo>
                  <a:lnTo>
                    <a:pt x="2675" y="709"/>
                  </a:lnTo>
                  <a:lnTo>
                    <a:pt x="2659" y="703"/>
                  </a:lnTo>
                  <a:lnTo>
                    <a:pt x="2643" y="697"/>
                  </a:lnTo>
                  <a:lnTo>
                    <a:pt x="2627" y="689"/>
                  </a:lnTo>
                  <a:lnTo>
                    <a:pt x="2611" y="678"/>
                  </a:lnTo>
                  <a:lnTo>
                    <a:pt x="2592" y="666"/>
                  </a:lnTo>
                  <a:lnTo>
                    <a:pt x="2573" y="651"/>
                  </a:lnTo>
                  <a:lnTo>
                    <a:pt x="2553" y="635"/>
                  </a:lnTo>
                  <a:lnTo>
                    <a:pt x="2531" y="653"/>
                  </a:lnTo>
                  <a:lnTo>
                    <a:pt x="2511" y="666"/>
                  </a:lnTo>
                  <a:lnTo>
                    <a:pt x="2495" y="677"/>
                  </a:lnTo>
                  <a:lnTo>
                    <a:pt x="2480" y="683"/>
                  </a:lnTo>
                  <a:lnTo>
                    <a:pt x="2469" y="687"/>
                  </a:lnTo>
                  <a:lnTo>
                    <a:pt x="2460" y="690"/>
                  </a:lnTo>
                  <a:lnTo>
                    <a:pt x="2453" y="690"/>
                  </a:lnTo>
                  <a:lnTo>
                    <a:pt x="2448" y="687"/>
                  </a:lnTo>
                  <a:lnTo>
                    <a:pt x="2443" y="685"/>
                  </a:lnTo>
                  <a:lnTo>
                    <a:pt x="2439" y="681"/>
                  </a:lnTo>
                  <a:lnTo>
                    <a:pt x="2436" y="675"/>
                  </a:lnTo>
                  <a:lnTo>
                    <a:pt x="2433" y="670"/>
                  </a:lnTo>
                  <a:lnTo>
                    <a:pt x="2429" y="665"/>
                  </a:lnTo>
                  <a:lnTo>
                    <a:pt x="2425" y="661"/>
                  </a:lnTo>
                  <a:lnTo>
                    <a:pt x="2420" y="657"/>
                  </a:lnTo>
                  <a:lnTo>
                    <a:pt x="2415" y="654"/>
                  </a:lnTo>
                  <a:lnTo>
                    <a:pt x="2381" y="642"/>
                  </a:lnTo>
                  <a:lnTo>
                    <a:pt x="2353" y="631"/>
                  </a:lnTo>
                  <a:lnTo>
                    <a:pt x="2341" y="626"/>
                  </a:lnTo>
                  <a:lnTo>
                    <a:pt x="2332" y="621"/>
                  </a:lnTo>
                  <a:lnTo>
                    <a:pt x="2325" y="615"/>
                  </a:lnTo>
                  <a:lnTo>
                    <a:pt x="2320" y="610"/>
                  </a:lnTo>
                  <a:lnTo>
                    <a:pt x="2319" y="605"/>
                  </a:lnTo>
                  <a:lnTo>
                    <a:pt x="2319" y="601"/>
                  </a:lnTo>
                  <a:lnTo>
                    <a:pt x="2321" y="595"/>
                  </a:lnTo>
                  <a:lnTo>
                    <a:pt x="2327" y="591"/>
                  </a:lnTo>
                  <a:lnTo>
                    <a:pt x="2336" y="587"/>
                  </a:lnTo>
                  <a:lnTo>
                    <a:pt x="2349" y="583"/>
                  </a:lnTo>
                  <a:lnTo>
                    <a:pt x="2365" y="579"/>
                  </a:lnTo>
                  <a:lnTo>
                    <a:pt x="2384" y="575"/>
                  </a:lnTo>
                  <a:lnTo>
                    <a:pt x="2384" y="570"/>
                  </a:lnTo>
                  <a:lnTo>
                    <a:pt x="2385" y="563"/>
                  </a:lnTo>
                  <a:lnTo>
                    <a:pt x="2387" y="558"/>
                  </a:lnTo>
                  <a:lnTo>
                    <a:pt x="2391" y="553"/>
                  </a:lnTo>
                  <a:lnTo>
                    <a:pt x="2400" y="543"/>
                  </a:lnTo>
                  <a:lnTo>
                    <a:pt x="2413" y="534"/>
                  </a:lnTo>
                  <a:lnTo>
                    <a:pt x="2443" y="518"/>
                  </a:lnTo>
                  <a:lnTo>
                    <a:pt x="2473" y="506"/>
                  </a:lnTo>
                  <a:lnTo>
                    <a:pt x="2485" y="501"/>
                  </a:lnTo>
                  <a:lnTo>
                    <a:pt x="2495" y="495"/>
                  </a:lnTo>
                  <a:lnTo>
                    <a:pt x="2497" y="494"/>
                  </a:lnTo>
                  <a:lnTo>
                    <a:pt x="2500" y="491"/>
                  </a:lnTo>
                  <a:lnTo>
                    <a:pt x="2500" y="489"/>
                  </a:lnTo>
                  <a:lnTo>
                    <a:pt x="2500" y="487"/>
                  </a:lnTo>
                  <a:lnTo>
                    <a:pt x="2497" y="486"/>
                  </a:lnTo>
                  <a:lnTo>
                    <a:pt x="2493" y="483"/>
                  </a:lnTo>
                  <a:lnTo>
                    <a:pt x="2488" y="482"/>
                  </a:lnTo>
                  <a:lnTo>
                    <a:pt x="2480" y="479"/>
                  </a:lnTo>
                  <a:lnTo>
                    <a:pt x="2457" y="477"/>
                  </a:lnTo>
                  <a:lnTo>
                    <a:pt x="2427" y="473"/>
                  </a:lnTo>
                  <a:lnTo>
                    <a:pt x="2400" y="473"/>
                  </a:lnTo>
                  <a:lnTo>
                    <a:pt x="2376" y="473"/>
                  </a:lnTo>
                  <a:lnTo>
                    <a:pt x="2353" y="473"/>
                  </a:lnTo>
                  <a:lnTo>
                    <a:pt x="2331" y="473"/>
                  </a:lnTo>
                  <a:lnTo>
                    <a:pt x="2320" y="495"/>
                  </a:lnTo>
                  <a:lnTo>
                    <a:pt x="2309" y="515"/>
                  </a:lnTo>
                  <a:lnTo>
                    <a:pt x="2303" y="523"/>
                  </a:lnTo>
                  <a:lnTo>
                    <a:pt x="2297" y="531"/>
                  </a:lnTo>
                  <a:lnTo>
                    <a:pt x="2291" y="537"/>
                  </a:lnTo>
                  <a:lnTo>
                    <a:pt x="2284" y="541"/>
                  </a:lnTo>
                  <a:lnTo>
                    <a:pt x="2277" y="542"/>
                  </a:lnTo>
                  <a:lnTo>
                    <a:pt x="2269" y="542"/>
                  </a:lnTo>
                  <a:lnTo>
                    <a:pt x="2263" y="538"/>
                  </a:lnTo>
                  <a:lnTo>
                    <a:pt x="2256" y="533"/>
                  </a:lnTo>
                  <a:lnTo>
                    <a:pt x="2248" y="523"/>
                  </a:lnTo>
                  <a:lnTo>
                    <a:pt x="2241" y="510"/>
                  </a:lnTo>
                  <a:lnTo>
                    <a:pt x="2235" y="494"/>
                  </a:lnTo>
                  <a:lnTo>
                    <a:pt x="2228" y="473"/>
                  </a:lnTo>
                  <a:lnTo>
                    <a:pt x="2191" y="478"/>
                  </a:lnTo>
                  <a:lnTo>
                    <a:pt x="2139" y="481"/>
                  </a:lnTo>
                  <a:lnTo>
                    <a:pt x="2085" y="485"/>
                  </a:lnTo>
                  <a:lnTo>
                    <a:pt x="2042" y="485"/>
                  </a:lnTo>
                  <a:lnTo>
                    <a:pt x="2010" y="485"/>
                  </a:lnTo>
                  <a:lnTo>
                    <a:pt x="1982" y="482"/>
                  </a:lnTo>
                  <a:lnTo>
                    <a:pt x="1955" y="479"/>
                  </a:lnTo>
                  <a:lnTo>
                    <a:pt x="1931" y="475"/>
                  </a:lnTo>
                  <a:lnTo>
                    <a:pt x="1910" y="473"/>
                  </a:lnTo>
                  <a:lnTo>
                    <a:pt x="1888" y="470"/>
                  </a:lnTo>
                  <a:lnTo>
                    <a:pt x="1868" y="470"/>
                  </a:lnTo>
                  <a:lnTo>
                    <a:pt x="1848" y="470"/>
                  </a:lnTo>
                  <a:lnTo>
                    <a:pt x="1839" y="471"/>
                  </a:lnTo>
                  <a:lnTo>
                    <a:pt x="1830" y="473"/>
                  </a:lnTo>
                  <a:lnTo>
                    <a:pt x="1820" y="475"/>
                  </a:lnTo>
                  <a:lnTo>
                    <a:pt x="1810" y="478"/>
                  </a:lnTo>
                  <a:lnTo>
                    <a:pt x="1800" y="482"/>
                  </a:lnTo>
                  <a:lnTo>
                    <a:pt x="1791" y="487"/>
                  </a:lnTo>
                  <a:lnTo>
                    <a:pt x="1780" y="494"/>
                  </a:lnTo>
                  <a:lnTo>
                    <a:pt x="1770" y="501"/>
                  </a:lnTo>
                  <a:lnTo>
                    <a:pt x="1748" y="518"/>
                  </a:lnTo>
                  <a:lnTo>
                    <a:pt x="1726" y="539"/>
                  </a:lnTo>
                  <a:lnTo>
                    <a:pt x="1700" y="566"/>
                  </a:lnTo>
                  <a:lnTo>
                    <a:pt x="1674" y="599"/>
                  </a:lnTo>
                  <a:lnTo>
                    <a:pt x="1668" y="606"/>
                  </a:lnTo>
                  <a:lnTo>
                    <a:pt x="1662" y="610"/>
                  </a:lnTo>
                  <a:lnTo>
                    <a:pt x="1656" y="611"/>
                  </a:lnTo>
                  <a:lnTo>
                    <a:pt x="1650" y="611"/>
                  </a:lnTo>
                  <a:lnTo>
                    <a:pt x="1643" y="609"/>
                  </a:lnTo>
                  <a:lnTo>
                    <a:pt x="1635" y="605"/>
                  </a:lnTo>
                  <a:lnTo>
                    <a:pt x="1628" y="599"/>
                  </a:lnTo>
                  <a:lnTo>
                    <a:pt x="1622" y="594"/>
                  </a:lnTo>
                  <a:lnTo>
                    <a:pt x="1591" y="562"/>
                  </a:lnTo>
                  <a:lnTo>
                    <a:pt x="1559" y="533"/>
                  </a:lnTo>
                  <a:lnTo>
                    <a:pt x="1562" y="518"/>
                  </a:lnTo>
                  <a:lnTo>
                    <a:pt x="1563" y="503"/>
                  </a:lnTo>
                  <a:lnTo>
                    <a:pt x="1564" y="489"/>
                  </a:lnTo>
                  <a:lnTo>
                    <a:pt x="1563" y="473"/>
                  </a:lnTo>
                  <a:lnTo>
                    <a:pt x="1560" y="443"/>
                  </a:lnTo>
                  <a:lnTo>
                    <a:pt x="1554" y="417"/>
                  </a:lnTo>
                  <a:lnTo>
                    <a:pt x="1542" y="375"/>
                  </a:lnTo>
                  <a:lnTo>
                    <a:pt x="1535" y="358"/>
                  </a:lnTo>
                  <a:lnTo>
                    <a:pt x="1543" y="355"/>
                  </a:lnTo>
                  <a:lnTo>
                    <a:pt x="1551" y="351"/>
                  </a:lnTo>
                  <a:lnTo>
                    <a:pt x="1556" y="347"/>
                  </a:lnTo>
                  <a:lnTo>
                    <a:pt x="1562" y="342"/>
                  </a:lnTo>
                  <a:lnTo>
                    <a:pt x="1572" y="331"/>
                  </a:lnTo>
                  <a:lnTo>
                    <a:pt x="1586" y="323"/>
                  </a:lnTo>
                  <a:lnTo>
                    <a:pt x="1594" y="319"/>
                  </a:lnTo>
                  <a:lnTo>
                    <a:pt x="1604" y="318"/>
                  </a:lnTo>
                  <a:lnTo>
                    <a:pt x="1616" y="318"/>
                  </a:lnTo>
                  <a:lnTo>
                    <a:pt x="1631" y="319"/>
                  </a:lnTo>
                  <a:lnTo>
                    <a:pt x="1648" y="322"/>
                  </a:lnTo>
                  <a:lnTo>
                    <a:pt x="1670" y="327"/>
                  </a:lnTo>
                  <a:lnTo>
                    <a:pt x="1694" y="335"/>
                  </a:lnTo>
                  <a:lnTo>
                    <a:pt x="1722" y="346"/>
                  </a:lnTo>
                  <a:lnTo>
                    <a:pt x="1730" y="349"/>
                  </a:lnTo>
                  <a:lnTo>
                    <a:pt x="1738" y="350"/>
                  </a:lnTo>
                  <a:lnTo>
                    <a:pt x="1744" y="350"/>
                  </a:lnTo>
                  <a:lnTo>
                    <a:pt x="1751" y="349"/>
                  </a:lnTo>
                  <a:lnTo>
                    <a:pt x="1756" y="347"/>
                  </a:lnTo>
                  <a:lnTo>
                    <a:pt x="1762" y="343"/>
                  </a:lnTo>
                  <a:lnTo>
                    <a:pt x="1766" y="341"/>
                  </a:lnTo>
                  <a:lnTo>
                    <a:pt x="1770" y="335"/>
                  </a:lnTo>
                  <a:lnTo>
                    <a:pt x="1774" y="330"/>
                  </a:lnTo>
                  <a:lnTo>
                    <a:pt x="1776" y="325"/>
                  </a:lnTo>
                  <a:lnTo>
                    <a:pt x="1779" y="318"/>
                  </a:lnTo>
                  <a:lnTo>
                    <a:pt x="1782" y="311"/>
                  </a:lnTo>
                  <a:lnTo>
                    <a:pt x="1784" y="295"/>
                  </a:lnTo>
                  <a:lnTo>
                    <a:pt x="1786" y="278"/>
                  </a:lnTo>
                  <a:lnTo>
                    <a:pt x="1786" y="259"/>
                  </a:lnTo>
                  <a:lnTo>
                    <a:pt x="1786" y="241"/>
                  </a:lnTo>
                  <a:lnTo>
                    <a:pt x="1783" y="222"/>
                  </a:lnTo>
                  <a:lnTo>
                    <a:pt x="1780" y="203"/>
                  </a:lnTo>
                  <a:lnTo>
                    <a:pt x="1778" y="186"/>
                  </a:lnTo>
                  <a:lnTo>
                    <a:pt x="1774" y="169"/>
                  </a:lnTo>
                  <a:lnTo>
                    <a:pt x="1768" y="154"/>
                  </a:lnTo>
                  <a:lnTo>
                    <a:pt x="1764" y="142"/>
                  </a:lnTo>
                  <a:lnTo>
                    <a:pt x="1750" y="132"/>
                  </a:lnTo>
                  <a:lnTo>
                    <a:pt x="1735" y="121"/>
                  </a:lnTo>
                  <a:lnTo>
                    <a:pt x="1722" y="108"/>
                  </a:lnTo>
                  <a:lnTo>
                    <a:pt x="1708" y="94"/>
                  </a:lnTo>
                  <a:lnTo>
                    <a:pt x="1684" y="66"/>
                  </a:lnTo>
                  <a:lnTo>
                    <a:pt x="1663" y="40"/>
                  </a:lnTo>
                  <a:lnTo>
                    <a:pt x="1644" y="17"/>
                  </a:lnTo>
                  <a:lnTo>
                    <a:pt x="1631" y="4"/>
                  </a:lnTo>
                  <a:lnTo>
                    <a:pt x="1626" y="0"/>
                  </a:lnTo>
                  <a:lnTo>
                    <a:pt x="1623" y="0"/>
                  </a:lnTo>
                  <a:lnTo>
                    <a:pt x="1620" y="2"/>
                  </a:lnTo>
                  <a:lnTo>
                    <a:pt x="1620" y="9"/>
                  </a:lnTo>
                  <a:lnTo>
                    <a:pt x="1620" y="44"/>
                  </a:lnTo>
                  <a:lnTo>
                    <a:pt x="1622" y="72"/>
                  </a:lnTo>
                  <a:lnTo>
                    <a:pt x="1623" y="85"/>
                  </a:lnTo>
                  <a:lnTo>
                    <a:pt x="1623" y="97"/>
                  </a:lnTo>
                  <a:lnTo>
                    <a:pt x="1622" y="108"/>
                  </a:lnTo>
                  <a:lnTo>
                    <a:pt x="1619" y="118"/>
                  </a:lnTo>
                  <a:lnTo>
                    <a:pt x="1614" y="130"/>
                  </a:lnTo>
                  <a:lnTo>
                    <a:pt x="1607" y="141"/>
                  </a:lnTo>
                  <a:lnTo>
                    <a:pt x="1596" y="153"/>
                  </a:lnTo>
                  <a:lnTo>
                    <a:pt x="1583" y="166"/>
                  </a:lnTo>
                  <a:lnTo>
                    <a:pt x="1566" y="180"/>
                  </a:lnTo>
                  <a:lnTo>
                    <a:pt x="1544" y="195"/>
                  </a:lnTo>
                  <a:lnTo>
                    <a:pt x="1519" y="213"/>
                  </a:lnTo>
                  <a:lnTo>
                    <a:pt x="1487" y="233"/>
                  </a:lnTo>
                  <a:lnTo>
                    <a:pt x="1472" y="242"/>
                  </a:lnTo>
                  <a:lnTo>
                    <a:pt x="1459" y="251"/>
                  </a:lnTo>
                  <a:lnTo>
                    <a:pt x="1448" y="261"/>
                  </a:lnTo>
                  <a:lnTo>
                    <a:pt x="1440" y="269"/>
                  </a:lnTo>
                  <a:lnTo>
                    <a:pt x="1434" y="277"/>
                  </a:lnTo>
                  <a:lnTo>
                    <a:pt x="1428" y="285"/>
                  </a:lnTo>
                  <a:lnTo>
                    <a:pt x="1424" y="293"/>
                  </a:lnTo>
                  <a:lnTo>
                    <a:pt x="1423" y="299"/>
                  </a:lnTo>
                  <a:lnTo>
                    <a:pt x="1422" y="306"/>
                  </a:lnTo>
                  <a:lnTo>
                    <a:pt x="1422" y="313"/>
                  </a:lnTo>
                  <a:lnTo>
                    <a:pt x="1423" y="319"/>
                  </a:lnTo>
                  <a:lnTo>
                    <a:pt x="1426" y="325"/>
                  </a:lnTo>
                  <a:lnTo>
                    <a:pt x="1431" y="337"/>
                  </a:lnTo>
                  <a:lnTo>
                    <a:pt x="1439" y="349"/>
                  </a:lnTo>
                  <a:lnTo>
                    <a:pt x="1447" y="361"/>
                  </a:lnTo>
                  <a:lnTo>
                    <a:pt x="1454" y="373"/>
                  </a:lnTo>
                  <a:lnTo>
                    <a:pt x="1456" y="378"/>
                  </a:lnTo>
                  <a:lnTo>
                    <a:pt x="1459" y="385"/>
                  </a:lnTo>
                  <a:lnTo>
                    <a:pt x="1460" y="391"/>
                  </a:lnTo>
                  <a:lnTo>
                    <a:pt x="1460" y="397"/>
                  </a:lnTo>
                  <a:lnTo>
                    <a:pt x="1459" y="405"/>
                  </a:lnTo>
                  <a:lnTo>
                    <a:pt x="1458" y="411"/>
                  </a:lnTo>
                  <a:lnTo>
                    <a:pt x="1454" y="418"/>
                  </a:lnTo>
                  <a:lnTo>
                    <a:pt x="1448" y="426"/>
                  </a:lnTo>
                  <a:lnTo>
                    <a:pt x="1442" y="434"/>
                  </a:lnTo>
                  <a:lnTo>
                    <a:pt x="1432" y="443"/>
                  </a:lnTo>
                  <a:lnTo>
                    <a:pt x="1422" y="451"/>
                  </a:lnTo>
                  <a:lnTo>
                    <a:pt x="1408" y="461"/>
                  </a:lnTo>
                  <a:lnTo>
                    <a:pt x="1406" y="462"/>
                  </a:lnTo>
                  <a:lnTo>
                    <a:pt x="1395" y="462"/>
                  </a:lnTo>
                  <a:lnTo>
                    <a:pt x="1386" y="463"/>
                  </a:lnTo>
                  <a:lnTo>
                    <a:pt x="1376" y="467"/>
                  </a:lnTo>
                  <a:lnTo>
                    <a:pt x="1363" y="474"/>
                  </a:lnTo>
                  <a:lnTo>
                    <a:pt x="1348" y="485"/>
                  </a:lnTo>
                  <a:lnTo>
                    <a:pt x="1338" y="501"/>
                  </a:lnTo>
                  <a:lnTo>
                    <a:pt x="1323" y="521"/>
                  </a:lnTo>
                  <a:lnTo>
                    <a:pt x="1306" y="546"/>
                  </a:lnTo>
                  <a:lnTo>
                    <a:pt x="1289" y="575"/>
                  </a:lnTo>
                  <a:lnTo>
                    <a:pt x="1290" y="567"/>
                  </a:lnTo>
                  <a:lnTo>
                    <a:pt x="1290" y="559"/>
                  </a:lnTo>
                  <a:lnTo>
                    <a:pt x="1289" y="551"/>
                  </a:lnTo>
                  <a:lnTo>
                    <a:pt x="1287" y="546"/>
                  </a:lnTo>
                  <a:lnTo>
                    <a:pt x="1285" y="539"/>
                  </a:lnTo>
                  <a:lnTo>
                    <a:pt x="1281" y="535"/>
                  </a:lnTo>
                  <a:lnTo>
                    <a:pt x="1277" y="530"/>
                  </a:lnTo>
                  <a:lnTo>
                    <a:pt x="1273" y="526"/>
                  </a:lnTo>
                  <a:lnTo>
                    <a:pt x="1263" y="519"/>
                  </a:lnTo>
                  <a:lnTo>
                    <a:pt x="1253" y="514"/>
                  </a:lnTo>
                  <a:lnTo>
                    <a:pt x="1242" y="511"/>
                  </a:lnTo>
                  <a:lnTo>
                    <a:pt x="1233" y="507"/>
                  </a:lnTo>
                  <a:lnTo>
                    <a:pt x="1226" y="505"/>
                  </a:lnTo>
                  <a:lnTo>
                    <a:pt x="1221" y="502"/>
                  </a:lnTo>
                  <a:lnTo>
                    <a:pt x="1219" y="501"/>
                  </a:lnTo>
                  <a:lnTo>
                    <a:pt x="1219" y="499"/>
                  </a:lnTo>
                  <a:lnTo>
                    <a:pt x="1221" y="498"/>
                  </a:lnTo>
                  <a:lnTo>
                    <a:pt x="1222" y="495"/>
                  </a:lnTo>
                  <a:lnTo>
                    <a:pt x="1231" y="491"/>
                  </a:lnTo>
                  <a:lnTo>
                    <a:pt x="1245" y="485"/>
                  </a:lnTo>
                  <a:lnTo>
                    <a:pt x="1266" y="477"/>
                  </a:lnTo>
                  <a:lnTo>
                    <a:pt x="1295" y="467"/>
                  </a:lnTo>
                  <a:lnTo>
                    <a:pt x="1285" y="446"/>
                  </a:lnTo>
                  <a:lnTo>
                    <a:pt x="1274" y="426"/>
                  </a:lnTo>
                  <a:lnTo>
                    <a:pt x="1261" y="406"/>
                  </a:lnTo>
                  <a:lnTo>
                    <a:pt x="1249" y="387"/>
                  </a:lnTo>
                  <a:lnTo>
                    <a:pt x="1241" y="379"/>
                  </a:lnTo>
                  <a:lnTo>
                    <a:pt x="1234" y="371"/>
                  </a:lnTo>
                  <a:lnTo>
                    <a:pt x="1227" y="366"/>
                  </a:lnTo>
                  <a:lnTo>
                    <a:pt x="1221" y="361"/>
                  </a:lnTo>
                  <a:lnTo>
                    <a:pt x="1213" y="357"/>
                  </a:lnTo>
                  <a:lnTo>
                    <a:pt x="1206" y="354"/>
                  </a:lnTo>
                  <a:lnTo>
                    <a:pt x="1199" y="353"/>
                  </a:lnTo>
                  <a:lnTo>
                    <a:pt x="1193" y="353"/>
                  </a:lnTo>
                  <a:lnTo>
                    <a:pt x="1170" y="366"/>
                  </a:lnTo>
                  <a:lnTo>
                    <a:pt x="1149" y="375"/>
                  </a:lnTo>
                  <a:lnTo>
                    <a:pt x="1127" y="382"/>
                  </a:lnTo>
                  <a:lnTo>
                    <a:pt x="1106" y="386"/>
                  </a:lnTo>
                  <a:lnTo>
                    <a:pt x="1086" y="389"/>
                  </a:lnTo>
                  <a:lnTo>
                    <a:pt x="1067" y="389"/>
                  </a:lnTo>
                  <a:lnTo>
                    <a:pt x="1049" y="387"/>
                  </a:lnTo>
                  <a:lnTo>
                    <a:pt x="1030" y="385"/>
                  </a:lnTo>
                  <a:lnTo>
                    <a:pt x="997" y="377"/>
                  </a:lnTo>
                  <a:lnTo>
                    <a:pt x="965" y="369"/>
                  </a:lnTo>
                  <a:lnTo>
                    <a:pt x="950" y="365"/>
                  </a:lnTo>
                  <a:lnTo>
                    <a:pt x="935" y="362"/>
                  </a:lnTo>
                  <a:lnTo>
                    <a:pt x="922" y="359"/>
                  </a:lnTo>
                  <a:lnTo>
                    <a:pt x="909" y="358"/>
                  </a:lnTo>
                  <a:lnTo>
                    <a:pt x="895" y="359"/>
                  </a:lnTo>
                  <a:lnTo>
                    <a:pt x="882" y="361"/>
                  </a:lnTo>
                  <a:lnTo>
                    <a:pt x="870" y="363"/>
                  </a:lnTo>
                  <a:lnTo>
                    <a:pt x="859" y="367"/>
                  </a:lnTo>
                  <a:lnTo>
                    <a:pt x="850" y="373"/>
                  </a:lnTo>
                  <a:lnTo>
                    <a:pt x="842" y="378"/>
                  </a:lnTo>
                  <a:lnTo>
                    <a:pt x="834" y="385"/>
                  </a:lnTo>
                  <a:lnTo>
                    <a:pt x="829" y="391"/>
                  </a:lnTo>
                  <a:lnTo>
                    <a:pt x="823" y="399"/>
                  </a:lnTo>
                  <a:lnTo>
                    <a:pt x="818" y="407"/>
                  </a:lnTo>
                  <a:lnTo>
                    <a:pt x="814" y="417"/>
                  </a:lnTo>
                  <a:lnTo>
                    <a:pt x="811" y="426"/>
                  </a:lnTo>
                  <a:lnTo>
                    <a:pt x="807" y="446"/>
                  </a:lnTo>
                  <a:lnTo>
                    <a:pt x="803" y="467"/>
                  </a:lnTo>
                  <a:lnTo>
                    <a:pt x="801" y="510"/>
                  </a:lnTo>
                  <a:lnTo>
                    <a:pt x="798" y="551"/>
                  </a:lnTo>
                  <a:lnTo>
                    <a:pt x="794" y="570"/>
                  </a:lnTo>
                  <a:lnTo>
                    <a:pt x="789" y="587"/>
                  </a:lnTo>
                  <a:lnTo>
                    <a:pt x="786" y="594"/>
                  </a:lnTo>
                  <a:lnTo>
                    <a:pt x="782" y="601"/>
                  </a:lnTo>
                  <a:lnTo>
                    <a:pt x="777" y="606"/>
                  </a:lnTo>
                  <a:lnTo>
                    <a:pt x="770" y="611"/>
                  </a:lnTo>
                  <a:lnTo>
                    <a:pt x="757" y="602"/>
                  </a:lnTo>
                  <a:lnTo>
                    <a:pt x="743" y="589"/>
                  </a:lnTo>
                  <a:lnTo>
                    <a:pt x="730" y="574"/>
                  </a:lnTo>
                  <a:lnTo>
                    <a:pt x="717" y="558"/>
                  </a:lnTo>
                  <a:lnTo>
                    <a:pt x="705" y="541"/>
                  </a:lnTo>
                  <a:lnTo>
                    <a:pt x="691" y="522"/>
                  </a:lnTo>
                  <a:lnTo>
                    <a:pt x="681" y="501"/>
                  </a:lnTo>
                  <a:lnTo>
                    <a:pt x="670" y="479"/>
                  </a:lnTo>
                  <a:lnTo>
                    <a:pt x="661" y="458"/>
                  </a:lnTo>
                  <a:lnTo>
                    <a:pt x="651" y="435"/>
                  </a:lnTo>
                  <a:lnTo>
                    <a:pt x="645" y="411"/>
                  </a:lnTo>
                  <a:lnTo>
                    <a:pt x="638" y="389"/>
                  </a:lnTo>
                  <a:lnTo>
                    <a:pt x="634" y="366"/>
                  </a:lnTo>
                  <a:lnTo>
                    <a:pt x="631" y="342"/>
                  </a:lnTo>
                  <a:lnTo>
                    <a:pt x="631" y="321"/>
                  </a:lnTo>
                  <a:lnTo>
                    <a:pt x="633" y="298"/>
                  </a:lnTo>
                  <a:lnTo>
                    <a:pt x="633" y="295"/>
                  </a:lnTo>
                  <a:lnTo>
                    <a:pt x="631" y="293"/>
                  </a:lnTo>
                  <a:lnTo>
                    <a:pt x="630" y="289"/>
                  </a:lnTo>
                  <a:lnTo>
                    <a:pt x="627" y="285"/>
                  </a:lnTo>
                  <a:lnTo>
                    <a:pt x="619" y="278"/>
                  </a:lnTo>
                  <a:lnTo>
                    <a:pt x="609" y="271"/>
                  </a:lnTo>
                  <a:lnTo>
                    <a:pt x="597" y="265"/>
                  </a:lnTo>
                  <a:lnTo>
                    <a:pt x="583" y="261"/>
                  </a:lnTo>
                  <a:lnTo>
                    <a:pt x="567" y="258"/>
                  </a:lnTo>
                  <a:lnTo>
                    <a:pt x="553" y="257"/>
                  </a:lnTo>
                  <a:lnTo>
                    <a:pt x="545" y="258"/>
                  </a:lnTo>
                  <a:lnTo>
                    <a:pt x="537" y="259"/>
                  </a:lnTo>
                  <a:lnTo>
                    <a:pt x="529" y="262"/>
                  </a:lnTo>
                  <a:lnTo>
                    <a:pt x="521" y="265"/>
                  </a:lnTo>
                  <a:lnTo>
                    <a:pt x="514" y="270"/>
                  </a:lnTo>
                  <a:lnTo>
                    <a:pt x="506" y="275"/>
                  </a:lnTo>
                  <a:lnTo>
                    <a:pt x="500" y="281"/>
                  </a:lnTo>
                  <a:lnTo>
                    <a:pt x="493" y="289"/>
                  </a:lnTo>
                  <a:lnTo>
                    <a:pt x="488" y="298"/>
                  </a:lnTo>
                  <a:lnTo>
                    <a:pt x="482" y="309"/>
                  </a:lnTo>
                  <a:lnTo>
                    <a:pt x="477" y="319"/>
                  </a:lnTo>
                  <a:lnTo>
                    <a:pt x="473" y="333"/>
                  </a:lnTo>
                  <a:lnTo>
                    <a:pt x="469" y="347"/>
                  </a:lnTo>
                  <a:lnTo>
                    <a:pt x="466" y="363"/>
                  </a:lnTo>
                  <a:lnTo>
                    <a:pt x="465" y="381"/>
                  </a:lnTo>
                  <a:lnTo>
                    <a:pt x="464" y="401"/>
                  </a:lnTo>
                  <a:lnTo>
                    <a:pt x="485" y="417"/>
                  </a:lnTo>
                  <a:lnTo>
                    <a:pt x="501" y="431"/>
                  </a:lnTo>
                  <a:lnTo>
                    <a:pt x="514" y="445"/>
                  </a:lnTo>
                  <a:lnTo>
                    <a:pt x="522" y="458"/>
                  </a:lnTo>
                  <a:lnTo>
                    <a:pt x="525" y="465"/>
                  </a:lnTo>
                  <a:lnTo>
                    <a:pt x="526" y="470"/>
                  </a:lnTo>
                  <a:lnTo>
                    <a:pt x="528" y="477"/>
                  </a:lnTo>
                  <a:lnTo>
                    <a:pt x="529" y="482"/>
                  </a:lnTo>
                  <a:lnTo>
                    <a:pt x="528" y="493"/>
                  </a:lnTo>
                  <a:lnTo>
                    <a:pt x="524" y="502"/>
                  </a:lnTo>
                  <a:lnTo>
                    <a:pt x="518" y="511"/>
                  </a:lnTo>
                  <a:lnTo>
                    <a:pt x="512" y="519"/>
                  </a:lnTo>
                  <a:lnTo>
                    <a:pt x="504" y="526"/>
                  </a:lnTo>
                  <a:lnTo>
                    <a:pt x="494" y="533"/>
                  </a:lnTo>
                  <a:lnTo>
                    <a:pt x="485" y="537"/>
                  </a:lnTo>
                  <a:lnTo>
                    <a:pt x="476" y="541"/>
                  </a:lnTo>
                  <a:lnTo>
                    <a:pt x="466" y="543"/>
                  </a:lnTo>
                  <a:lnTo>
                    <a:pt x="458" y="545"/>
                  </a:lnTo>
                  <a:lnTo>
                    <a:pt x="446" y="543"/>
                  </a:lnTo>
                  <a:lnTo>
                    <a:pt x="434" y="542"/>
                  </a:lnTo>
                  <a:lnTo>
                    <a:pt x="424" y="539"/>
                  </a:lnTo>
                  <a:lnTo>
                    <a:pt x="414" y="537"/>
                  </a:lnTo>
                  <a:lnTo>
                    <a:pt x="406" y="533"/>
                  </a:lnTo>
                  <a:lnTo>
                    <a:pt x="398" y="529"/>
                  </a:lnTo>
                  <a:lnTo>
                    <a:pt x="390" y="525"/>
                  </a:lnTo>
                  <a:lnTo>
                    <a:pt x="384" y="519"/>
                  </a:lnTo>
                  <a:lnTo>
                    <a:pt x="378" y="514"/>
                  </a:lnTo>
                  <a:lnTo>
                    <a:pt x="373" y="509"/>
                  </a:lnTo>
                  <a:lnTo>
                    <a:pt x="369" y="502"/>
                  </a:lnTo>
                  <a:lnTo>
                    <a:pt x="365" y="497"/>
                  </a:lnTo>
                  <a:lnTo>
                    <a:pt x="361" y="490"/>
                  </a:lnTo>
                  <a:lnTo>
                    <a:pt x="358" y="482"/>
                  </a:lnTo>
                  <a:lnTo>
                    <a:pt x="357" y="475"/>
                  </a:lnTo>
                  <a:lnTo>
                    <a:pt x="356" y="467"/>
                  </a:lnTo>
                  <a:lnTo>
                    <a:pt x="342" y="477"/>
                  </a:lnTo>
                  <a:lnTo>
                    <a:pt x="330" y="486"/>
                  </a:lnTo>
                  <a:lnTo>
                    <a:pt x="324" y="491"/>
                  </a:lnTo>
                  <a:lnTo>
                    <a:pt x="317" y="494"/>
                  </a:lnTo>
                  <a:lnTo>
                    <a:pt x="309" y="497"/>
                  </a:lnTo>
                  <a:lnTo>
                    <a:pt x="301" y="497"/>
                  </a:lnTo>
                  <a:lnTo>
                    <a:pt x="294" y="493"/>
                  </a:lnTo>
                  <a:lnTo>
                    <a:pt x="286" y="485"/>
                  </a:lnTo>
                  <a:lnTo>
                    <a:pt x="277" y="474"/>
                  </a:lnTo>
                  <a:lnTo>
                    <a:pt x="270" y="467"/>
                  </a:lnTo>
                  <a:lnTo>
                    <a:pt x="241" y="467"/>
                  </a:lnTo>
                  <a:lnTo>
                    <a:pt x="240" y="487"/>
                  </a:lnTo>
                  <a:lnTo>
                    <a:pt x="238" y="506"/>
                  </a:lnTo>
                  <a:lnTo>
                    <a:pt x="234" y="522"/>
                  </a:lnTo>
                  <a:lnTo>
                    <a:pt x="229" y="538"/>
                  </a:lnTo>
                  <a:lnTo>
                    <a:pt x="218" y="565"/>
                  </a:lnTo>
                  <a:lnTo>
                    <a:pt x="205" y="590"/>
                  </a:lnTo>
                  <a:lnTo>
                    <a:pt x="192" y="614"/>
                  </a:lnTo>
                  <a:lnTo>
                    <a:pt x="180" y="641"/>
                  </a:lnTo>
                  <a:lnTo>
                    <a:pt x="176" y="655"/>
                  </a:lnTo>
                  <a:lnTo>
                    <a:pt x="172" y="671"/>
                  </a:lnTo>
                  <a:lnTo>
                    <a:pt x="169" y="689"/>
                  </a:lnTo>
                  <a:lnTo>
                    <a:pt x="169" y="707"/>
                  </a:lnTo>
                  <a:lnTo>
                    <a:pt x="169" y="714"/>
                  </a:lnTo>
                  <a:lnTo>
                    <a:pt x="170" y="719"/>
                  </a:lnTo>
                  <a:lnTo>
                    <a:pt x="172" y="723"/>
                  </a:lnTo>
                  <a:lnTo>
                    <a:pt x="174" y="727"/>
                  </a:lnTo>
                  <a:lnTo>
                    <a:pt x="180" y="733"/>
                  </a:lnTo>
                  <a:lnTo>
                    <a:pt x="186" y="737"/>
                  </a:lnTo>
                  <a:lnTo>
                    <a:pt x="193" y="741"/>
                  </a:lnTo>
                  <a:lnTo>
                    <a:pt x="200" y="746"/>
                  </a:lnTo>
                  <a:lnTo>
                    <a:pt x="201" y="749"/>
                  </a:lnTo>
                  <a:lnTo>
                    <a:pt x="204" y="753"/>
                  </a:lnTo>
                  <a:lnTo>
                    <a:pt x="204" y="757"/>
                  </a:lnTo>
                  <a:lnTo>
                    <a:pt x="205" y="762"/>
                  </a:lnTo>
                  <a:lnTo>
                    <a:pt x="204" y="770"/>
                  </a:lnTo>
                  <a:lnTo>
                    <a:pt x="202" y="775"/>
                  </a:lnTo>
                  <a:lnTo>
                    <a:pt x="201" y="780"/>
                  </a:lnTo>
                  <a:lnTo>
                    <a:pt x="198" y="784"/>
                  </a:lnTo>
                  <a:lnTo>
                    <a:pt x="192" y="792"/>
                  </a:lnTo>
                  <a:lnTo>
                    <a:pt x="182" y="798"/>
                  </a:lnTo>
                  <a:lnTo>
                    <a:pt x="174" y="803"/>
                  </a:lnTo>
                  <a:lnTo>
                    <a:pt x="166" y="808"/>
                  </a:lnTo>
                  <a:lnTo>
                    <a:pt x="164" y="812"/>
                  </a:lnTo>
                  <a:lnTo>
                    <a:pt x="160" y="816"/>
                  </a:lnTo>
                  <a:lnTo>
                    <a:pt x="158" y="822"/>
                  </a:lnTo>
                  <a:lnTo>
                    <a:pt x="157" y="828"/>
                  </a:lnTo>
                  <a:lnTo>
                    <a:pt x="150" y="852"/>
                  </a:lnTo>
                  <a:lnTo>
                    <a:pt x="142" y="876"/>
                  </a:lnTo>
                  <a:lnTo>
                    <a:pt x="133" y="898"/>
                  </a:lnTo>
                  <a:lnTo>
                    <a:pt x="122" y="918"/>
                  </a:lnTo>
                  <a:lnTo>
                    <a:pt x="97" y="955"/>
                  </a:lnTo>
                  <a:lnTo>
                    <a:pt x="69" y="991"/>
                  </a:lnTo>
                  <a:lnTo>
                    <a:pt x="56" y="1010"/>
                  </a:lnTo>
                  <a:lnTo>
                    <a:pt x="44" y="1030"/>
                  </a:lnTo>
                  <a:lnTo>
                    <a:pt x="32" y="1050"/>
                  </a:lnTo>
                  <a:lnTo>
                    <a:pt x="21" y="1071"/>
                  </a:lnTo>
                  <a:lnTo>
                    <a:pt x="12" y="1095"/>
                  </a:lnTo>
                  <a:lnTo>
                    <a:pt x="5" y="1120"/>
                  </a:lnTo>
                  <a:lnTo>
                    <a:pt x="4" y="1134"/>
                  </a:lnTo>
                  <a:lnTo>
                    <a:pt x="1" y="1147"/>
                  </a:lnTo>
                  <a:lnTo>
                    <a:pt x="0" y="1162"/>
                  </a:lnTo>
                  <a:lnTo>
                    <a:pt x="0" y="1178"/>
                  </a:lnTo>
                  <a:lnTo>
                    <a:pt x="1" y="1195"/>
                  </a:lnTo>
                  <a:lnTo>
                    <a:pt x="4" y="1210"/>
                  </a:lnTo>
                  <a:lnTo>
                    <a:pt x="9" y="1222"/>
                  </a:lnTo>
                  <a:lnTo>
                    <a:pt x="16" y="1232"/>
                  </a:lnTo>
                  <a:lnTo>
                    <a:pt x="24" y="1240"/>
                  </a:lnTo>
                  <a:lnTo>
                    <a:pt x="32" y="1248"/>
                  </a:lnTo>
                  <a:lnTo>
                    <a:pt x="41" y="1254"/>
                  </a:lnTo>
                  <a:lnTo>
                    <a:pt x="52" y="1259"/>
                  </a:lnTo>
                  <a:lnTo>
                    <a:pt x="61" y="1264"/>
                  </a:lnTo>
                  <a:lnTo>
                    <a:pt x="70" y="1271"/>
                  </a:lnTo>
                  <a:lnTo>
                    <a:pt x="78" y="1276"/>
                  </a:lnTo>
                  <a:lnTo>
                    <a:pt x="86" y="1283"/>
                  </a:lnTo>
                  <a:lnTo>
                    <a:pt x="93" y="1291"/>
                  </a:lnTo>
                  <a:lnTo>
                    <a:pt x="98" y="1302"/>
                  </a:lnTo>
                  <a:lnTo>
                    <a:pt x="101" y="1314"/>
                  </a:lnTo>
                  <a:lnTo>
                    <a:pt x="102" y="1328"/>
                  </a:lnTo>
                  <a:lnTo>
                    <a:pt x="102" y="1335"/>
                  </a:lnTo>
                  <a:lnTo>
                    <a:pt x="105" y="1342"/>
                  </a:lnTo>
                  <a:lnTo>
                    <a:pt x="106" y="1346"/>
                  </a:lnTo>
                  <a:lnTo>
                    <a:pt x="110" y="1348"/>
                  </a:lnTo>
                  <a:lnTo>
                    <a:pt x="114" y="1351"/>
                  </a:lnTo>
                  <a:lnTo>
                    <a:pt x="118" y="1352"/>
                  </a:lnTo>
                  <a:lnTo>
                    <a:pt x="124" y="1353"/>
                  </a:lnTo>
                  <a:lnTo>
                    <a:pt x="129" y="1355"/>
                  </a:lnTo>
                  <a:lnTo>
                    <a:pt x="141" y="1355"/>
                  </a:lnTo>
                  <a:lnTo>
                    <a:pt x="153" y="1355"/>
                  </a:lnTo>
                  <a:lnTo>
                    <a:pt x="165" y="1355"/>
                  </a:lnTo>
                  <a:lnTo>
                    <a:pt x="174" y="1357"/>
                  </a:lnTo>
                  <a:lnTo>
                    <a:pt x="180" y="1361"/>
                  </a:lnTo>
                  <a:lnTo>
                    <a:pt x="184" y="1365"/>
                  </a:lnTo>
                  <a:lnTo>
                    <a:pt x="188" y="1369"/>
                  </a:lnTo>
                  <a:lnTo>
                    <a:pt x="190" y="1375"/>
                  </a:lnTo>
                  <a:lnTo>
                    <a:pt x="193" y="1388"/>
                  </a:lnTo>
                  <a:lnTo>
                    <a:pt x="197" y="1401"/>
                  </a:lnTo>
                  <a:lnTo>
                    <a:pt x="200" y="1415"/>
                  </a:lnTo>
                  <a:lnTo>
                    <a:pt x="204" y="1425"/>
                  </a:lnTo>
                  <a:lnTo>
                    <a:pt x="208" y="1431"/>
                  </a:lnTo>
                  <a:lnTo>
                    <a:pt x="212" y="1433"/>
                  </a:lnTo>
                  <a:lnTo>
                    <a:pt x="217" y="1436"/>
                  </a:lnTo>
                  <a:lnTo>
                    <a:pt x="222" y="1436"/>
                  </a:lnTo>
                  <a:lnTo>
                    <a:pt x="241" y="1436"/>
                  </a:lnTo>
                  <a:lnTo>
                    <a:pt x="253" y="1436"/>
                  </a:lnTo>
                  <a:lnTo>
                    <a:pt x="262" y="1436"/>
                  </a:lnTo>
                  <a:lnTo>
                    <a:pt x="270" y="1436"/>
                  </a:lnTo>
                  <a:lnTo>
                    <a:pt x="278" y="1437"/>
                  </a:lnTo>
                  <a:lnTo>
                    <a:pt x="286" y="1439"/>
                  </a:lnTo>
                  <a:lnTo>
                    <a:pt x="293" y="1443"/>
                  </a:lnTo>
                  <a:lnTo>
                    <a:pt x="300" y="1447"/>
                  </a:lnTo>
                  <a:lnTo>
                    <a:pt x="313" y="1457"/>
                  </a:lnTo>
                  <a:lnTo>
                    <a:pt x="328" y="1471"/>
                  </a:lnTo>
                  <a:lnTo>
                    <a:pt x="342" y="1483"/>
                  </a:lnTo>
                  <a:lnTo>
                    <a:pt x="358" y="1495"/>
                  </a:lnTo>
                  <a:lnTo>
                    <a:pt x="368" y="1500"/>
                  </a:lnTo>
                  <a:lnTo>
                    <a:pt x="377" y="1504"/>
                  </a:lnTo>
                  <a:lnTo>
                    <a:pt x="386" y="1507"/>
                  </a:lnTo>
                  <a:lnTo>
                    <a:pt x="397" y="1508"/>
                  </a:lnTo>
                  <a:lnTo>
                    <a:pt x="398" y="1521"/>
                  </a:lnTo>
                  <a:lnTo>
                    <a:pt x="398" y="1532"/>
                  </a:lnTo>
                  <a:lnTo>
                    <a:pt x="400" y="1540"/>
                  </a:lnTo>
                  <a:lnTo>
                    <a:pt x="402" y="1548"/>
                  </a:lnTo>
                  <a:lnTo>
                    <a:pt x="408" y="1561"/>
                  </a:lnTo>
                  <a:lnTo>
                    <a:pt x="416" y="1575"/>
                  </a:lnTo>
                  <a:lnTo>
                    <a:pt x="518" y="1575"/>
                  </a:lnTo>
                  <a:lnTo>
                    <a:pt x="530" y="1584"/>
                  </a:lnTo>
                  <a:lnTo>
                    <a:pt x="541" y="1592"/>
                  </a:lnTo>
                  <a:lnTo>
                    <a:pt x="550" y="1600"/>
                  </a:lnTo>
                  <a:lnTo>
                    <a:pt x="558" y="1608"/>
                  </a:lnTo>
                  <a:lnTo>
                    <a:pt x="574" y="1624"/>
                  </a:lnTo>
                  <a:lnTo>
                    <a:pt x="590" y="1641"/>
                  </a:lnTo>
                  <a:lnTo>
                    <a:pt x="594" y="1657"/>
                  </a:lnTo>
                  <a:lnTo>
                    <a:pt x="598" y="1671"/>
                  </a:lnTo>
                  <a:lnTo>
                    <a:pt x="602" y="1676"/>
                  </a:lnTo>
                  <a:lnTo>
                    <a:pt x="606" y="1680"/>
                  </a:lnTo>
                  <a:lnTo>
                    <a:pt x="613" y="1683"/>
                  </a:lnTo>
                  <a:lnTo>
                    <a:pt x="621" y="1683"/>
                  </a:lnTo>
                  <a:lnTo>
                    <a:pt x="627" y="1683"/>
                  </a:lnTo>
                  <a:lnTo>
                    <a:pt x="634" y="1681"/>
                  </a:lnTo>
                  <a:lnTo>
                    <a:pt x="639" y="1680"/>
                  </a:lnTo>
                  <a:lnTo>
                    <a:pt x="643" y="1677"/>
                  </a:lnTo>
                  <a:lnTo>
                    <a:pt x="651" y="1672"/>
                  </a:lnTo>
                  <a:lnTo>
                    <a:pt x="658" y="1665"/>
                  </a:lnTo>
                  <a:lnTo>
                    <a:pt x="663" y="1659"/>
                  </a:lnTo>
                  <a:lnTo>
                    <a:pt x="669" y="1653"/>
                  </a:lnTo>
                  <a:lnTo>
                    <a:pt x="673" y="1651"/>
                  </a:lnTo>
                  <a:lnTo>
                    <a:pt x="677" y="1648"/>
                  </a:lnTo>
                  <a:lnTo>
                    <a:pt x="681" y="1648"/>
                  </a:lnTo>
                  <a:lnTo>
                    <a:pt x="686" y="1647"/>
                  </a:lnTo>
                  <a:lnTo>
                    <a:pt x="697" y="1649"/>
                  </a:lnTo>
                  <a:lnTo>
                    <a:pt x="709" y="1653"/>
                  </a:lnTo>
                  <a:lnTo>
                    <a:pt x="714" y="1657"/>
                  </a:lnTo>
                  <a:lnTo>
                    <a:pt x="718" y="1660"/>
                  </a:lnTo>
                  <a:lnTo>
                    <a:pt x="722" y="1663"/>
                  </a:lnTo>
                  <a:lnTo>
                    <a:pt x="722" y="1665"/>
                  </a:lnTo>
                  <a:lnTo>
                    <a:pt x="726" y="1673"/>
                  </a:lnTo>
                  <a:lnTo>
                    <a:pt x="726" y="1681"/>
                  </a:lnTo>
                  <a:lnTo>
                    <a:pt x="726" y="1688"/>
                  </a:lnTo>
                  <a:lnTo>
                    <a:pt x="723" y="1695"/>
                  </a:lnTo>
                  <a:lnTo>
                    <a:pt x="722" y="1703"/>
                  </a:lnTo>
                  <a:lnTo>
                    <a:pt x="719" y="1709"/>
                  </a:lnTo>
                  <a:lnTo>
                    <a:pt x="717" y="1717"/>
                  </a:lnTo>
                  <a:lnTo>
                    <a:pt x="717" y="1725"/>
                  </a:lnTo>
                  <a:lnTo>
                    <a:pt x="718" y="1733"/>
                  </a:lnTo>
                  <a:lnTo>
                    <a:pt x="721" y="1740"/>
                  </a:lnTo>
                  <a:lnTo>
                    <a:pt x="725" y="1745"/>
                  </a:lnTo>
                  <a:lnTo>
                    <a:pt x="730" y="1751"/>
                  </a:lnTo>
                  <a:lnTo>
                    <a:pt x="741" y="1759"/>
                  </a:lnTo>
                  <a:lnTo>
                    <a:pt x="754" y="1767"/>
                  </a:lnTo>
                  <a:lnTo>
                    <a:pt x="767" y="1775"/>
                  </a:lnTo>
                  <a:lnTo>
                    <a:pt x="781" y="1783"/>
                  </a:lnTo>
                  <a:lnTo>
                    <a:pt x="787" y="1787"/>
                  </a:lnTo>
                  <a:lnTo>
                    <a:pt x="793" y="1792"/>
                  </a:lnTo>
                  <a:lnTo>
                    <a:pt x="797" y="1797"/>
                  </a:lnTo>
                  <a:lnTo>
                    <a:pt x="801" y="1804"/>
                  </a:lnTo>
                  <a:lnTo>
                    <a:pt x="803" y="1809"/>
                  </a:lnTo>
                  <a:lnTo>
                    <a:pt x="807" y="1813"/>
                  </a:lnTo>
                  <a:lnTo>
                    <a:pt x="813" y="1816"/>
                  </a:lnTo>
                  <a:lnTo>
                    <a:pt x="818" y="1817"/>
                  </a:lnTo>
                  <a:lnTo>
                    <a:pt x="830" y="1817"/>
                  </a:lnTo>
                  <a:lnTo>
                    <a:pt x="843" y="1815"/>
                  </a:lnTo>
                  <a:lnTo>
                    <a:pt x="858" y="1812"/>
                  </a:lnTo>
                  <a:lnTo>
                    <a:pt x="871" y="1811"/>
                  </a:lnTo>
                  <a:lnTo>
                    <a:pt x="877" y="1812"/>
                  </a:lnTo>
                  <a:lnTo>
                    <a:pt x="882" y="1813"/>
                  </a:lnTo>
                  <a:lnTo>
                    <a:pt x="887" y="1817"/>
                  </a:lnTo>
                  <a:lnTo>
                    <a:pt x="891" y="1821"/>
                  </a:lnTo>
                  <a:lnTo>
                    <a:pt x="897" y="1828"/>
                  </a:lnTo>
                  <a:lnTo>
                    <a:pt x="901" y="1836"/>
                  </a:lnTo>
                  <a:lnTo>
                    <a:pt x="903" y="1843"/>
                  </a:lnTo>
                  <a:lnTo>
                    <a:pt x="905" y="1851"/>
                  </a:lnTo>
                  <a:lnTo>
                    <a:pt x="907" y="1865"/>
                  </a:lnTo>
                  <a:lnTo>
                    <a:pt x="907" y="1880"/>
                  </a:lnTo>
                  <a:lnTo>
                    <a:pt x="907" y="1895"/>
                  </a:lnTo>
                  <a:lnTo>
                    <a:pt x="909" y="1908"/>
                  </a:lnTo>
                  <a:lnTo>
                    <a:pt x="909" y="1915"/>
                  </a:lnTo>
                  <a:lnTo>
                    <a:pt x="910" y="1920"/>
                  </a:lnTo>
                  <a:lnTo>
                    <a:pt x="913" y="1925"/>
                  </a:lnTo>
                  <a:lnTo>
                    <a:pt x="915" y="1931"/>
                  </a:lnTo>
                  <a:lnTo>
                    <a:pt x="915" y="1924"/>
                  </a:lnTo>
                  <a:lnTo>
                    <a:pt x="921" y="1917"/>
                  </a:lnTo>
                  <a:lnTo>
                    <a:pt x="926" y="1912"/>
                  </a:lnTo>
                  <a:lnTo>
                    <a:pt x="934" y="1907"/>
                  </a:lnTo>
                  <a:lnTo>
                    <a:pt x="942" y="1903"/>
                  </a:lnTo>
                  <a:lnTo>
                    <a:pt x="950" y="1899"/>
                  </a:lnTo>
                  <a:lnTo>
                    <a:pt x="961" y="1896"/>
                  </a:lnTo>
                  <a:lnTo>
                    <a:pt x="970" y="1895"/>
                  </a:lnTo>
                  <a:lnTo>
                    <a:pt x="982" y="1895"/>
                  </a:lnTo>
                  <a:lnTo>
                    <a:pt x="995" y="1893"/>
                  </a:lnTo>
                  <a:lnTo>
                    <a:pt x="1011" y="1892"/>
                  </a:lnTo>
                  <a:lnTo>
                    <a:pt x="1027" y="1889"/>
                  </a:lnTo>
                  <a:lnTo>
                    <a:pt x="1045" y="1885"/>
                  </a:lnTo>
                  <a:lnTo>
                    <a:pt x="1062" y="1881"/>
                  </a:lnTo>
                  <a:lnTo>
                    <a:pt x="1078" y="1876"/>
                  </a:lnTo>
                  <a:lnTo>
                    <a:pt x="1094" y="1871"/>
                  </a:lnTo>
                  <a:lnTo>
                    <a:pt x="1109" y="1864"/>
                  </a:lnTo>
                  <a:lnTo>
                    <a:pt x="1117" y="1860"/>
                  </a:lnTo>
                  <a:lnTo>
                    <a:pt x="1123" y="1855"/>
                  </a:lnTo>
                  <a:lnTo>
                    <a:pt x="1126" y="1849"/>
                  </a:lnTo>
                  <a:lnTo>
                    <a:pt x="1129" y="1844"/>
                  </a:lnTo>
                  <a:lnTo>
                    <a:pt x="1129" y="1837"/>
                  </a:lnTo>
                  <a:lnTo>
                    <a:pt x="1127" y="1831"/>
                  </a:lnTo>
                  <a:lnTo>
                    <a:pt x="1125" y="1823"/>
                  </a:lnTo>
                  <a:lnTo>
                    <a:pt x="1122" y="1816"/>
                  </a:lnTo>
                  <a:lnTo>
                    <a:pt x="1114" y="1801"/>
                  </a:lnTo>
                  <a:lnTo>
                    <a:pt x="1107" y="1788"/>
                  </a:lnTo>
                  <a:lnTo>
                    <a:pt x="1106" y="1781"/>
                  </a:lnTo>
                  <a:lnTo>
                    <a:pt x="1105" y="1776"/>
                  </a:lnTo>
                  <a:lnTo>
                    <a:pt x="1106" y="1772"/>
                  </a:lnTo>
                  <a:lnTo>
                    <a:pt x="1109" y="1768"/>
                  </a:lnTo>
                  <a:lnTo>
                    <a:pt x="1119" y="1760"/>
                  </a:lnTo>
                  <a:lnTo>
                    <a:pt x="1135" y="1752"/>
                  </a:lnTo>
                  <a:lnTo>
                    <a:pt x="1143" y="1748"/>
                  </a:lnTo>
                  <a:lnTo>
                    <a:pt x="1150" y="1743"/>
                  </a:lnTo>
                  <a:lnTo>
                    <a:pt x="1157" y="1737"/>
                  </a:lnTo>
                  <a:lnTo>
                    <a:pt x="1162" y="1732"/>
                  </a:lnTo>
                  <a:lnTo>
                    <a:pt x="1174" y="1719"/>
                  </a:lnTo>
                  <a:lnTo>
                    <a:pt x="1193" y="1703"/>
                  </a:lnTo>
                  <a:lnTo>
                    <a:pt x="1213" y="1687"/>
                  </a:lnTo>
                  <a:lnTo>
                    <a:pt x="1234" y="1669"/>
                  </a:lnTo>
                  <a:lnTo>
                    <a:pt x="1255" y="1652"/>
                  </a:lnTo>
                  <a:lnTo>
                    <a:pt x="1273" y="1636"/>
                  </a:lnTo>
                  <a:lnTo>
                    <a:pt x="1279" y="1628"/>
                  </a:lnTo>
                  <a:lnTo>
                    <a:pt x="1285" y="1621"/>
                  </a:lnTo>
                  <a:lnTo>
                    <a:pt x="1287" y="1616"/>
                  </a:lnTo>
                  <a:lnTo>
                    <a:pt x="1289" y="1611"/>
                  </a:lnTo>
                  <a:lnTo>
                    <a:pt x="1289" y="1607"/>
                  </a:lnTo>
                  <a:lnTo>
                    <a:pt x="1286" y="1601"/>
                  </a:lnTo>
                  <a:lnTo>
                    <a:pt x="1285" y="1596"/>
                  </a:lnTo>
                  <a:lnTo>
                    <a:pt x="1281" y="1591"/>
                  </a:lnTo>
                  <a:lnTo>
                    <a:pt x="1271" y="1580"/>
                  </a:lnTo>
                  <a:lnTo>
                    <a:pt x="1261" y="1569"/>
                  </a:lnTo>
                  <a:lnTo>
                    <a:pt x="1247" y="1559"/>
                  </a:lnTo>
                  <a:lnTo>
                    <a:pt x="1233" y="1552"/>
                  </a:lnTo>
                  <a:lnTo>
                    <a:pt x="1226" y="1549"/>
                  </a:lnTo>
                  <a:lnTo>
                    <a:pt x="1218" y="1547"/>
                  </a:lnTo>
                  <a:lnTo>
                    <a:pt x="1211" y="1545"/>
                  </a:lnTo>
                  <a:lnTo>
                    <a:pt x="1205" y="1544"/>
                  </a:lnTo>
                  <a:lnTo>
                    <a:pt x="1198" y="1545"/>
                  </a:lnTo>
                  <a:lnTo>
                    <a:pt x="1193" y="1548"/>
                  </a:lnTo>
                  <a:lnTo>
                    <a:pt x="1187" y="1551"/>
                  </a:lnTo>
                  <a:lnTo>
                    <a:pt x="1182" y="1555"/>
                  </a:lnTo>
                  <a:lnTo>
                    <a:pt x="1174" y="1565"/>
                  </a:lnTo>
                  <a:lnTo>
                    <a:pt x="1166" y="1577"/>
                  </a:lnTo>
                  <a:lnTo>
                    <a:pt x="1159" y="1589"/>
                  </a:lnTo>
                  <a:lnTo>
                    <a:pt x="1151" y="1600"/>
                  </a:lnTo>
                  <a:lnTo>
                    <a:pt x="1147" y="1605"/>
                  </a:lnTo>
                  <a:lnTo>
                    <a:pt x="1142" y="1608"/>
                  </a:lnTo>
                  <a:lnTo>
                    <a:pt x="1138" y="1611"/>
                  </a:lnTo>
                  <a:lnTo>
                    <a:pt x="1133" y="1611"/>
                  </a:lnTo>
                  <a:lnTo>
                    <a:pt x="1117" y="1609"/>
                  </a:lnTo>
                  <a:lnTo>
                    <a:pt x="1099" y="1605"/>
                  </a:lnTo>
                  <a:lnTo>
                    <a:pt x="1082" y="1600"/>
                  </a:lnTo>
                  <a:lnTo>
                    <a:pt x="1065" y="1593"/>
                  </a:lnTo>
                  <a:lnTo>
                    <a:pt x="1049" y="1584"/>
                  </a:lnTo>
                  <a:lnTo>
                    <a:pt x="1035" y="1575"/>
                  </a:lnTo>
                  <a:lnTo>
                    <a:pt x="1030" y="1571"/>
                  </a:lnTo>
                  <a:lnTo>
                    <a:pt x="1027" y="1565"/>
                  </a:lnTo>
                  <a:lnTo>
                    <a:pt x="1025" y="1561"/>
                  </a:lnTo>
                  <a:lnTo>
                    <a:pt x="1023" y="1557"/>
                  </a:lnTo>
                  <a:lnTo>
                    <a:pt x="1025" y="1548"/>
                  </a:lnTo>
                  <a:lnTo>
                    <a:pt x="1026" y="1540"/>
                  </a:lnTo>
                  <a:lnTo>
                    <a:pt x="1029" y="1529"/>
                  </a:lnTo>
                  <a:lnTo>
                    <a:pt x="1031" y="1520"/>
                  </a:lnTo>
                  <a:lnTo>
                    <a:pt x="1041" y="1500"/>
                  </a:lnTo>
                  <a:lnTo>
                    <a:pt x="1051" y="1479"/>
                  </a:lnTo>
                  <a:lnTo>
                    <a:pt x="1062" y="1460"/>
                  </a:lnTo>
                  <a:lnTo>
                    <a:pt x="1074" y="1444"/>
                  </a:lnTo>
                  <a:lnTo>
                    <a:pt x="1081" y="1437"/>
                  </a:lnTo>
                  <a:lnTo>
                    <a:pt x="1086" y="1432"/>
                  </a:lnTo>
                  <a:lnTo>
                    <a:pt x="1091" y="1427"/>
                  </a:lnTo>
                  <a:lnTo>
                    <a:pt x="1095" y="1424"/>
                  </a:lnTo>
                  <a:lnTo>
                    <a:pt x="1113" y="1420"/>
                  </a:lnTo>
                  <a:lnTo>
                    <a:pt x="1137" y="1415"/>
                  </a:lnTo>
                  <a:lnTo>
                    <a:pt x="1149" y="1411"/>
                  </a:lnTo>
                  <a:lnTo>
                    <a:pt x="1158" y="1405"/>
                  </a:lnTo>
                  <a:lnTo>
                    <a:pt x="1162" y="1403"/>
                  </a:lnTo>
                  <a:lnTo>
                    <a:pt x="1166" y="1397"/>
                  </a:lnTo>
                  <a:lnTo>
                    <a:pt x="1167" y="1393"/>
                  </a:lnTo>
                  <a:lnTo>
                    <a:pt x="1169" y="1388"/>
                  </a:lnTo>
                  <a:lnTo>
                    <a:pt x="1167" y="1381"/>
                  </a:lnTo>
                  <a:lnTo>
                    <a:pt x="1166" y="1376"/>
                  </a:lnTo>
                  <a:lnTo>
                    <a:pt x="1162" y="1371"/>
                  </a:lnTo>
                  <a:lnTo>
                    <a:pt x="1159" y="1367"/>
                  </a:lnTo>
                  <a:lnTo>
                    <a:pt x="1155" y="1361"/>
                  </a:lnTo>
                  <a:lnTo>
                    <a:pt x="1153" y="1355"/>
                  </a:lnTo>
                  <a:lnTo>
                    <a:pt x="1151" y="1348"/>
                  </a:lnTo>
                  <a:lnTo>
                    <a:pt x="1150" y="1340"/>
                  </a:lnTo>
                  <a:lnTo>
                    <a:pt x="1151" y="1323"/>
                  </a:lnTo>
                  <a:lnTo>
                    <a:pt x="1155" y="1308"/>
                  </a:lnTo>
                  <a:lnTo>
                    <a:pt x="1159" y="1295"/>
                  </a:lnTo>
                  <a:lnTo>
                    <a:pt x="1165" y="1282"/>
                  </a:lnTo>
                  <a:lnTo>
                    <a:pt x="1171" y="1268"/>
                  </a:lnTo>
                  <a:lnTo>
                    <a:pt x="1175" y="1255"/>
                  </a:lnTo>
                  <a:lnTo>
                    <a:pt x="1179" y="1239"/>
                  </a:lnTo>
                  <a:lnTo>
                    <a:pt x="1181" y="1219"/>
                  </a:lnTo>
                  <a:lnTo>
                    <a:pt x="1179" y="1207"/>
                  </a:lnTo>
                  <a:lnTo>
                    <a:pt x="1178" y="1196"/>
                  </a:lnTo>
                  <a:lnTo>
                    <a:pt x="1177" y="1186"/>
                  </a:lnTo>
                  <a:lnTo>
                    <a:pt x="1174" y="1176"/>
                  </a:lnTo>
                  <a:lnTo>
                    <a:pt x="1167" y="1158"/>
                  </a:lnTo>
                  <a:lnTo>
                    <a:pt x="1159" y="1142"/>
                  </a:lnTo>
                  <a:lnTo>
                    <a:pt x="1151" y="1126"/>
                  </a:lnTo>
                  <a:lnTo>
                    <a:pt x="1145" y="1111"/>
                  </a:lnTo>
                  <a:lnTo>
                    <a:pt x="1142" y="1104"/>
                  </a:lnTo>
                  <a:lnTo>
                    <a:pt x="1139" y="1096"/>
                  </a:lnTo>
                  <a:lnTo>
                    <a:pt x="1138" y="1088"/>
                  </a:lnTo>
                  <a:lnTo>
                    <a:pt x="1138" y="1082"/>
                  </a:lnTo>
                  <a:lnTo>
                    <a:pt x="1137" y="1068"/>
                  </a:lnTo>
                  <a:lnTo>
                    <a:pt x="1134" y="1060"/>
                  </a:lnTo>
                  <a:lnTo>
                    <a:pt x="1133" y="1058"/>
                  </a:lnTo>
                  <a:lnTo>
                    <a:pt x="1133" y="1055"/>
                  </a:lnTo>
                  <a:lnTo>
                    <a:pt x="1134" y="1051"/>
                  </a:lnTo>
                  <a:lnTo>
                    <a:pt x="1138" y="1044"/>
                  </a:lnTo>
                  <a:lnTo>
                    <a:pt x="1167" y="1056"/>
                  </a:lnTo>
                  <a:lnTo>
                    <a:pt x="1194" y="1066"/>
                  </a:lnTo>
                  <a:lnTo>
                    <a:pt x="1221" y="1076"/>
                  </a:lnTo>
                  <a:lnTo>
                    <a:pt x="1246" y="1087"/>
                  </a:lnTo>
                  <a:lnTo>
                    <a:pt x="1271" y="1098"/>
                  </a:lnTo>
                  <a:lnTo>
                    <a:pt x="1296" y="1110"/>
                  </a:lnTo>
                  <a:lnTo>
                    <a:pt x="1322" y="1124"/>
                  </a:lnTo>
                  <a:lnTo>
                    <a:pt x="1348" y="1142"/>
                  </a:lnTo>
                  <a:lnTo>
                    <a:pt x="1366" y="1163"/>
                  </a:lnTo>
                  <a:lnTo>
                    <a:pt x="1376" y="1183"/>
                  </a:lnTo>
                  <a:lnTo>
                    <a:pt x="1380" y="1187"/>
                  </a:lnTo>
                  <a:lnTo>
                    <a:pt x="1383" y="1191"/>
                  </a:lnTo>
                  <a:lnTo>
                    <a:pt x="1388" y="1194"/>
                  </a:lnTo>
                  <a:lnTo>
                    <a:pt x="1394" y="1196"/>
                  </a:lnTo>
                  <a:lnTo>
                    <a:pt x="1400" y="1199"/>
                  </a:lnTo>
                  <a:lnTo>
                    <a:pt x="1407" y="1200"/>
                  </a:lnTo>
                  <a:lnTo>
                    <a:pt x="1416" y="1202"/>
                  </a:lnTo>
                  <a:lnTo>
                    <a:pt x="1427" y="1202"/>
                  </a:lnTo>
                  <a:lnTo>
                    <a:pt x="1440" y="1202"/>
                  </a:lnTo>
                  <a:lnTo>
                    <a:pt x="1452" y="1202"/>
                  </a:lnTo>
                  <a:lnTo>
                    <a:pt x="1467" y="1202"/>
                  </a:lnTo>
                  <a:lnTo>
                    <a:pt x="1487" y="1202"/>
                  </a:lnTo>
                  <a:lnTo>
                    <a:pt x="1488" y="1207"/>
                  </a:lnTo>
                  <a:lnTo>
                    <a:pt x="1490" y="1211"/>
                  </a:lnTo>
                  <a:lnTo>
                    <a:pt x="1491" y="1216"/>
                  </a:lnTo>
                  <a:lnTo>
                    <a:pt x="1495" y="1222"/>
                  </a:lnTo>
                  <a:lnTo>
                    <a:pt x="1499" y="1226"/>
                  </a:lnTo>
                  <a:lnTo>
                    <a:pt x="1503" y="1228"/>
                  </a:lnTo>
                  <a:lnTo>
                    <a:pt x="1507" y="1231"/>
                  </a:lnTo>
                  <a:lnTo>
                    <a:pt x="1511" y="1232"/>
                  </a:lnTo>
                  <a:lnTo>
                    <a:pt x="1516" y="1231"/>
                  </a:lnTo>
                  <a:lnTo>
                    <a:pt x="1520" y="1230"/>
                  </a:lnTo>
                  <a:lnTo>
                    <a:pt x="1524" y="1227"/>
                  </a:lnTo>
                  <a:lnTo>
                    <a:pt x="1528" y="1224"/>
                  </a:lnTo>
                  <a:lnTo>
                    <a:pt x="1536" y="1216"/>
                  </a:lnTo>
                  <a:lnTo>
                    <a:pt x="1542" y="1207"/>
                  </a:lnTo>
                  <a:lnTo>
                    <a:pt x="1556" y="1228"/>
                  </a:lnTo>
                  <a:lnTo>
                    <a:pt x="1568" y="1250"/>
                  </a:lnTo>
                  <a:lnTo>
                    <a:pt x="1572" y="1255"/>
                  </a:lnTo>
                  <a:lnTo>
                    <a:pt x="1576" y="1259"/>
                  </a:lnTo>
                  <a:lnTo>
                    <a:pt x="1580" y="1263"/>
                  </a:lnTo>
                  <a:lnTo>
                    <a:pt x="1586" y="1267"/>
                  </a:lnTo>
                  <a:lnTo>
                    <a:pt x="1591" y="1270"/>
                  </a:lnTo>
                  <a:lnTo>
                    <a:pt x="1598" y="1272"/>
                  </a:lnTo>
                  <a:lnTo>
                    <a:pt x="1606" y="1274"/>
                  </a:lnTo>
                  <a:lnTo>
                    <a:pt x="1614" y="1274"/>
                  </a:lnTo>
                  <a:lnTo>
                    <a:pt x="1620" y="1274"/>
                  </a:lnTo>
                  <a:lnTo>
                    <a:pt x="1626" y="1271"/>
                  </a:lnTo>
                  <a:lnTo>
                    <a:pt x="1631" y="1268"/>
                  </a:lnTo>
                  <a:lnTo>
                    <a:pt x="1635" y="1264"/>
                  </a:lnTo>
                  <a:lnTo>
                    <a:pt x="1639" y="1258"/>
                  </a:lnTo>
                  <a:lnTo>
                    <a:pt x="1642" y="1251"/>
                  </a:lnTo>
                  <a:lnTo>
                    <a:pt x="1643" y="1242"/>
                  </a:lnTo>
                  <a:lnTo>
                    <a:pt x="1644" y="1232"/>
                  </a:lnTo>
                  <a:lnTo>
                    <a:pt x="1644" y="1199"/>
                  </a:lnTo>
                  <a:lnTo>
                    <a:pt x="1644" y="1164"/>
                  </a:lnTo>
                  <a:lnTo>
                    <a:pt x="1643" y="1146"/>
                  </a:lnTo>
                  <a:lnTo>
                    <a:pt x="1642" y="1127"/>
                  </a:lnTo>
                  <a:lnTo>
                    <a:pt x="1638" y="1107"/>
                  </a:lnTo>
                  <a:lnTo>
                    <a:pt x="1632" y="1087"/>
                  </a:lnTo>
                  <a:lnTo>
                    <a:pt x="1630" y="1082"/>
                  </a:lnTo>
                  <a:lnTo>
                    <a:pt x="1628" y="1078"/>
                  </a:lnTo>
                  <a:lnTo>
                    <a:pt x="1626" y="1075"/>
                  </a:lnTo>
                  <a:lnTo>
                    <a:pt x="1623" y="1072"/>
                  </a:lnTo>
                  <a:lnTo>
                    <a:pt x="1616" y="1070"/>
                  </a:lnTo>
                  <a:lnTo>
                    <a:pt x="1608" y="1067"/>
                  </a:lnTo>
                  <a:lnTo>
                    <a:pt x="1602" y="1063"/>
                  </a:lnTo>
                  <a:lnTo>
                    <a:pt x="1595" y="1058"/>
                  </a:lnTo>
                  <a:lnTo>
                    <a:pt x="1592" y="1054"/>
                  </a:lnTo>
                  <a:lnTo>
                    <a:pt x="1591" y="1048"/>
                  </a:lnTo>
                  <a:lnTo>
                    <a:pt x="1590" y="1042"/>
                  </a:lnTo>
                  <a:lnTo>
                    <a:pt x="1590" y="1032"/>
                  </a:lnTo>
                  <a:lnTo>
                    <a:pt x="1591" y="1019"/>
                  </a:lnTo>
                  <a:lnTo>
                    <a:pt x="1594" y="1006"/>
                  </a:lnTo>
                  <a:lnTo>
                    <a:pt x="1598" y="994"/>
                  </a:lnTo>
                  <a:lnTo>
                    <a:pt x="1604" y="982"/>
                  </a:lnTo>
                  <a:lnTo>
                    <a:pt x="1611" y="971"/>
                  </a:lnTo>
                  <a:lnTo>
                    <a:pt x="1620" y="960"/>
                  </a:lnTo>
                  <a:lnTo>
                    <a:pt x="1628" y="950"/>
                  </a:lnTo>
                  <a:lnTo>
                    <a:pt x="1639" y="939"/>
                  </a:lnTo>
                  <a:lnTo>
                    <a:pt x="1659" y="919"/>
                  </a:lnTo>
                  <a:lnTo>
                    <a:pt x="1679" y="898"/>
                  </a:lnTo>
                  <a:lnTo>
                    <a:pt x="1688" y="886"/>
                  </a:lnTo>
                  <a:lnTo>
                    <a:pt x="1696" y="874"/>
                  </a:lnTo>
                  <a:lnTo>
                    <a:pt x="1704" y="860"/>
                  </a:lnTo>
                  <a:lnTo>
                    <a:pt x="1710" y="846"/>
                  </a:lnTo>
                  <a:lnTo>
                    <a:pt x="1704" y="84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8" name="Freeform 88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300913" y="1651000"/>
              <a:ext cx="1019175" cy="1295400"/>
            </a:xfrm>
            <a:custGeom>
              <a:avLst/>
              <a:gdLst/>
              <a:ahLst/>
              <a:cxnLst>
                <a:cxn ang="0">
                  <a:pos x="1634" y="3110"/>
                </a:cxn>
                <a:cxn ang="0">
                  <a:pos x="2372" y="3406"/>
                </a:cxn>
                <a:cxn ang="0">
                  <a:pos x="2278" y="3050"/>
                </a:cxn>
                <a:cxn ang="0">
                  <a:pos x="2149" y="2965"/>
                </a:cxn>
                <a:cxn ang="0">
                  <a:pos x="2131" y="2827"/>
                </a:cxn>
                <a:cxn ang="0">
                  <a:pos x="2222" y="2741"/>
                </a:cxn>
                <a:cxn ang="0">
                  <a:pos x="2091" y="2675"/>
                </a:cxn>
                <a:cxn ang="0">
                  <a:pos x="1978" y="2481"/>
                </a:cxn>
                <a:cxn ang="0">
                  <a:pos x="2045" y="2344"/>
                </a:cxn>
                <a:cxn ang="0">
                  <a:pos x="2001" y="2238"/>
                </a:cxn>
                <a:cxn ang="0">
                  <a:pos x="1746" y="2026"/>
                </a:cxn>
                <a:cxn ang="0">
                  <a:pos x="1775" y="1995"/>
                </a:cxn>
                <a:cxn ang="0">
                  <a:pos x="1841" y="1958"/>
                </a:cxn>
                <a:cxn ang="0">
                  <a:pos x="1658" y="1880"/>
                </a:cxn>
                <a:cxn ang="0">
                  <a:pos x="1538" y="1824"/>
                </a:cxn>
                <a:cxn ang="0">
                  <a:pos x="1497" y="1717"/>
                </a:cxn>
                <a:cxn ang="0">
                  <a:pos x="1418" y="1758"/>
                </a:cxn>
                <a:cxn ang="0">
                  <a:pos x="1429" y="1862"/>
                </a:cxn>
                <a:cxn ang="0">
                  <a:pos x="1326" y="1803"/>
                </a:cxn>
                <a:cxn ang="0">
                  <a:pos x="1058" y="1407"/>
                </a:cxn>
                <a:cxn ang="0">
                  <a:pos x="1088" y="1309"/>
                </a:cxn>
                <a:cxn ang="0">
                  <a:pos x="1133" y="1239"/>
                </a:cxn>
                <a:cxn ang="0">
                  <a:pos x="1114" y="1054"/>
                </a:cxn>
                <a:cxn ang="0">
                  <a:pos x="1220" y="1150"/>
                </a:cxn>
                <a:cxn ang="0">
                  <a:pos x="1218" y="1081"/>
                </a:cxn>
                <a:cxn ang="0">
                  <a:pos x="1146" y="886"/>
                </a:cxn>
                <a:cxn ang="0">
                  <a:pos x="1250" y="714"/>
                </a:cxn>
                <a:cxn ang="0">
                  <a:pos x="1414" y="686"/>
                </a:cxn>
                <a:cxn ang="0">
                  <a:pos x="1282" y="400"/>
                </a:cxn>
                <a:cxn ang="0">
                  <a:pos x="1114" y="15"/>
                </a:cxn>
                <a:cxn ang="0">
                  <a:pos x="1016" y="12"/>
                </a:cxn>
                <a:cxn ang="0">
                  <a:pos x="948" y="249"/>
                </a:cxn>
                <a:cxn ang="0">
                  <a:pos x="933" y="396"/>
                </a:cxn>
                <a:cxn ang="0">
                  <a:pos x="760" y="447"/>
                </a:cxn>
                <a:cxn ang="0">
                  <a:pos x="635" y="511"/>
                </a:cxn>
                <a:cxn ang="0">
                  <a:pos x="579" y="424"/>
                </a:cxn>
                <a:cxn ang="0">
                  <a:pos x="513" y="341"/>
                </a:cxn>
                <a:cxn ang="0">
                  <a:pos x="347" y="431"/>
                </a:cxn>
                <a:cxn ang="0">
                  <a:pos x="203" y="564"/>
                </a:cxn>
                <a:cxn ang="0">
                  <a:pos x="89" y="704"/>
                </a:cxn>
                <a:cxn ang="0">
                  <a:pos x="20" y="748"/>
                </a:cxn>
                <a:cxn ang="0">
                  <a:pos x="0" y="856"/>
                </a:cxn>
                <a:cxn ang="0">
                  <a:pos x="105" y="882"/>
                </a:cxn>
                <a:cxn ang="0">
                  <a:pos x="127" y="985"/>
                </a:cxn>
                <a:cxn ang="0">
                  <a:pos x="313" y="1136"/>
                </a:cxn>
                <a:cxn ang="0">
                  <a:pos x="469" y="1198"/>
                </a:cxn>
                <a:cxn ang="0">
                  <a:pos x="524" y="1285"/>
                </a:cxn>
                <a:cxn ang="0">
                  <a:pos x="572" y="1299"/>
                </a:cxn>
                <a:cxn ang="0">
                  <a:pos x="629" y="1234"/>
                </a:cxn>
                <a:cxn ang="0">
                  <a:pos x="473" y="1070"/>
                </a:cxn>
                <a:cxn ang="0">
                  <a:pos x="569" y="913"/>
                </a:cxn>
                <a:cxn ang="0">
                  <a:pos x="580" y="1009"/>
                </a:cxn>
                <a:cxn ang="0">
                  <a:pos x="653" y="1156"/>
                </a:cxn>
                <a:cxn ang="0">
                  <a:pos x="829" y="1310"/>
                </a:cxn>
                <a:cxn ang="0">
                  <a:pos x="893" y="1710"/>
                </a:cxn>
                <a:cxn ang="0">
                  <a:pos x="1052" y="2156"/>
                </a:cxn>
                <a:cxn ang="0">
                  <a:pos x="1046" y="2374"/>
                </a:cxn>
                <a:cxn ang="0">
                  <a:pos x="1084" y="2479"/>
                </a:cxn>
                <a:cxn ang="0">
                  <a:pos x="1166" y="2631"/>
                </a:cxn>
                <a:cxn ang="0">
                  <a:pos x="1262" y="2811"/>
                </a:cxn>
              </a:cxnLst>
              <a:rect l="0" t="0" r="r" b="b"/>
              <a:pathLst>
                <a:path w="2375" h="3468">
                  <a:moveTo>
                    <a:pt x="1316" y="2865"/>
                  </a:moveTo>
                  <a:lnTo>
                    <a:pt x="1324" y="2875"/>
                  </a:lnTo>
                  <a:lnTo>
                    <a:pt x="1348" y="2897"/>
                  </a:lnTo>
                  <a:lnTo>
                    <a:pt x="1385" y="2932"/>
                  </a:lnTo>
                  <a:lnTo>
                    <a:pt x="1433" y="2973"/>
                  </a:lnTo>
                  <a:lnTo>
                    <a:pt x="1462" y="2996"/>
                  </a:lnTo>
                  <a:lnTo>
                    <a:pt x="1493" y="3020"/>
                  </a:lnTo>
                  <a:lnTo>
                    <a:pt x="1525" y="3042"/>
                  </a:lnTo>
                  <a:lnTo>
                    <a:pt x="1560" y="3066"/>
                  </a:lnTo>
                  <a:lnTo>
                    <a:pt x="1597" y="3089"/>
                  </a:lnTo>
                  <a:lnTo>
                    <a:pt x="1634" y="3110"/>
                  </a:lnTo>
                  <a:lnTo>
                    <a:pt x="1673" y="3130"/>
                  </a:lnTo>
                  <a:lnTo>
                    <a:pt x="1713" y="3149"/>
                  </a:lnTo>
                  <a:lnTo>
                    <a:pt x="1783" y="3180"/>
                  </a:lnTo>
                  <a:lnTo>
                    <a:pt x="1862" y="3217"/>
                  </a:lnTo>
                  <a:lnTo>
                    <a:pt x="1950" y="3260"/>
                  </a:lnTo>
                  <a:lnTo>
                    <a:pt x="2041" y="3304"/>
                  </a:lnTo>
                  <a:lnTo>
                    <a:pt x="2131" y="3349"/>
                  </a:lnTo>
                  <a:lnTo>
                    <a:pt x="2219" y="3393"/>
                  </a:lnTo>
                  <a:lnTo>
                    <a:pt x="2302" y="3433"/>
                  </a:lnTo>
                  <a:lnTo>
                    <a:pt x="2375" y="3468"/>
                  </a:lnTo>
                  <a:lnTo>
                    <a:pt x="2372" y="3406"/>
                  </a:lnTo>
                  <a:lnTo>
                    <a:pt x="2367" y="3350"/>
                  </a:lnTo>
                  <a:lnTo>
                    <a:pt x="2359" y="3297"/>
                  </a:lnTo>
                  <a:lnTo>
                    <a:pt x="2350" y="3248"/>
                  </a:lnTo>
                  <a:lnTo>
                    <a:pt x="2343" y="3225"/>
                  </a:lnTo>
                  <a:lnTo>
                    <a:pt x="2338" y="3202"/>
                  </a:lnTo>
                  <a:lnTo>
                    <a:pt x="2331" y="3181"/>
                  </a:lnTo>
                  <a:lnTo>
                    <a:pt x="2325" y="3160"/>
                  </a:lnTo>
                  <a:lnTo>
                    <a:pt x="2309" y="3120"/>
                  </a:lnTo>
                  <a:lnTo>
                    <a:pt x="2291" y="3082"/>
                  </a:lnTo>
                  <a:lnTo>
                    <a:pt x="2285" y="3065"/>
                  </a:lnTo>
                  <a:lnTo>
                    <a:pt x="2278" y="3050"/>
                  </a:lnTo>
                  <a:lnTo>
                    <a:pt x="2270" y="3040"/>
                  </a:lnTo>
                  <a:lnTo>
                    <a:pt x="2263" y="3032"/>
                  </a:lnTo>
                  <a:lnTo>
                    <a:pt x="2255" y="3025"/>
                  </a:lnTo>
                  <a:lnTo>
                    <a:pt x="2247" y="3020"/>
                  </a:lnTo>
                  <a:lnTo>
                    <a:pt x="2238" y="3016"/>
                  </a:lnTo>
                  <a:lnTo>
                    <a:pt x="2229" y="3012"/>
                  </a:lnTo>
                  <a:lnTo>
                    <a:pt x="2210" y="3005"/>
                  </a:lnTo>
                  <a:lnTo>
                    <a:pt x="2187" y="2994"/>
                  </a:lnTo>
                  <a:lnTo>
                    <a:pt x="2175" y="2986"/>
                  </a:lnTo>
                  <a:lnTo>
                    <a:pt x="2163" y="2977"/>
                  </a:lnTo>
                  <a:lnTo>
                    <a:pt x="2149" y="2965"/>
                  </a:lnTo>
                  <a:lnTo>
                    <a:pt x="2135" y="2951"/>
                  </a:lnTo>
                  <a:lnTo>
                    <a:pt x="2130" y="2943"/>
                  </a:lnTo>
                  <a:lnTo>
                    <a:pt x="2126" y="2933"/>
                  </a:lnTo>
                  <a:lnTo>
                    <a:pt x="2123" y="2921"/>
                  </a:lnTo>
                  <a:lnTo>
                    <a:pt x="2122" y="2909"/>
                  </a:lnTo>
                  <a:lnTo>
                    <a:pt x="2122" y="2896"/>
                  </a:lnTo>
                  <a:lnTo>
                    <a:pt x="2122" y="2883"/>
                  </a:lnTo>
                  <a:lnTo>
                    <a:pt x="2123" y="2868"/>
                  </a:lnTo>
                  <a:lnTo>
                    <a:pt x="2125" y="2853"/>
                  </a:lnTo>
                  <a:lnTo>
                    <a:pt x="2129" y="2840"/>
                  </a:lnTo>
                  <a:lnTo>
                    <a:pt x="2131" y="2827"/>
                  </a:lnTo>
                  <a:lnTo>
                    <a:pt x="2137" y="2815"/>
                  </a:lnTo>
                  <a:lnTo>
                    <a:pt x="2141" y="2803"/>
                  </a:lnTo>
                  <a:lnTo>
                    <a:pt x="2146" y="2793"/>
                  </a:lnTo>
                  <a:lnTo>
                    <a:pt x="2153" y="2785"/>
                  </a:lnTo>
                  <a:lnTo>
                    <a:pt x="2158" y="2779"/>
                  </a:lnTo>
                  <a:lnTo>
                    <a:pt x="2165" y="2776"/>
                  </a:lnTo>
                  <a:lnTo>
                    <a:pt x="2194" y="2763"/>
                  </a:lnTo>
                  <a:lnTo>
                    <a:pt x="2211" y="2753"/>
                  </a:lnTo>
                  <a:lnTo>
                    <a:pt x="2217" y="2749"/>
                  </a:lnTo>
                  <a:lnTo>
                    <a:pt x="2221" y="2745"/>
                  </a:lnTo>
                  <a:lnTo>
                    <a:pt x="2222" y="2741"/>
                  </a:lnTo>
                  <a:lnTo>
                    <a:pt x="2222" y="2739"/>
                  </a:lnTo>
                  <a:lnTo>
                    <a:pt x="2219" y="2736"/>
                  </a:lnTo>
                  <a:lnTo>
                    <a:pt x="2215" y="2732"/>
                  </a:lnTo>
                  <a:lnTo>
                    <a:pt x="2210" y="2729"/>
                  </a:lnTo>
                  <a:lnTo>
                    <a:pt x="2203" y="2727"/>
                  </a:lnTo>
                  <a:lnTo>
                    <a:pt x="2186" y="2720"/>
                  </a:lnTo>
                  <a:lnTo>
                    <a:pt x="2166" y="2712"/>
                  </a:lnTo>
                  <a:lnTo>
                    <a:pt x="2142" y="2701"/>
                  </a:lnTo>
                  <a:lnTo>
                    <a:pt x="2117" y="2689"/>
                  </a:lnTo>
                  <a:lnTo>
                    <a:pt x="2105" y="2683"/>
                  </a:lnTo>
                  <a:lnTo>
                    <a:pt x="2091" y="2675"/>
                  </a:lnTo>
                  <a:lnTo>
                    <a:pt x="2078" y="2665"/>
                  </a:lnTo>
                  <a:lnTo>
                    <a:pt x="2066" y="2656"/>
                  </a:lnTo>
                  <a:lnTo>
                    <a:pt x="2054" y="2645"/>
                  </a:lnTo>
                  <a:lnTo>
                    <a:pt x="2042" y="2633"/>
                  </a:lnTo>
                  <a:lnTo>
                    <a:pt x="2031" y="2620"/>
                  </a:lnTo>
                  <a:lnTo>
                    <a:pt x="2021" y="2605"/>
                  </a:lnTo>
                  <a:lnTo>
                    <a:pt x="2011" y="2591"/>
                  </a:lnTo>
                  <a:lnTo>
                    <a:pt x="2003" y="2573"/>
                  </a:lnTo>
                  <a:lnTo>
                    <a:pt x="1997" y="2555"/>
                  </a:lnTo>
                  <a:lnTo>
                    <a:pt x="1990" y="2535"/>
                  </a:lnTo>
                  <a:lnTo>
                    <a:pt x="1978" y="2481"/>
                  </a:lnTo>
                  <a:lnTo>
                    <a:pt x="1971" y="2451"/>
                  </a:lnTo>
                  <a:lnTo>
                    <a:pt x="1970" y="2444"/>
                  </a:lnTo>
                  <a:lnTo>
                    <a:pt x="1971" y="2439"/>
                  </a:lnTo>
                  <a:lnTo>
                    <a:pt x="1973" y="2433"/>
                  </a:lnTo>
                  <a:lnTo>
                    <a:pt x="1975" y="2428"/>
                  </a:lnTo>
                  <a:lnTo>
                    <a:pt x="1983" y="2416"/>
                  </a:lnTo>
                  <a:lnTo>
                    <a:pt x="1997" y="2401"/>
                  </a:lnTo>
                  <a:lnTo>
                    <a:pt x="2013" y="2387"/>
                  </a:lnTo>
                  <a:lnTo>
                    <a:pt x="2026" y="2371"/>
                  </a:lnTo>
                  <a:lnTo>
                    <a:pt x="2037" y="2358"/>
                  </a:lnTo>
                  <a:lnTo>
                    <a:pt x="2045" y="2344"/>
                  </a:lnTo>
                  <a:lnTo>
                    <a:pt x="2051" y="2331"/>
                  </a:lnTo>
                  <a:lnTo>
                    <a:pt x="2054" y="2319"/>
                  </a:lnTo>
                  <a:lnTo>
                    <a:pt x="2055" y="2308"/>
                  </a:lnTo>
                  <a:lnTo>
                    <a:pt x="2054" y="2298"/>
                  </a:lnTo>
                  <a:lnTo>
                    <a:pt x="2050" y="2287"/>
                  </a:lnTo>
                  <a:lnTo>
                    <a:pt x="2046" y="2278"/>
                  </a:lnTo>
                  <a:lnTo>
                    <a:pt x="2039" y="2268"/>
                  </a:lnTo>
                  <a:lnTo>
                    <a:pt x="2031" y="2260"/>
                  </a:lnTo>
                  <a:lnTo>
                    <a:pt x="2022" y="2252"/>
                  </a:lnTo>
                  <a:lnTo>
                    <a:pt x="2011" y="2244"/>
                  </a:lnTo>
                  <a:lnTo>
                    <a:pt x="2001" y="2238"/>
                  </a:lnTo>
                  <a:lnTo>
                    <a:pt x="1989" y="2231"/>
                  </a:lnTo>
                  <a:lnTo>
                    <a:pt x="1934" y="2206"/>
                  </a:lnTo>
                  <a:lnTo>
                    <a:pt x="1879" y="2182"/>
                  </a:lnTo>
                  <a:lnTo>
                    <a:pt x="1854" y="2170"/>
                  </a:lnTo>
                  <a:lnTo>
                    <a:pt x="1831" y="2158"/>
                  </a:lnTo>
                  <a:lnTo>
                    <a:pt x="1823" y="2152"/>
                  </a:lnTo>
                  <a:lnTo>
                    <a:pt x="1815" y="2146"/>
                  </a:lnTo>
                  <a:lnTo>
                    <a:pt x="1809" y="2139"/>
                  </a:lnTo>
                  <a:lnTo>
                    <a:pt x="1803" y="2131"/>
                  </a:lnTo>
                  <a:lnTo>
                    <a:pt x="1770" y="2070"/>
                  </a:lnTo>
                  <a:lnTo>
                    <a:pt x="1746" y="2026"/>
                  </a:lnTo>
                  <a:lnTo>
                    <a:pt x="1738" y="2010"/>
                  </a:lnTo>
                  <a:lnTo>
                    <a:pt x="1733" y="1996"/>
                  </a:lnTo>
                  <a:lnTo>
                    <a:pt x="1729" y="1986"/>
                  </a:lnTo>
                  <a:lnTo>
                    <a:pt x="1727" y="1978"/>
                  </a:lnTo>
                  <a:lnTo>
                    <a:pt x="1727" y="1972"/>
                  </a:lnTo>
                  <a:lnTo>
                    <a:pt x="1729" y="1970"/>
                  </a:lnTo>
                  <a:lnTo>
                    <a:pt x="1731" y="1970"/>
                  </a:lnTo>
                  <a:lnTo>
                    <a:pt x="1735" y="1970"/>
                  </a:lnTo>
                  <a:lnTo>
                    <a:pt x="1746" y="1975"/>
                  </a:lnTo>
                  <a:lnTo>
                    <a:pt x="1759" y="1984"/>
                  </a:lnTo>
                  <a:lnTo>
                    <a:pt x="1775" y="1995"/>
                  </a:lnTo>
                  <a:lnTo>
                    <a:pt x="1793" y="2003"/>
                  </a:lnTo>
                  <a:lnTo>
                    <a:pt x="1801" y="2007"/>
                  </a:lnTo>
                  <a:lnTo>
                    <a:pt x="1809" y="2010"/>
                  </a:lnTo>
                  <a:lnTo>
                    <a:pt x="1815" y="2011"/>
                  </a:lnTo>
                  <a:lnTo>
                    <a:pt x="1822" y="2010"/>
                  </a:lnTo>
                  <a:lnTo>
                    <a:pt x="1829" y="2007"/>
                  </a:lnTo>
                  <a:lnTo>
                    <a:pt x="1833" y="2003"/>
                  </a:lnTo>
                  <a:lnTo>
                    <a:pt x="1837" y="1996"/>
                  </a:lnTo>
                  <a:lnTo>
                    <a:pt x="1839" y="1986"/>
                  </a:lnTo>
                  <a:lnTo>
                    <a:pt x="1841" y="1974"/>
                  </a:lnTo>
                  <a:lnTo>
                    <a:pt x="1841" y="1958"/>
                  </a:lnTo>
                  <a:lnTo>
                    <a:pt x="1838" y="1938"/>
                  </a:lnTo>
                  <a:lnTo>
                    <a:pt x="1834" y="1914"/>
                  </a:lnTo>
                  <a:lnTo>
                    <a:pt x="1822" y="1906"/>
                  </a:lnTo>
                  <a:lnTo>
                    <a:pt x="1809" y="1898"/>
                  </a:lnTo>
                  <a:lnTo>
                    <a:pt x="1794" y="1891"/>
                  </a:lnTo>
                  <a:lnTo>
                    <a:pt x="1777" y="1886"/>
                  </a:lnTo>
                  <a:lnTo>
                    <a:pt x="1757" y="1882"/>
                  </a:lnTo>
                  <a:lnTo>
                    <a:pt x="1735" y="1880"/>
                  </a:lnTo>
                  <a:lnTo>
                    <a:pt x="1711" y="1882"/>
                  </a:lnTo>
                  <a:lnTo>
                    <a:pt x="1683" y="1884"/>
                  </a:lnTo>
                  <a:lnTo>
                    <a:pt x="1658" y="1880"/>
                  </a:lnTo>
                  <a:lnTo>
                    <a:pt x="1634" y="1875"/>
                  </a:lnTo>
                  <a:lnTo>
                    <a:pt x="1614" y="1871"/>
                  </a:lnTo>
                  <a:lnTo>
                    <a:pt x="1595" y="1866"/>
                  </a:lnTo>
                  <a:lnTo>
                    <a:pt x="1578" y="1859"/>
                  </a:lnTo>
                  <a:lnTo>
                    <a:pt x="1564" y="1850"/>
                  </a:lnTo>
                  <a:lnTo>
                    <a:pt x="1557" y="1844"/>
                  </a:lnTo>
                  <a:lnTo>
                    <a:pt x="1550" y="1838"/>
                  </a:lnTo>
                  <a:lnTo>
                    <a:pt x="1545" y="1831"/>
                  </a:lnTo>
                  <a:lnTo>
                    <a:pt x="1538" y="1824"/>
                  </a:lnTo>
                  <a:lnTo>
                    <a:pt x="1545" y="1830"/>
                  </a:lnTo>
                  <a:lnTo>
                    <a:pt x="1538" y="1824"/>
                  </a:lnTo>
                  <a:lnTo>
                    <a:pt x="1534" y="1816"/>
                  </a:lnTo>
                  <a:lnTo>
                    <a:pt x="1530" y="1808"/>
                  </a:lnTo>
                  <a:lnTo>
                    <a:pt x="1526" y="1798"/>
                  </a:lnTo>
                  <a:lnTo>
                    <a:pt x="1521" y="1787"/>
                  </a:lnTo>
                  <a:lnTo>
                    <a:pt x="1518" y="1775"/>
                  </a:lnTo>
                  <a:lnTo>
                    <a:pt x="1514" y="1761"/>
                  </a:lnTo>
                  <a:lnTo>
                    <a:pt x="1512" y="1745"/>
                  </a:lnTo>
                  <a:lnTo>
                    <a:pt x="1509" y="1727"/>
                  </a:lnTo>
                  <a:lnTo>
                    <a:pt x="1506" y="1726"/>
                  </a:lnTo>
                  <a:lnTo>
                    <a:pt x="1501" y="1719"/>
                  </a:lnTo>
                  <a:lnTo>
                    <a:pt x="1497" y="1717"/>
                  </a:lnTo>
                  <a:lnTo>
                    <a:pt x="1493" y="1714"/>
                  </a:lnTo>
                  <a:lnTo>
                    <a:pt x="1488" y="1711"/>
                  </a:lnTo>
                  <a:lnTo>
                    <a:pt x="1482" y="1709"/>
                  </a:lnTo>
                  <a:lnTo>
                    <a:pt x="1476" y="1709"/>
                  </a:lnTo>
                  <a:lnTo>
                    <a:pt x="1468" y="1709"/>
                  </a:lnTo>
                  <a:lnTo>
                    <a:pt x="1461" y="1711"/>
                  </a:lnTo>
                  <a:lnTo>
                    <a:pt x="1453" y="1715"/>
                  </a:lnTo>
                  <a:lnTo>
                    <a:pt x="1445" y="1722"/>
                  </a:lnTo>
                  <a:lnTo>
                    <a:pt x="1436" y="1731"/>
                  </a:lnTo>
                  <a:lnTo>
                    <a:pt x="1428" y="1743"/>
                  </a:lnTo>
                  <a:lnTo>
                    <a:pt x="1418" y="1758"/>
                  </a:lnTo>
                  <a:lnTo>
                    <a:pt x="1416" y="1765"/>
                  </a:lnTo>
                  <a:lnTo>
                    <a:pt x="1414" y="1771"/>
                  </a:lnTo>
                  <a:lnTo>
                    <a:pt x="1414" y="1781"/>
                  </a:lnTo>
                  <a:lnTo>
                    <a:pt x="1417" y="1790"/>
                  </a:lnTo>
                  <a:lnTo>
                    <a:pt x="1422" y="1808"/>
                  </a:lnTo>
                  <a:lnTo>
                    <a:pt x="1429" y="1828"/>
                  </a:lnTo>
                  <a:lnTo>
                    <a:pt x="1432" y="1836"/>
                  </a:lnTo>
                  <a:lnTo>
                    <a:pt x="1433" y="1846"/>
                  </a:lnTo>
                  <a:lnTo>
                    <a:pt x="1433" y="1852"/>
                  </a:lnTo>
                  <a:lnTo>
                    <a:pt x="1430" y="1859"/>
                  </a:lnTo>
                  <a:lnTo>
                    <a:pt x="1429" y="1862"/>
                  </a:lnTo>
                  <a:lnTo>
                    <a:pt x="1426" y="1863"/>
                  </a:lnTo>
                  <a:lnTo>
                    <a:pt x="1422" y="1864"/>
                  </a:lnTo>
                  <a:lnTo>
                    <a:pt x="1418" y="1866"/>
                  </a:lnTo>
                  <a:lnTo>
                    <a:pt x="1408" y="1867"/>
                  </a:lnTo>
                  <a:lnTo>
                    <a:pt x="1394" y="1866"/>
                  </a:lnTo>
                  <a:lnTo>
                    <a:pt x="1386" y="1863"/>
                  </a:lnTo>
                  <a:lnTo>
                    <a:pt x="1378" y="1859"/>
                  </a:lnTo>
                  <a:lnTo>
                    <a:pt x="1370" y="1852"/>
                  </a:lnTo>
                  <a:lnTo>
                    <a:pt x="1362" y="1844"/>
                  </a:lnTo>
                  <a:lnTo>
                    <a:pt x="1345" y="1826"/>
                  </a:lnTo>
                  <a:lnTo>
                    <a:pt x="1326" y="1803"/>
                  </a:lnTo>
                  <a:lnTo>
                    <a:pt x="1306" y="1775"/>
                  </a:lnTo>
                  <a:lnTo>
                    <a:pt x="1285" y="1745"/>
                  </a:lnTo>
                  <a:lnTo>
                    <a:pt x="1265" y="1713"/>
                  </a:lnTo>
                  <a:lnTo>
                    <a:pt x="1244" y="1678"/>
                  </a:lnTo>
                  <a:lnTo>
                    <a:pt x="1198" y="1606"/>
                  </a:lnTo>
                  <a:lnTo>
                    <a:pt x="1154" y="1535"/>
                  </a:lnTo>
                  <a:lnTo>
                    <a:pt x="1133" y="1502"/>
                  </a:lnTo>
                  <a:lnTo>
                    <a:pt x="1110" y="1471"/>
                  </a:lnTo>
                  <a:lnTo>
                    <a:pt x="1090" y="1445"/>
                  </a:lnTo>
                  <a:lnTo>
                    <a:pt x="1069" y="1421"/>
                  </a:lnTo>
                  <a:lnTo>
                    <a:pt x="1058" y="1407"/>
                  </a:lnTo>
                  <a:lnTo>
                    <a:pt x="1050" y="1395"/>
                  </a:lnTo>
                  <a:lnTo>
                    <a:pt x="1045" y="1383"/>
                  </a:lnTo>
                  <a:lnTo>
                    <a:pt x="1041" y="1373"/>
                  </a:lnTo>
                  <a:lnTo>
                    <a:pt x="1041" y="1362"/>
                  </a:lnTo>
                  <a:lnTo>
                    <a:pt x="1042" y="1353"/>
                  </a:lnTo>
                  <a:lnTo>
                    <a:pt x="1045" y="1343"/>
                  </a:lnTo>
                  <a:lnTo>
                    <a:pt x="1050" y="1335"/>
                  </a:lnTo>
                  <a:lnTo>
                    <a:pt x="1058" y="1327"/>
                  </a:lnTo>
                  <a:lnTo>
                    <a:pt x="1066" y="1321"/>
                  </a:lnTo>
                  <a:lnTo>
                    <a:pt x="1077" y="1314"/>
                  </a:lnTo>
                  <a:lnTo>
                    <a:pt x="1088" y="1309"/>
                  </a:lnTo>
                  <a:lnTo>
                    <a:pt x="1100" y="1305"/>
                  </a:lnTo>
                  <a:lnTo>
                    <a:pt x="1113" y="1301"/>
                  </a:lnTo>
                  <a:lnTo>
                    <a:pt x="1126" y="1297"/>
                  </a:lnTo>
                  <a:lnTo>
                    <a:pt x="1141" y="1294"/>
                  </a:lnTo>
                  <a:lnTo>
                    <a:pt x="1145" y="1282"/>
                  </a:lnTo>
                  <a:lnTo>
                    <a:pt x="1146" y="1270"/>
                  </a:lnTo>
                  <a:lnTo>
                    <a:pt x="1145" y="1265"/>
                  </a:lnTo>
                  <a:lnTo>
                    <a:pt x="1144" y="1259"/>
                  </a:lnTo>
                  <a:lnTo>
                    <a:pt x="1142" y="1254"/>
                  </a:lnTo>
                  <a:lnTo>
                    <a:pt x="1140" y="1249"/>
                  </a:lnTo>
                  <a:lnTo>
                    <a:pt x="1133" y="1239"/>
                  </a:lnTo>
                  <a:lnTo>
                    <a:pt x="1122" y="1229"/>
                  </a:lnTo>
                  <a:lnTo>
                    <a:pt x="1109" y="1217"/>
                  </a:lnTo>
                  <a:lnTo>
                    <a:pt x="1093" y="1204"/>
                  </a:lnTo>
                  <a:lnTo>
                    <a:pt x="1093" y="1065"/>
                  </a:lnTo>
                  <a:lnTo>
                    <a:pt x="1096" y="1061"/>
                  </a:lnTo>
                  <a:lnTo>
                    <a:pt x="1098" y="1057"/>
                  </a:lnTo>
                  <a:lnTo>
                    <a:pt x="1101" y="1056"/>
                  </a:lnTo>
                  <a:lnTo>
                    <a:pt x="1104" y="1053"/>
                  </a:lnTo>
                  <a:lnTo>
                    <a:pt x="1108" y="1053"/>
                  </a:lnTo>
                  <a:lnTo>
                    <a:pt x="1110" y="1053"/>
                  </a:lnTo>
                  <a:lnTo>
                    <a:pt x="1114" y="1054"/>
                  </a:lnTo>
                  <a:lnTo>
                    <a:pt x="1118" y="1056"/>
                  </a:lnTo>
                  <a:lnTo>
                    <a:pt x="1126" y="1061"/>
                  </a:lnTo>
                  <a:lnTo>
                    <a:pt x="1134" y="1069"/>
                  </a:lnTo>
                  <a:lnTo>
                    <a:pt x="1142" y="1077"/>
                  </a:lnTo>
                  <a:lnTo>
                    <a:pt x="1152" y="1088"/>
                  </a:lnTo>
                  <a:lnTo>
                    <a:pt x="1170" y="1109"/>
                  </a:lnTo>
                  <a:lnTo>
                    <a:pt x="1188" y="1129"/>
                  </a:lnTo>
                  <a:lnTo>
                    <a:pt x="1197" y="1137"/>
                  </a:lnTo>
                  <a:lnTo>
                    <a:pt x="1205" y="1144"/>
                  </a:lnTo>
                  <a:lnTo>
                    <a:pt x="1213" y="1149"/>
                  </a:lnTo>
                  <a:lnTo>
                    <a:pt x="1220" y="1150"/>
                  </a:lnTo>
                  <a:lnTo>
                    <a:pt x="1226" y="1148"/>
                  </a:lnTo>
                  <a:lnTo>
                    <a:pt x="1230" y="1145"/>
                  </a:lnTo>
                  <a:lnTo>
                    <a:pt x="1234" y="1142"/>
                  </a:lnTo>
                  <a:lnTo>
                    <a:pt x="1237" y="1138"/>
                  </a:lnTo>
                  <a:lnTo>
                    <a:pt x="1238" y="1134"/>
                  </a:lnTo>
                  <a:lnTo>
                    <a:pt x="1240" y="1130"/>
                  </a:lnTo>
                  <a:lnTo>
                    <a:pt x="1240" y="1125"/>
                  </a:lnTo>
                  <a:lnTo>
                    <a:pt x="1238" y="1120"/>
                  </a:lnTo>
                  <a:lnTo>
                    <a:pt x="1233" y="1108"/>
                  </a:lnTo>
                  <a:lnTo>
                    <a:pt x="1226" y="1094"/>
                  </a:lnTo>
                  <a:lnTo>
                    <a:pt x="1218" y="1081"/>
                  </a:lnTo>
                  <a:lnTo>
                    <a:pt x="1208" y="1065"/>
                  </a:lnTo>
                  <a:lnTo>
                    <a:pt x="1185" y="1034"/>
                  </a:lnTo>
                  <a:lnTo>
                    <a:pt x="1164" y="1002"/>
                  </a:lnTo>
                  <a:lnTo>
                    <a:pt x="1154" y="988"/>
                  </a:lnTo>
                  <a:lnTo>
                    <a:pt x="1148" y="972"/>
                  </a:lnTo>
                  <a:lnTo>
                    <a:pt x="1145" y="965"/>
                  </a:lnTo>
                  <a:lnTo>
                    <a:pt x="1144" y="958"/>
                  </a:lnTo>
                  <a:lnTo>
                    <a:pt x="1142" y="952"/>
                  </a:lnTo>
                  <a:lnTo>
                    <a:pt x="1141" y="945"/>
                  </a:lnTo>
                  <a:lnTo>
                    <a:pt x="1142" y="914"/>
                  </a:lnTo>
                  <a:lnTo>
                    <a:pt x="1146" y="886"/>
                  </a:lnTo>
                  <a:lnTo>
                    <a:pt x="1150" y="860"/>
                  </a:lnTo>
                  <a:lnTo>
                    <a:pt x="1156" y="837"/>
                  </a:lnTo>
                  <a:lnTo>
                    <a:pt x="1164" y="816"/>
                  </a:lnTo>
                  <a:lnTo>
                    <a:pt x="1172" y="797"/>
                  </a:lnTo>
                  <a:lnTo>
                    <a:pt x="1181" y="780"/>
                  </a:lnTo>
                  <a:lnTo>
                    <a:pt x="1190" y="765"/>
                  </a:lnTo>
                  <a:lnTo>
                    <a:pt x="1201" y="752"/>
                  </a:lnTo>
                  <a:lnTo>
                    <a:pt x="1213" y="740"/>
                  </a:lnTo>
                  <a:lnTo>
                    <a:pt x="1225" y="730"/>
                  </a:lnTo>
                  <a:lnTo>
                    <a:pt x="1238" y="721"/>
                  </a:lnTo>
                  <a:lnTo>
                    <a:pt x="1250" y="714"/>
                  </a:lnTo>
                  <a:lnTo>
                    <a:pt x="1264" y="708"/>
                  </a:lnTo>
                  <a:lnTo>
                    <a:pt x="1277" y="704"/>
                  </a:lnTo>
                  <a:lnTo>
                    <a:pt x="1290" y="700"/>
                  </a:lnTo>
                  <a:lnTo>
                    <a:pt x="1317" y="694"/>
                  </a:lnTo>
                  <a:lnTo>
                    <a:pt x="1341" y="692"/>
                  </a:lnTo>
                  <a:lnTo>
                    <a:pt x="1364" y="692"/>
                  </a:lnTo>
                  <a:lnTo>
                    <a:pt x="1384" y="690"/>
                  </a:lnTo>
                  <a:lnTo>
                    <a:pt x="1400" y="690"/>
                  </a:lnTo>
                  <a:lnTo>
                    <a:pt x="1410" y="689"/>
                  </a:lnTo>
                  <a:lnTo>
                    <a:pt x="1413" y="688"/>
                  </a:lnTo>
                  <a:lnTo>
                    <a:pt x="1414" y="686"/>
                  </a:lnTo>
                  <a:lnTo>
                    <a:pt x="1414" y="684"/>
                  </a:lnTo>
                  <a:lnTo>
                    <a:pt x="1413" y="680"/>
                  </a:lnTo>
                  <a:lnTo>
                    <a:pt x="1400" y="662"/>
                  </a:lnTo>
                  <a:lnTo>
                    <a:pt x="1386" y="641"/>
                  </a:lnTo>
                  <a:lnTo>
                    <a:pt x="1373" y="617"/>
                  </a:lnTo>
                  <a:lnTo>
                    <a:pt x="1358" y="589"/>
                  </a:lnTo>
                  <a:lnTo>
                    <a:pt x="1344" y="557"/>
                  </a:lnTo>
                  <a:lnTo>
                    <a:pt x="1329" y="523"/>
                  </a:lnTo>
                  <a:lnTo>
                    <a:pt x="1313" y="485"/>
                  </a:lnTo>
                  <a:lnTo>
                    <a:pt x="1298" y="444"/>
                  </a:lnTo>
                  <a:lnTo>
                    <a:pt x="1282" y="400"/>
                  </a:lnTo>
                  <a:lnTo>
                    <a:pt x="1266" y="352"/>
                  </a:lnTo>
                  <a:lnTo>
                    <a:pt x="1249" y="301"/>
                  </a:lnTo>
                  <a:lnTo>
                    <a:pt x="1233" y="247"/>
                  </a:lnTo>
                  <a:lnTo>
                    <a:pt x="1216" y="189"/>
                  </a:lnTo>
                  <a:lnTo>
                    <a:pt x="1200" y="129"/>
                  </a:lnTo>
                  <a:lnTo>
                    <a:pt x="1182" y="65"/>
                  </a:lnTo>
                  <a:lnTo>
                    <a:pt x="1165" y="0"/>
                  </a:lnTo>
                  <a:lnTo>
                    <a:pt x="1150" y="2"/>
                  </a:lnTo>
                  <a:lnTo>
                    <a:pt x="1138" y="4"/>
                  </a:lnTo>
                  <a:lnTo>
                    <a:pt x="1126" y="10"/>
                  </a:lnTo>
                  <a:lnTo>
                    <a:pt x="1114" y="15"/>
                  </a:lnTo>
                  <a:lnTo>
                    <a:pt x="1104" y="20"/>
                  </a:lnTo>
                  <a:lnTo>
                    <a:pt x="1093" y="26"/>
                  </a:lnTo>
                  <a:lnTo>
                    <a:pt x="1082" y="28"/>
                  </a:lnTo>
                  <a:lnTo>
                    <a:pt x="1069" y="30"/>
                  </a:lnTo>
                  <a:lnTo>
                    <a:pt x="1061" y="30"/>
                  </a:lnTo>
                  <a:lnTo>
                    <a:pt x="1054" y="28"/>
                  </a:lnTo>
                  <a:lnTo>
                    <a:pt x="1048" y="26"/>
                  </a:lnTo>
                  <a:lnTo>
                    <a:pt x="1042" y="23"/>
                  </a:lnTo>
                  <a:lnTo>
                    <a:pt x="1033" y="15"/>
                  </a:lnTo>
                  <a:lnTo>
                    <a:pt x="1021" y="6"/>
                  </a:lnTo>
                  <a:lnTo>
                    <a:pt x="1016" y="12"/>
                  </a:lnTo>
                  <a:lnTo>
                    <a:pt x="1012" y="20"/>
                  </a:lnTo>
                  <a:lnTo>
                    <a:pt x="1008" y="27"/>
                  </a:lnTo>
                  <a:lnTo>
                    <a:pt x="1005" y="34"/>
                  </a:lnTo>
                  <a:lnTo>
                    <a:pt x="1001" y="49"/>
                  </a:lnTo>
                  <a:lnTo>
                    <a:pt x="1000" y="64"/>
                  </a:lnTo>
                  <a:lnTo>
                    <a:pt x="996" y="97"/>
                  </a:lnTo>
                  <a:lnTo>
                    <a:pt x="990" y="132"/>
                  </a:lnTo>
                  <a:lnTo>
                    <a:pt x="976" y="171"/>
                  </a:lnTo>
                  <a:lnTo>
                    <a:pt x="960" y="209"/>
                  </a:lnTo>
                  <a:lnTo>
                    <a:pt x="953" y="228"/>
                  </a:lnTo>
                  <a:lnTo>
                    <a:pt x="948" y="249"/>
                  </a:lnTo>
                  <a:lnTo>
                    <a:pt x="944" y="271"/>
                  </a:lnTo>
                  <a:lnTo>
                    <a:pt x="942" y="295"/>
                  </a:lnTo>
                  <a:lnTo>
                    <a:pt x="942" y="308"/>
                  </a:lnTo>
                  <a:lnTo>
                    <a:pt x="942" y="320"/>
                  </a:lnTo>
                  <a:lnTo>
                    <a:pt x="942" y="336"/>
                  </a:lnTo>
                  <a:lnTo>
                    <a:pt x="942" y="355"/>
                  </a:lnTo>
                  <a:lnTo>
                    <a:pt x="942" y="365"/>
                  </a:lnTo>
                  <a:lnTo>
                    <a:pt x="941" y="373"/>
                  </a:lnTo>
                  <a:lnTo>
                    <a:pt x="938" y="381"/>
                  </a:lnTo>
                  <a:lnTo>
                    <a:pt x="936" y="389"/>
                  </a:lnTo>
                  <a:lnTo>
                    <a:pt x="933" y="396"/>
                  </a:lnTo>
                  <a:lnTo>
                    <a:pt x="929" y="401"/>
                  </a:lnTo>
                  <a:lnTo>
                    <a:pt x="924" y="407"/>
                  </a:lnTo>
                  <a:lnTo>
                    <a:pt x="918" y="412"/>
                  </a:lnTo>
                  <a:lnTo>
                    <a:pt x="906" y="420"/>
                  </a:lnTo>
                  <a:lnTo>
                    <a:pt x="893" y="425"/>
                  </a:lnTo>
                  <a:lnTo>
                    <a:pt x="878" y="431"/>
                  </a:lnTo>
                  <a:lnTo>
                    <a:pt x="862" y="433"/>
                  </a:lnTo>
                  <a:lnTo>
                    <a:pt x="828" y="437"/>
                  </a:lnTo>
                  <a:lnTo>
                    <a:pt x="793" y="441"/>
                  </a:lnTo>
                  <a:lnTo>
                    <a:pt x="776" y="444"/>
                  </a:lnTo>
                  <a:lnTo>
                    <a:pt x="760" y="447"/>
                  </a:lnTo>
                  <a:lnTo>
                    <a:pt x="745" y="452"/>
                  </a:lnTo>
                  <a:lnTo>
                    <a:pt x="732" y="457"/>
                  </a:lnTo>
                  <a:lnTo>
                    <a:pt x="715" y="471"/>
                  </a:lnTo>
                  <a:lnTo>
                    <a:pt x="692" y="489"/>
                  </a:lnTo>
                  <a:lnTo>
                    <a:pt x="679" y="497"/>
                  </a:lnTo>
                  <a:lnTo>
                    <a:pt x="665" y="505"/>
                  </a:lnTo>
                  <a:lnTo>
                    <a:pt x="660" y="508"/>
                  </a:lnTo>
                  <a:lnTo>
                    <a:pt x="653" y="509"/>
                  </a:lnTo>
                  <a:lnTo>
                    <a:pt x="648" y="511"/>
                  </a:lnTo>
                  <a:lnTo>
                    <a:pt x="641" y="512"/>
                  </a:lnTo>
                  <a:lnTo>
                    <a:pt x="635" y="511"/>
                  </a:lnTo>
                  <a:lnTo>
                    <a:pt x="627" y="509"/>
                  </a:lnTo>
                  <a:lnTo>
                    <a:pt x="621" y="508"/>
                  </a:lnTo>
                  <a:lnTo>
                    <a:pt x="615" y="504"/>
                  </a:lnTo>
                  <a:lnTo>
                    <a:pt x="611" y="500"/>
                  </a:lnTo>
                  <a:lnTo>
                    <a:pt x="605" y="496"/>
                  </a:lnTo>
                  <a:lnTo>
                    <a:pt x="601" y="491"/>
                  </a:lnTo>
                  <a:lnTo>
                    <a:pt x="597" y="484"/>
                  </a:lnTo>
                  <a:lnTo>
                    <a:pt x="591" y="471"/>
                  </a:lnTo>
                  <a:lnTo>
                    <a:pt x="587" y="456"/>
                  </a:lnTo>
                  <a:lnTo>
                    <a:pt x="583" y="440"/>
                  </a:lnTo>
                  <a:lnTo>
                    <a:pt x="579" y="424"/>
                  </a:lnTo>
                  <a:lnTo>
                    <a:pt x="572" y="392"/>
                  </a:lnTo>
                  <a:lnTo>
                    <a:pt x="564" y="364"/>
                  </a:lnTo>
                  <a:lnTo>
                    <a:pt x="559" y="353"/>
                  </a:lnTo>
                  <a:lnTo>
                    <a:pt x="552" y="344"/>
                  </a:lnTo>
                  <a:lnTo>
                    <a:pt x="548" y="341"/>
                  </a:lnTo>
                  <a:lnTo>
                    <a:pt x="544" y="339"/>
                  </a:lnTo>
                  <a:lnTo>
                    <a:pt x="539" y="337"/>
                  </a:lnTo>
                  <a:lnTo>
                    <a:pt x="533" y="337"/>
                  </a:lnTo>
                  <a:lnTo>
                    <a:pt x="525" y="337"/>
                  </a:lnTo>
                  <a:lnTo>
                    <a:pt x="519" y="339"/>
                  </a:lnTo>
                  <a:lnTo>
                    <a:pt x="513" y="341"/>
                  </a:lnTo>
                  <a:lnTo>
                    <a:pt x="508" y="344"/>
                  </a:lnTo>
                  <a:lnTo>
                    <a:pt x="497" y="351"/>
                  </a:lnTo>
                  <a:lnTo>
                    <a:pt x="489" y="360"/>
                  </a:lnTo>
                  <a:lnTo>
                    <a:pt x="481" y="369"/>
                  </a:lnTo>
                  <a:lnTo>
                    <a:pt x="473" y="377"/>
                  </a:lnTo>
                  <a:lnTo>
                    <a:pt x="465" y="385"/>
                  </a:lnTo>
                  <a:lnTo>
                    <a:pt x="455" y="391"/>
                  </a:lnTo>
                  <a:lnTo>
                    <a:pt x="416" y="403"/>
                  </a:lnTo>
                  <a:lnTo>
                    <a:pt x="380" y="416"/>
                  </a:lnTo>
                  <a:lnTo>
                    <a:pt x="363" y="423"/>
                  </a:lnTo>
                  <a:lnTo>
                    <a:pt x="347" y="431"/>
                  </a:lnTo>
                  <a:lnTo>
                    <a:pt x="332" y="439"/>
                  </a:lnTo>
                  <a:lnTo>
                    <a:pt x="316" y="447"/>
                  </a:lnTo>
                  <a:lnTo>
                    <a:pt x="301" y="456"/>
                  </a:lnTo>
                  <a:lnTo>
                    <a:pt x="288" y="467"/>
                  </a:lnTo>
                  <a:lnTo>
                    <a:pt x="275" y="477"/>
                  </a:lnTo>
                  <a:lnTo>
                    <a:pt x="261" y="489"/>
                  </a:lnTo>
                  <a:lnTo>
                    <a:pt x="249" y="503"/>
                  </a:lnTo>
                  <a:lnTo>
                    <a:pt x="237" y="516"/>
                  </a:lnTo>
                  <a:lnTo>
                    <a:pt x="225" y="532"/>
                  </a:lnTo>
                  <a:lnTo>
                    <a:pt x="213" y="548"/>
                  </a:lnTo>
                  <a:lnTo>
                    <a:pt x="203" y="564"/>
                  </a:lnTo>
                  <a:lnTo>
                    <a:pt x="189" y="579"/>
                  </a:lnTo>
                  <a:lnTo>
                    <a:pt x="175" y="592"/>
                  </a:lnTo>
                  <a:lnTo>
                    <a:pt x="160" y="604"/>
                  </a:lnTo>
                  <a:lnTo>
                    <a:pt x="128" y="628"/>
                  </a:lnTo>
                  <a:lnTo>
                    <a:pt x="93" y="656"/>
                  </a:lnTo>
                  <a:lnTo>
                    <a:pt x="91" y="664"/>
                  </a:lnTo>
                  <a:lnTo>
                    <a:pt x="89" y="672"/>
                  </a:lnTo>
                  <a:lnTo>
                    <a:pt x="89" y="680"/>
                  </a:lnTo>
                  <a:lnTo>
                    <a:pt x="89" y="688"/>
                  </a:lnTo>
                  <a:lnTo>
                    <a:pt x="91" y="697"/>
                  </a:lnTo>
                  <a:lnTo>
                    <a:pt x="89" y="704"/>
                  </a:lnTo>
                  <a:lnTo>
                    <a:pt x="88" y="708"/>
                  </a:lnTo>
                  <a:lnTo>
                    <a:pt x="87" y="710"/>
                  </a:lnTo>
                  <a:lnTo>
                    <a:pt x="84" y="714"/>
                  </a:lnTo>
                  <a:lnTo>
                    <a:pt x="81" y="716"/>
                  </a:lnTo>
                  <a:lnTo>
                    <a:pt x="72" y="722"/>
                  </a:lnTo>
                  <a:lnTo>
                    <a:pt x="64" y="726"/>
                  </a:lnTo>
                  <a:lnTo>
                    <a:pt x="56" y="730"/>
                  </a:lnTo>
                  <a:lnTo>
                    <a:pt x="50" y="734"/>
                  </a:lnTo>
                  <a:lnTo>
                    <a:pt x="36" y="738"/>
                  </a:lnTo>
                  <a:lnTo>
                    <a:pt x="24" y="744"/>
                  </a:lnTo>
                  <a:lnTo>
                    <a:pt x="20" y="748"/>
                  </a:lnTo>
                  <a:lnTo>
                    <a:pt x="15" y="752"/>
                  </a:lnTo>
                  <a:lnTo>
                    <a:pt x="12" y="757"/>
                  </a:lnTo>
                  <a:lnTo>
                    <a:pt x="8" y="765"/>
                  </a:lnTo>
                  <a:lnTo>
                    <a:pt x="7" y="773"/>
                  </a:lnTo>
                  <a:lnTo>
                    <a:pt x="4" y="784"/>
                  </a:lnTo>
                  <a:lnTo>
                    <a:pt x="4" y="797"/>
                  </a:lnTo>
                  <a:lnTo>
                    <a:pt x="3" y="813"/>
                  </a:lnTo>
                  <a:lnTo>
                    <a:pt x="3" y="826"/>
                  </a:lnTo>
                  <a:lnTo>
                    <a:pt x="2" y="842"/>
                  </a:lnTo>
                  <a:lnTo>
                    <a:pt x="0" y="849"/>
                  </a:lnTo>
                  <a:lnTo>
                    <a:pt x="0" y="856"/>
                  </a:lnTo>
                  <a:lnTo>
                    <a:pt x="2" y="862"/>
                  </a:lnTo>
                  <a:lnTo>
                    <a:pt x="3" y="866"/>
                  </a:lnTo>
                  <a:lnTo>
                    <a:pt x="11" y="869"/>
                  </a:lnTo>
                  <a:lnTo>
                    <a:pt x="22" y="869"/>
                  </a:lnTo>
                  <a:lnTo>
                    <a:pt x="34" y="870"/>
                  </a:lnTo>
                  <a:lnTo>
                    <a:pt x="47" y="870"/>
                  </a:lnTo>
                  <a:lnTo>
                    <a:pt x="72" y="870"/>
                  </a:lnTo>
                  <a:lnTo>
                    <a:pt x="93" y="873"/>
                  </a:lnTo>
                  <a:lnTo>
                    <a:pt x="99" y="876"/>
                  </a:lnTo>
                  <a:lnTo>
                    <a:pt x="103" y="878"/>
                  </a:lnTo>
                  <a:lnTo>
                    <a:pt x="105" y="882"/>
                  </a:lnTo>
                  <a:lnTo>
                    <a:pt x="108" y="886"/>
                  </a:lnTo>
                  <a:lnTo>
                    <a:pt x="111" y="897"/>
                  </a:lnTo>
                  <a:lnTo>
                    <a:pt x="111" y="908"/>
                  </a:lnTo>
                  <a:lnTo>
                    <a:pt x="108" y="933"/>
                  </a:lnTo>
                  <a:lnTo>
                    <a:pt x="105" y="957"/>
                  </a:lnTo>
                  <a:lnTo>
                    <a:pt x="107" y="964"/>
                  </a:lnTo>
                  <a:lnTo>
                    <a:pt x="109" y="969"/>
                  </a:lnTo>
                  <a:lnTo>
                    <a:pt x="113" y="974"/>
                  </a:lnTo>
                  <a:lnTo>
                    <a:pt x="117" y="978"/>
                  </a:lnTo>
                  <a:lnTo>
                    <a:pt x="121" y="981"/>
                  </a:lnTo>
                  <a:lnTo>
                    <a:pt x="127" y="985"/>
                  </a:lnTo>
                  <a:lnTo>
                    <a:pt x="133" y="986"/>
                  </a:lnTo>
                  <a:lnTo>
                    <a:pt x="140" y="989"/>
                  </a:lnTo>
                  <a:lnTo>
                    <a:pt x="153" y="992"/>
                  </a:lnTo>
                  <a:lnTo>
                    <a:pt x="168" y="993"/>
                  </a:lnTo>
                  <a:lnTo>
                    <a:pt x="181" y="993"/>
                  </a:lnTo>
                  <a:lnTo>
                    <a:pt x="196" y="993"/>
                  </a:lnTo>
                  <a:lnTo>
                    <a:pt x="304" y="1084"/>
                  </a:lnTo>
                  <a:lnTo>
                    <a:pt x="305" y="1101"/>
                  </a:lnTo>
                  <a:lnTo>
                    <a:pt x="307" y="1114"/>
                  </a:lnTo>
                  <a:lnTo>
                    <a:pt x="309" y="1126"/>
                  </a:lnTo>
                  <a:lnTo>
                    <a:pt x="313" y="1136"/>
                  </a:lnTo>
                  <a:lnTo>
                    <a:pt x="319" y="1144"/>
                  </a:lnTo>
                  <a:lnTo>
                    <a:pt x="325" y="1149"/>
                  </a:lnTo>
                  <a:lnTo>
                    <a:pt x="332" y="1154"/>
                  </a:lnTo>
                  <a:lnTo>
                    <a:pt x="340" y="1157"/>
                  </a:lnTo>
                  <a:lnTo>
                    <a:pt x="380" y="1164"/>
                  </a:lnTo>
                  <a:lnTo>
                    <a:pt x="431" y="1168"/>
                  </a:lnTo>
                  <a:lnTo>
                    <a:pt x="441" y="1170"/>
                  </a:lnTo>
                  <a:lnTo>
                    <a:pt x="451" y="1174"/>
                  </a:lnTo>
                  <a:lnTo>
                    <a:pt x="457" y="1181"/>
                  </a:lnTo>
                  <a:lnTo>
                    <a:pt x="464" y="1189"/>
                  </a:lnTo>
                  <a:lnTo>
                    <a:pt x="469" y="1198"/>
                  </a:lnTo>
                  <a:lnTo>
                    <a:pt x="475" y="1209"/>
                  </a:lnTo>
                  <a:lnTo>
                    <a:pt x="477" y="1219"/>
                  </a:lnTo>
                  <a:lnTo>
                    <a:pt x="481" y="1230"/>
                  </a:lnTo>
                  <a:lnTo>
                    <a:pt x="487" y="1251"/>
                  </a:lnTo>
                  <a:lnTo>
                    <a:pt x="493" y="1270"/>
                  </a:lnTo>
                  <a:lnTo>
                    <a:pt x="496" y="1278"/>
                  </a:lnTo>
                  <a:lnTo>
                    <a:pt x="500" y="1283"/>
                  </a:lnTo>
                  <a:lnTo>
                    <a:pt x="504" y="1287"/>
                  </a:lnTo>
                  <a:lnTo>
                    <a:pt x="509" y="1289"/>
                  </a:lnTo>
                  <a:lnTo>
                    <a:pt x="517" y="1287"/>
                  </a:lnTo>
                  <a:lnTo>
                    <a:pt x="524" y="1285"/>
                  </a:lnTo>
                  <a:lnTo>
                    <a:pt x="528" y="1282"/>
                  </a:lnTo>
                  <a:lnTo>
                    <a:pt x="532" y="1279"/>
                  </a:lnTo>
                  <a:lnTo>
                    <a:pt x="536" y="1275"/>
                  </a:lnTo>
                  <a:lnTo>
                    <a:pt x="540" y="1273"/>
                  </a:lnTo>
                  <a:lnTo>
                    <a:pt x="545" y="1271"/>
                  </a:lnTo>
                  <a:lnTo>
                    <a:pt x="552" y="1270"/>
                  </a:lnTo>
                  <a:lnTo>
                    <a:pt x="552" y="1277"/>
                  </a:lnTo>
                  <a:lnTo>
                    <a:pt x="556" y="1283"/>
                  </a:lnTo>
                  <a:lnTo>
                    <a:pt x="560" y="1290"/>
                  </a:lnTo>
                  <a:lnTo>
                    <a:pt x="565" y="1295"/>
                  </a:lnTo>
                  <a:lnTo>
                    <a:pt x="572" y="1299"/>
                  </a:lnTo>
                  <a:lnTo>
                    <a:pt x="579" y="1303"/>
                  </a:lnTo>
                  <a:lnTo>
                    <a:pt x="587" y="1306"/>
                  </a:lnTo>
                  <a:lnTo>
                    <a:pt x="593" y="1306"/>
                  </a:lnTo>
                  <a:lnTo>
                    <a:pt x="603" y="1305"/>
                  </a:lnTo>
                  <a:lnTo>
                    <a:pt x="611" y="1302"/>
                  </a:lnTo>
                  <a:lnTo>
                    <a:pt x="619" y="1298"/>
                  </a:lnTo>
                  <a:lnTo>
                    <a:pt x="625" y="1293"/>
                  </a:lnTo>
                  <a:lnTo>
                    <a:pt x="637" y="1281"/>
                  </a:lnTo>
                  <a:lnTo>
                    <a:pt x="648" y="1270"/>
                  </a:lnTo>
                  <a:lnTo>
                    <a:pt x="640" y="1251"/>
                  </a:lnTo>
                  <a:lnTo>
                    <a:pt x="629" y="1234"/>
                  </a:lnTo>
                  <a:lnTo>
                    <a:pt x="617" y="1218"/>
                  </a:lnTo>
                  <a:lnTo>
                    <a:pt x="604" y="1202"/>
                  </a:lnTo>
                  <a:lnTo>
                    <a:pt x="589" y="1189"/>
                  </a:lnTo>
                  <a:lnTo>
                    <a:pt x="575" y="1176"/>
                  </a:lnTo>
                  <a:lnTo>
                    <a:pt x="559" y="1164"/>
                  </a:lnTo>
                  <a:lnTo>
                    <a:pt x="544" y="1153"/>
                  </a:lnTo>
                  <a:lnTo>
                    <a:pt x="491" y="1121"/>
                  </a:lnTo>
                  <a:lnTo>
                    <a:pt x="467" y="1108"/>
                  </a:lnTo>
                  <a:lnTo>
                    <a:pt x="468" y="1097"/>
                  </a:lnTo>
                  <a:lnTo>
                    <a:pt x="469" y="1085"/>
                  </a:lnTo>
                  <a:lnTo>
                    <a:pt x="473" y="1070"/>
                  </a:lnTo>
                  <a:lnTo>
                    <a:pt x="479" y="1054"/>
                  </a:lnTo>
                  <a:lnTo>
                    <a:pt x="485" y="1037"/>
                  </a:lnTo>
                  <a:lnTo>
                    <a:pt x="492" y="1018"/>
                  </a:lnTo>
                  <a:lnTo>
                    <a:pt x="500" y="1001"/>
                  </a:lnTo>
                  <a:lnTo>
                    <a:pt x="509" y="982"/>
                  </a:lnTo>
                  <a:lnTo>
                    <a:pt x="520" y="965"/>
                  </a:lnTo>
                  <a:lnTo>
                    <a:pt x="532" y="950"/>
                  </a:lnTo>
                  <a:lnTo>
                    <a:pt x="543" y="936"/>
                  </a:lnTo>
                  <a:lnTo>
                    <a:pt x="556" y="924"/>
                  </a:lnTo>
                  <a:lnTo>
                    <a:pt x="563" y="918"/>
                  </a:lnTo>
                  <a:lnTo>
                    <a:pt x="569" y="913"/>
                  </a:lnTo>
                  <a:lnTo>
                    <a:pt x="576" y="909"/>
                  </a:lnTo>
                  <a:lnTo>
                    <a:pt x="583" y="906"/>
                  </a:lnTo>
                  <a:lnTo>
                    <a:pt x="589" y="904"/>
                  </a:lnTo>
                  <a:lnTo>
                    <a:pt x="597" y="902"/>
                  </a:lnTo>
                  <a:lnTo>
                    <a:pt x="604" y="902"/>
                  </a:lnTo>
                  <a:lnTo>
                    <a:pt x="612" y="902"/>
                  </a:lnTo>
                  <a:lnTo>
                    <a:pt x="601" y="926"/>
                  </a:lnTo>
                  <a:lnTo>
                    <a:pt x="592" y="949"/>
                  </a:lnTo>
                  <a:lnTo>
                    <a:pt x="587" y="970"/>
                  </a:lnTo>
                  <a:lnTo>
                    <a:pt x="583" y="990"/>
                  </a:lnTo>
                  <a:lnTo>
                    <a:pt x="580" y="1009"/>
                  </a:lnTo>
                  <a:lnTo>
                    <a:pt x="580" y="1026"/>
                  </a:lnTo>
                  <a:lnTo>
                    <a:pt x="581" y="1044"/>
                  </a:lnTo>
                  <a:lnTo>
                    <a:pt x="585" y="1058"/>
                  </a:lnTo>
                  <a:lnTo>
                    <a:pt x="589" y="1073"/>
                  </a:lnTo>
                  <a:lnTo>
                    <a:pt x="596" y="1088"/>
                  </a:lnTo>
                  <a:lnTo>
                    <a:pt x="603" y="1101"/>
                  </a:lnTo>
                  <a:lnTo>
                    <a:pt x="611" y="1113"/>
                  </a:lnTo>
                  <a:lnTo>
                    <a:pt x="620" y="1124"/>
                  </a:lnTo>
                  <a:lnTo>
                    <a:pt x="631" y="1136"/>
                  </a:lnTo>
                  <a:lnTo>
                    <a:pt x="641" y="1145"/>
                  </a:lnTo>
                  <a:lnTo>
                    <a:pt x="653" y="1156"/>
                  </a:lnTo>
                  <a:lnTo>
                    <a:pt x="677" y="1173"/>
                  </a:lnTo>
                  <a:lnTo>
                    <a:pt x="703" y="1189"/>
                  </a:lnTo>
                  <a:lnTo>
                    <a:pt x="728" y="1205"/>
                  </a:lnTo>
                  <a:lnTo>
                    <a:pt x="752" y="1218"/>
                  </a:lnTo>
                  <a:lnTo>
                    <a:pt x="773" y="1233"/>
                  </a:lnTo>
                  <a:lnTo>
                    <a:pt x="792" y="1246"/>
                  </a:lnTo>
                  <a:lnTo>
                    <a:pt x="800" y="1254"/>
                  </a:lnTo>
                  <a:lnTo>
                    <a:pt x="807" y="1261"/>
                  </a:lnTo>
                  <a:lnTo>
                    <a:pt x="812" y="1269"/>
                  </a:lnTo>
                  <a:lnTo>
                    <a:pt x="816" y="1277"/>
                  </a:lnTo>
                  <a:lnTo>
                    <a:pt x="829" y="1310"/>
                  </a:lnTo>
                  <a:lnTo>
                    <a:pt x="838" y="1341"/>
                  </a:lnTo>
                  <a:lnTo>
                    <a:pt x="845" y="1370"/>
                  </a:lnTo>
                  <a:lnTo>
                    <a:pt x="849" y="1398"/>
                  </a:lnTo>
                  <a:lnTo>
                    <a:pt x="853" y="1451"/>
                  </a:lnTo>
                  <a:lnTo>
                    <a:pt x="856" y="1505"/>
                  </a:lnTo>
                  <a:lnTo>
                    <a:pt x="857" y="1533"/>
                  </a:lnTo>
                  <a:lnTo>
                    <a:pt x="860" y="1563"/>
                  </a:lnTo>
                  <a:lnTo>
                    <a:pt x="864" y="1595"/>
                  </a:lnTo>
                  <a:lnTo>
                    <a:pt x="870" y="1630"/>
                  </a:lnTo>
                  <a:lnTo>
                    <a:pt x="880" y="1669"/>
                  </a:lnTo>
                  <a:lnTo>
                    <a:pt x="893" y="1710"/>
                  </a:lnTo>
                  <a:lnTo>
                    <a:pt x="909" y="1755"/>
                  </a:lnTo>
                  <a:lnTo>
                    <a:pt x="930" y="1806"/>
                  </a:lnTo>
                  <a:lnTo>
                    <a:pt x="945" y="1836"/>
                  </a:lnTo>
                  <a:lnTo>
                    <a:pt x="960" y="1871"/>
                  </a:lnTo>
                  <a:lnTo>
                    <a:pt x="974" y="1911"/>
                  </a:lnTo>
                  <a:lnTo>
                    <a:pt x="990" y="1952"/>
                  </a:lnTo>
                  <a:lnTo>
                    <a:pt x="1005" y="1998"/>
                  </a:lnTo>
                  <a:lnTo>
                    <a:pt x="1020" y="2042"/>
                  </a:lnTo>
                  <a:lnTo>
                    <a:pt x="1033" y="2087"/>
                  </a:lnTo>
                  <a:lnTo>
                    <a:pt x="1045" y="2131"/>
                  </a:lnTo>
                  <a:lnTo>
                    <a:pt x="1052" y="2156"/>
                  </a:lnTo>
                  <a:lnTo>
                    <a:pt x="1058" y="2179"/>
                  </a:lnTo>
                  <a:lnTo>
                    <a:pt x="1062" y="2200"/>
                  </a:lnTo>
                  <a:lnTo>
                    <a:pt x="1065" y="2220"/>
                  </a:lnTo>
                  <a:lnTo>
                    <a:pt x="1068" y="2239"/>
                  </a:lnTo>
                  <a:lnTo>
                    <a:pt x="1068" y="2256"/>
                  </a:lnTo>
                  <a:lnTo>
                    <a:pt x="1068" y="2272"/>
                  </a:lnTo>
                  <a:lnTo>
                    <a:pt x="1068" y="2287"/>
                  </a:lnTo>
                  <a:lnTo>
                    <a:pt x="1064" y="2314"/>
                  </a:lnTo>
                  <a:lnTo>
                    <a:pt x="1058" y="2336"/>
                  </a:lnTo>
                  <a:lnTo>
                    <a:pt x="1053" y="2356"/>
                  </a:lnTo>
                  <a:lnTo>
                    <a:pt x="1046" y="2374"/>
                  </a:lnTo>
                  <a:lnTo>
                    <a:pt x="1041" y="2389"/>
                  </a:lnTo>
                  <a:lnTo>
                    <a:pt x="1038" y="2403"/>
                  </a:lnTo>
                  <a:lnTo>
                    <a:pt x="1038" y="2411"/>
                  </a:lnTo>
                  <a:lnTo>
                    <a:pt x="1038" y="2417"/>
                  </a:lnTo>
                  <a:lnTo>
                    <a:pt x="1040" y="2424"/>
                  </a:lnTo>
                  <a:lnTo>
                    <a:pt x="1041" y="2431"/>
                  </a:lnTo>
                  <a:lnTo>
                    <a:pt x="1045" y="2437"/>
                  </a:lnTo>
                  <a:lnTo>
                    <a:pt x="1050" y="2445"/>
                  </a:lnTo>
                  <a:lnTo>
                    <a:pt x="1056" y="2453"/>
                  </a:lnTo>
                  <a:lnTo>
                    <a:pt x="1064" y="2461"/>
                  </a:lnTo>
                  <a:lnTo>
                    <a:pt x="1084" y="2479"/>
                  </a:lnTo>
                  <a:lnTo>
                    <a:pt x="1112" y="2499"/>
                  </a:lnTo>
                  <a:lnTo>
                    <a:pt x="1120" y="2504"/>
                  </a:lnTo>
                  <a:lnTo>
                    <a:pt x="1126" y="2511"/>
                  </a:lnTo>
                  <a:lnTo>
                    <a:pt x="1133" y="2517"/>
                  </a:lnTo>
                  <a:lnTo>
                    <a:pt x="1138" y="2525"/>
                  </a:lnTo>
                  <a:lnTo>
                    <a:pt x="1144" y="2532"/>
                  </a:lnTo>
                  <a:lnTo>
                    <a:pt x="1146" y="2539"/>
                  </a:lnTo>
                  <a:lnTo>
                    <a:pt x="1150" y="2547"/>
                  </a:lnTo>
                  <a:lnTo>
                    <a:pt x="1153" y="2555"/>
                  </a:lnTo>
                  <a:lnTo>
                    <a:pt x="1160" y="2589"/>
                  </a:lnTo>
                  <a:lnTo>
                    <a:pt x="1166" y="2631"/>
                  </a:lnTo>
                  <a:lnTo>
                    <a:pt x="1172" y="2653"/>
                  </a:lnTo>
                  <a:lnTo>
                    <a:pt x="1178" y="2677"/>
                  </a:lnTo>
                  <a:lnTo>
                    <a:pt x="1184" y="2689"/>
                  </a:lnTo>
                  <a:lnTo>
                    <a:pt x="1189" y="2703"/>
                  </a:lnTo>
                  <a:lnTo>
                    <a:pt x="1196" y="2717"/>
                  </a:lnTo>
                  <a:lnTo>
                    <a:pt x="1204" y="2731"/>
                  </a:lnTo>
                  <a:lnTo>
                    <a:pt x="1213" y="2747"/>
                  </a:lnTo>
                  <a:lnTo>
                    <a:pt x="1222" y="2761"/>
                  </a:lnTo>
                  <a:lnTo>
                    <a:pt x="1234" y="2777"/>
                  </a:lnTo>
                  <a:lnTo>
                    <a:pt x="1248" y="2793"/>
                  </a:lnTo>
                  <a:lnTo>
                    <a:pt x="1262" y="2811"/>
                  </a:lnTo>
                  <a:lnTo>
                    <a:pt x="1278" y="2828"/>
                  </a:lnTo>
                  <a:lnTo>
                    <a:pt x="1296" y="2847"/>
                  </a:lnTo>
                  <a:lnTo>
                    <a:pt x="1316" y="286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19" name="Freeform 89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4216400" y="2536825"/>
              <a:ext cx="34925" cy="38100"/>
            </a:xfrm>
            <a:custGeom>
              <a:avLst/>
              <a:gdLst/>
              <a:ahLst/>
              <a:cxnLst>
                <a:cxn ang="0">
                  <a:pos x="72" y="42"/>
                </a:cxn>
                <a:cxn ang="0">
                  <a:pos x="67" y="41"/>
                </a:cxn>
                <a:cxn ang="0">
                  <a:pos x="63" y="38"/>
                </a:cxn>
                <a:cxn ang="0">
                  <a:pos x="60" y="34"/>
                </a:cxn>
                <a:cxn ang="0">
                  <a:pos x="59" y="27"/>
                </a:cxn>
                <a:cxn ang="0">
                  <a:pos x="59" y="14"/>
                </a:cxn>
                <a:cxn ang="0">
                  <a:pos x="60" y="0"/>
                </a:cxn>
                <a:cxn ang="0">
                  <a:pos x="52" y="3"/>
                </a:cxn>
                <a:cxn ang="0">
                  <a:pos x="43" y="7"/>
                </a:cxn>
                <a:cxn ang="0">
                  <a:pos x="33" y="13"/>
                </a:cxn>
                <a:cxn ang="0">
                  <a:pos x="23" y="21"/>
                </a:cxn>
                <a:cxn ang="0">
                  <a:pos x="13" y="27"/>
                </a:cxn>
                <a:cxn ang="0">
                  <a:pos x="7" y="37"/>
                </a:cxn>
                <a:cxn ang="0">
                  <a:pos x="4" y="41"/>
                </a:cxn>
                <a:cxn ang="0">
                  <a:pos x="1" y="45"/>
                </a:cxn>
                <a:cxn ang="0">
                  <a:pos x="0" y="50"/>
                </a:cxn>
                <a:cxn ang="0">
                  <a:pos x="0" y="54"/>
                </a:cxn>
                <a:cxn ang="0">
                  <a:pos x="0" y="61"/>
                </a:cxn>
                <a:cxn ang="0">
                  <a:pos x="1" y="66"/>
                </a:cxn>
                <a:cxn ang="0">
                  <a:pos x="4" y="71"/>
                </a:cxn>
                <a:cxn ang="0">
                  <a:pos x="8" y="75"/>
                </a:cxn>
                <a:cxn ang="0">
                  <a:pos x="12" y="79"/>
                </a:cxn>
                <a:cxn ang="0">
                  <a:pos x="17" y="83"/>
                </a:cxn>
                <a:cxn ang="0">
                  <a:pos x="23" y="86"/>
                </a:cxn>
                <a:cxn ang="0">
                  <a:pos x="28" y="89"/>
                </a:cxn>
                <a:cxn ang="0">
                  <a:pos x="41" y="93"/>
                </a:cxn>
                <a:cxn ang="0">
                  <a:pos x="56" y="95"/>
                </a:cxn>
                <a:cxn ang="0">
                  <a:pos x="71" y="95"/>
                </a:cxn>
                <a:cxn ang="0">
                  <a:pos x="84" y="97"/>
                </a:cxn>
                <a:cxn ang="0">
                  <a:pos x="84" y="61"/>
                </a:cxn>
                <a:cxn ang="0">
                  <a:pos x="79" y="51"/>
                </a:cxn>
                <a:cxn ang="0">
                  <a:pos x="72" y="42"/>
                </a:cxn>
              </a:cxnLst>
              <a:rect l="0" t="0" r="r" b="b"/>
              <a:pathLst>
                <a:path w="84" h="97">
                  <a:moveTo>
                    <a:pt x="72" y="42"/>
                  </a:moveTo>
                  <a:lnTo>
                    <a:pt x="67" y="41"/>
                  </a:lnTo>
                  <a:lnTo>
                    <a:pt x="63" y="38"/>
                  </a:lnTo>
                  <a:lnTo>
                    <a:pt x="60" y="34"/>
                  </a:lnTo>
                  <a:lnTo>
                    <a:pt x="59" y="27"/>
                  </a:lnTo>
                  <a:lnTo>
                    <a:pt x="59" y="14"/>
                  </a:lnTo>
                  <a:lnTo>
                    <a:pt x="60" y="0"/>
                  </a:lnTo>
                  <a:lnTo>
                    <a:pt x="52" y="3"/>
                  </a:lnTo>
                  <a:lnTo>
                    <a:pt x="43" y="7"/>
                  </a:lnTo>
                  <a:lnTo>
                    <a:pt x="33" y="13"/>
                  </a:lnTo>
                  <a:lnTo>
                    <a:pt x="23" y="21"/>
                  </a:lnTo>
                  <a:lnTo>
                    <a:pt x="13" y="27"/>
                  </a:lnTo>
                  <a:lnTo>
                    <a:pt x="7" y="37"/>
                  </a:lnTo>
                  <a:lnTo>
                    <a:pt x="4" y="41"/>
                  </a:lnTo>
                  <a:lnTo>
                    <a:pt x="1" y="45"/>
                  </a:lnTo>
                  <a:lnTo>
                    <a:pt x="0" y="50"/>
                  </a:lnTo>
                  <a:lnTo>
                    <a:pt x="0" y="54"/>
                  </a:lnTo>
                  <a:lnTo>
                    <a:pt x="0" y="61"/>
                  </a:lnTo>
                  <a:lnTo>
                    <a:pt x="1" y="66"/>
                  </a:lnTo>
                  <a:lnTo>
                    <a:pt x="4" y="71"/>
                  </a:lnTo>
                  <a:lnTo>
                    <a:pt x="8" y="75"/>
                  </a:lnTo>
                  <a:lnTo>
                    <a:pt x="12" y="79"/>
                  </a:lnTo>
                  <a:lnTo>
                    <a:pt x="17" y="83"/>
                  </a:lnTo>
                  <a:lnTo>
                    <a:pt x="23" y="86"/>
                  </a:lnTo>
                  <a:lnTo>
                    <a:pt x="28" y="89"/>
                  </a:lnTo>
                  <a:lnTo>
                    <a:pt x="41" y="93"/>
                  </a:lnTo>
                  <a:lnTo>
                    <a:pt x="56" y="95"/>
                  </a:lnTo>
                  <a:lnTo>
                    <a:pt x="71" y="95"/>
                  </a:lnTo>
                  <a:lnTo>
                    <a:pt x="84" y="97"/>
                  </a:lnTo>
                  <a:lnTo>
                    <a:pt x="84" y="61"/>
                  </a:lnTo>
                  <a:lnTo>
                    <a:pt x="79" y="51"/>
                  </a:lnTo>
                  <a:lnTo>
                    <a:pt x="72" y="4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0" name="Freeform 90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5980113" y="1971675"/>
              <a:ext cx="25400" cy="30163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30" y="0"/>
                </a:cxn>
                <a:cxn ang="0">
                  <a:pos x="19" y="0"/>
                </a:cxn>
                <a:cxn ang="0">
                  <a:pos x="14" y="1"/>
                </a:cxn>
                <a:cxn ang="0">
                  <a:pos x="7" y="4"/>
                </a:cxn>
                <a:cxn ang="0">
                  <a:pos x="4" y="7"/>
                </a:cxn>
                <a:cxn ang="0">
                  <a:pos x="3" y="9"/>
                </a:cxn>
                <a:cxn ang="0">
                  <a:pos x="2" y="13"/>
                </a:cxn>
                <a:cxn ang="0">
                  <a:pos x="0" y="17"/>
                </a:cxn>
                <a:cxn ang="0">
                  <a:pos x="2" y="25"/>
                </a:cxn>
                <a:cxn ang="0">
                  <a:pos x="4" y="36"/>
                </a:cxn>
                <a:cxn ang="0">
                  <a:pos x="7" y="47"/>
                </a:cxn>
                <a:cxn ang="0">
                  <a:pos x="12" y="57"/>
                </a:cxn>
                <a:cxn ang="0">
                  <a:pos x="19" y="68"/>
                </a:cxn>
                <a:cxn ang="0">
                  <a:pos x="26" y="76"/>
                </a:cxn>
                <a:cxn ang="0">
                  <a:pos x="30" y="80"/>
                </a:cxn>
                <a:cxn ang="0">
                  <a:pos x="34" y="81"/>
                </a:cxn>
                <a:cxn ang="0">
                  <a:pos x="38" y="84"/>
                </a:cxn>
                <a:cxn ang="0">
                  <a:pos x="43" y="84"/>
                </a:cxn>
                <a:cxn ang="0">
                  <a:pos x="47" y="83"/>
                </a:cxn>
                <a:cxn ang="0">
                  <a:pos x="51" y="80"/>
                </a:cxn>
                <a:cxn ang="0">
                  <a:pos x="54" y="76"/>
                </a:cxn>
                <a:cxn ang="0">
                  <a:pos x="56" y="71"/>
                </a:cxn>
                <a:cxn ang="0">
                  <a:pos x="59" y="61"/>
                </a:cxn>
                <a:cxn ang="0">
                  <a:pos x="60" y="53"/>
                </a:cxn>
                <a:cxn ang="0">
                  <a:pos x="60" y="43"/>
                </a:cxn>
                <a:cxn ang="0">
                  <a:pos x="56" y="33"/>
                </a:cxn>
                <a:cxn ang="0">
                  <a:pos x="54" y="27"/>
                </a:cxn>
                <a:cxn ang="0">
                  <a:pos x="48" y="17"/>
                </a:cxn>
                <a:cxn ang="0">
                  <a:pos x="48" y="0"/>
                </a:cxn>
              </a:cxnLst>
              <a:rect l="0" t="0" r="r" b="b"/>
              <a:pathLst>
                <a:path w="60" h="84">
                  <a:moveTo>
                    <a:pt x="48" y="0"/>
                  </a:moveTo>
                  <a:lnTo>
                    <a:pt x="30" y="0"/>
                  </a:lnTo>
                  <a:lnTo>
                    <a:pt x="19" y="0"/>
                  </a:lnTo>
                  <a:lnTo>
                    <a:pt x="14" y="1"/>
                  </a:lnTo>
                  <a:lnTo>
                    <a:pt x="7" y="4"/>
                  </a:lnTo>
                  <a:lnTo>
                    <a:pt x="4" y="7"/>
                  </a:lnTo>
                  <a:lnTo>
                    <a:pt x="3" y="9"/>
                  </a:lnTo>
                  <a:lnTo>
                    <a:pt x="2" y="13"/>
                  </a:lnTo>
                  <a:lnTo>
                    <a:pt x="0" y="17"/>
                  </a:lnTo>
                  <a:lnTo>
                    <a:pt x="2" y="25"/>
                  </a:lnTo>
                  <a:lnTo>
                    <a:pt x="4" y="36"/>
                  </a:lnTo>
                  <a:lnTo>
                    <a:pt x="7" y="47"/>
                  </a:lnTo>
                  <a:lnTo>
                    <a:pt x="12" y="57"/>
                  </a:lnTo>
                  <a:lnTo>
                    <a:pt x="19" y="68"/>
                  </a:lnTo>
                  <a:lnTo>
                    <a:pt x="26" y="76"/>
                  </a:lnTo>
                  <a:lnTo>
                    <a:pt x="30" y="80"/>
                  </a:lnTo>
                  <a:lnTo>
                    <a:pt x="34" y="81"/>
                  </a:lnTo>
                  <a:lnTo>
                    <a:pt x="38" y="84"/>
                  </a:lnTo>
                  <a:lnTo>
                    <a:pt x="43" y="84"/>
                  </a:lnTo>
                  <a:lnTo>
                    <a:pt x="47" y="83"/>
                  </a:lnTo>
                  <a:lnTo>
                    <a:pt x="51" y="80"/>
                  </a:lnTo>
                  <a:lnTo>
                    <a:pt x="54" y="76"/>
                  </a:lnTo>
                  <a:lnTo>
                    <a:pt x="56" y="71"/>
                  </a:lnTo>
                  <a:lnTo>
                    <a:pt x="59" y="61"/>
                  </a:lnTo>
                  <a:lnTo>
                    <a:pt x="60" y="53"/>
                  </a:lnTo>
                  <a:lnTo>
                    <a:pt x="60" y="43"/>
                  </a:lnTo>
                  <a:lnTo>
                    <a:pt x="56" y="33"/>
                  </a:lnTo>
                  <a:lnTo>
                    <a:pt x="54" y="27"/>
                  </a:lnTo>
                  <a:lnTo>
                    <a:pt x="48" y="17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1" name="Freeform 91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5765800" y="1930400"/>
              <a:ext cx="31750" cy="41275"/>
            </a:xfrm>
            <a:custGeom>
              <a:avLst/>
              <a:gdLst/>
              <a:ahLst/>
              <a:cxnLst>
                <a:cxn ang="0">
                  <a:pos x="60" y="49"/>
                </a:cxn>
                <a:cxn ang="0">
                  <a:pos x="58" y="42"/>
                </a:cxn>
                <a:cxn ang="0">
                  <a:pos x="55" y="30"/>
                </a:cxn>
                <a:cxn ang="0">
                  <a:pos x="51" y="26"/>
                </a:cxn>
                <a:cxn ang="0">
                  <a:pos x="46" y="21"/>
                </a:cxn>
                <a:cxn ang="0">
                  <a:pos x="39" y="17"/>
                </a:cxn>
                <a:cxn ang="0">
                  <a:pos x="32" y="13"/>
                </a:cxn>
                <a:cxn ang="0">
                  <a:pos x="16" y="6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8"/>
                </a:cxn>
                <a:cxn ang="0">
                  <a:pos x="2" y="28"/>
                </a:cxn>
                <a:cxn ang="0">
                  <a:pos x="7" y="40"/>
                </a:cxn>
                <a:cxn ang="0">
                  <a:pos x="15" y="54"/>
                </a:cxn>
                <a:cxn ang="0">
                  <a:pos x="23" y="70"/>
                </a:cxn>
                <a:cxn ang="0">
                  <a:pos x="32" y="85"/>
                </a:cxn>
                <a:cxn ang="0">
                  <a:pos x="42" y="97"/>
                </a:cxn>
                <a:cxn ang="0">
                  <a:pos x="46" y="102"/>
                </a:cxn>
                <a:cxn ang="0">
                  <a:pos x="48" y="105"/>
                </a:cxn>
                <a:cxn ang="0">
                  <a:pos x="52" y="108"/>
                </a:cxn>
                <a:cxn ang="0">
                  <a:pos x="55" y="109"/>
                </a:cxn>
                <a:cxn ang="0">
                  <a:pos x="60" y="108"/>
                </a:cxn>
                <a:cxn ang="0">
                  <a:pos x="66" y="106"/>
                </a:cxn>
                <a:cxn ang="0">
                  <a:pos x="68" y="102"/>
                </a:cxn>
                <a:cxn ang="0">
                  <a:pos x="71" y="98"/>
                </a:cxn>
                <a:cxn ang="0">
                  <a:pos x="72" y="90"/>
                </a:cxn>
                <a:cxn ang="0">
                  <a:pos x="72" y="85"/>
                </a:cxn>
                <a:cxn ang="0">
                  <a:pos x="72" y="77"/>
                </a:cxn>
                <a:cxn ang="0">
                  <a:pos x="70" y="64"/>
                </a:cxn>
                <a:cxn ang="0">
                  <a:pos x="67" y="58"/>
                </a:cxn>
                <a:cxn ang="0">
                  <a:pos x="66" y="53"/>
                </a:cxn>
                <a:cxn ang="0">
                  <a:pos x="63" y="50"/>
                </a:cxn>
                <a:cxn ang="0">
                  <a:pos x="60" y="49"/>
                </a:cxn>
              </a:cxnLst>
              <a:rect l="0" t="0" r="r" b="b"/>
              <a:pathLst>
                <a:path w="72" h="109">
                  <a:moveTo>
                    <a:pt x="60" y="49"/>
                  </a:moveTo>
                  <a:lnTo>
                    <a:pt x="58" y="42"/>
                  </a:lnTo>
                  <a:lnTo>
                    <a:pt x="55" y="30"/>
                  </a:lnTo>
                  <a:lnTo>
                    <a:pt x="51" y="26"/>
                  </a:lnTo>
                  <a:lnTo>
                    <a:pt x="46" y="21"/>
                  </a:lnTo>
                  <a:lnTo>
                    <a:pt x="39" y="17"/>
                  </a:lnTo>
                  <a:lnTo>
                    <a:pt x="32" y="13"/>
                  </a:lnTo>
                  <a:lnTo>
                    <a:pt x="16" y="6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8"/>
                  </a:lnTo>
                  <a:lnTo>
                    <a:pt x="2" y="28"/>
                  </a:lnTo>
                  <a:lnTo>
                    <a:pt x="7" y="40"/>
                  </a:lnTo>
                  <a:lnTo>
                    <a:pt x="15" y="54"/>
                  </a:lnTo>
                  <a:lnTo>
                    <a:pt x="23" y="70"/>
                  </a:lnTo>
                  <a:lnTo>
                    <a:pt x="32" y="85"/>
                  </a:lnTo>
                  <a:lnTo>
                    <a:pt x="42" y="97"/>
                  </a:lnTo>
                  <a:lnTo>
                    <a:pt x="46" y="102"/>
                  </a:lnTo>
                  <a:lnTo>
                    <a:pt x="48" y="105"/>
                  </a:lnTo>
                  <a:lnTo>
                    <a:pt x="52" y="108"/>
                  </a:lnTo>
                  <a:lnTo>
                    <a:pt x="55" y="109"/>
                  </a:lnTo>
                  <a:lnTo>
                    <a:pt x="60" y="108"/>
                  </a:lnTo>
                  <a:lnTo>
                    <a:pt x="66" y="106"/>
                  </a:lnTo>
                  <a:lnTo>
                    <a:pt x="68" y="102"/>
                  </a:lnTo>
                  <a:lnTo>
                    <a:pt x="71" y="98"/>
                  </a:lnTo>
                  <a:lnTo>
                    <a:pt x="72" y="90"/>
                  </a:lnTo>
                  <a:lnTo>
                    <a:pt x="72" y="85"/>
                  </a:lnTo>
                  <a:lnTo>
                    <a:pt x="72" y="77"/>
                  </a:lnTo>
                  <a:lnTo>
                    <a:pt x="70" y="64"/>
                  </a:lnTo>
                  <a:lnTo>
                    <a:pt x="67" y="58"/>
                  </a:lnTo>
                  <a:lnTo>
                    <a:pt x="66" y="53"/>
                  </a:lnTo>
                  <a:lnTo>
                    <a:pt x="63" y="50"/>
                  </a:lnTo>
                  <a:lnTo>
                    <a:pt x="60" y="4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2" name="Freeform 92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1911350" y="2255838"/>
              <a:ext cx="533400" cy="588962"/>
            </a:xfrm>
            <a:custGeom>
              <a:avLst/>
              <a:gdLst/>
              <a:ahLst/>
              <a:cxnLst>
                <a:cxn ang="0">
                  <a:pos x="705" y="1555"/>
                </a:cxn>
                <a:cxn ang="0">
                  <a:pos x="669" y="1494"/>
                </a:cxn>
                <a:cxn ang="0">
                  <a:pos x="618" y="1478"/>
                </a:cxn>
                <a:cxn ang="0">
                  <a:pos x="524" y="1471"/>
                </a:cxn>
                <a:cxn ang="0">
                  <a:pos x="472" y="1437"/>
                </a:cxn>
                <a:cxn ang="0">
                  <a:pos x="388" y="1336"/>
                </a:cxn>
                <a:cxn ang="0">
                  <a:pos x="319" y="1270"/>
                </a:cxn>
                <a:cxn ang="0">
                  <a:pos x="307" y="1333"/>
                </a:cxn>
                <a:cxn ang="0">
                  <a:pos x="252" y="1332"/>
                </a:cxn>
                <a:cxn ang="0">
                  <a:pos x="159" y="1297"/>
                </a:cxn>
                <a:cxn ang="0">
                  <a:pos x="120" y="1253"/>
                </a:cxn>
                <a:cxn ang="0">
                  <a:pos x="101" y="1166"/>
                </a:cxn>
                <a:cxn ang="0">
                  <a:pos x="59" y="1060"/>
                </a:cxn>
                <a:cxn ang="0">
                  <a:pos x="13" y="948"/>
                </a:cxn>
                <a:cxn ang="0">
                  <a:pos x="0" y="856"/>
                </a:cxn>
                <a:cxn ang="0">
                  <a:pos x="223" y="842"/>
                </a:cxn>
                <a:cxn ang="0">
                  <a:pos x="427" y="813"/>
                </a:cxn>
                <a:cxn ang="0">
                  <a:pos x="456" y="792"/>
                </a:cxn>
                <a:cxn ang="0">
                  <a:pos x="481" y="717"/>
                </a:cxn>
                <a:cxn ang="0">
                  <a:pos x="485" y="571"/>
                </a:cxn>
                <a:cxn ang="0">
                  <a:pos x="562" y="524"/>
                </a:cxn>
                <a:cxn ang="0">
                  <a:pos x="601" y="488"/>
                </a:cxn>
                <a:cxn ang="0">
                  <a:pos x="614" y="392"/>
                </a:cxn>
                <a:cxn ang="0">
                  <a:pos x="665" y="377"/>
                </a:cxn>
                <a:cxn ang="0">
                  <a:pos x="684" y="333"/>
                </a:cxn>
                <a:cxn ang="0">
                  <a:pos x="700" y="264"/>
                </a:cxn>
                <a:cxn ang="0">
                  <a:pos x="742" y="237"/>
                </a:cxn>
                <a:cxn ang="0">
                  <a:pos x="766" y="187"/>
                </a:cxn>
                <a:cxn ang="0">
                  <a:pos x="814" y="183"/>
                </a:cxn>
                <a:cxn ang="0">
                  <a:pos x="886" y="146"/>
                </a:cxn>
                <a:cxn ang="0">
                  <a:pos x="938" y="72"/>
                </a:cxn>
                <a:cxn ang="0">
                  <a:pos x="1025" y="35"/>
                </a:cxn>
                <a:cxn ang="0">
                  <a:pos x="1108" y="115"/>
                </a:cxn>
                <a:cxn ang="0">
                  <a:pos x="1132" y="168"/>
                </a:cxn>
                <a:cxn ang="0">
                  <a:pos x="1132" y="235"/>
                </a:cxn>
                <a:cxn ang="0">
                  <a:pos x="1146" y="260"/>
                </a:cxn>
                <a:cxn ang="0">
                  <a:pos x="1201" y="271"/>
                </a:cxn>
                <a:cxn ang="0">
                  <a:pos x="1247" y="423"/>
                </a:cxn>
                <a:cxn ang="0">
                  <a:pos x="1237" y="509"/>
                </a:cxn>
                <a:cxn ang="0">
                  <a:pos x="1213" y="552"/>
                </a:cxn>
                <a:cxn ang="0">
                  <a:pos x="1168" y="589"/>
                </a:cxn>
                <a:cxn ang="0">
                  <a:pos x="1054" y="728"/>
                </a:cxn>
                <a:cxn ang="0">
                  <a:pos x="1028" y="801"/>
                </a:cxn>
                <a:cxn ang="0">
                  <a:pos x="1028" y="888"/>
                </a:cxn>
                <a:cxn ang="0">
                  <a:pos x="1029" y="1042"/>
                </a:cxn>
                <a:cxn ang="0">
                  <a:pos x="978" y="1072"/>
                </a:cxn>
                <a:cxn ang="0">
                  <a:pos x="938" y="1042"/>
                </a:cxn>
                <a:cxn ang="0">
                  <a:pos x="897" y="1113"/>
                </a:cxn>
                <a:cxn ang="0">
                  <a:pos x="844" y="1230"/>
                </a:cxn>
                <a:cxn ang="0">
                  <a:pos x="838" y="1294"/>
                </a:cxn>
                <a:cxn ang="0">
                  <a:pos x="861" y="1316"/>
                </a:cxn>
                <a:cxn ang="0">
                  <a:pos x="873" y="1337"/>
                </a:cxn>
                <a:cxn ang="0">
                  <a:pos x="860" y="1367"/>
                </a:cxn>
                <a:cxn ang="0">
                  <a:pos x="828" y="1391"/>
                </a:cxn>
                <a:cxn ang="0">
                  <a:pos x="814" y="1443"/>
                </a:cxn>
                <a:cxn ang="0">
                  <a:pos x="728" y="1578"/>
                </a:cxn>
              </a:cxnLst>
              <a:rect l="0" t="0" r="r" b="b"/>
              <a:pathLst>
                <a:path w="1247" h="1578">
                  <a:moveTo>
                    <a:pt x="722" y="1571"/>
                  </a:moveTo>
                  <a:lnTo>
                    <a:pt x="718" y="1569"/>
                  </a:lnTo>
                  <a:lnTo>
                    <a:pt x="713" y="1565"/>
                  </a:lnTo>
                  <a:lnTo>
                    <a:pt x="709" y="1561"/>
                  </a:lnTo>
                  <a:lnTo>
                    <a:pt x="705" y="1555"/>
                  </a:lnTo>
                  <a:lnTo>
                    <a:pt x="697" y="1543"/>
                  </a:lnTo>
                  <a:lnTo>
                    <a:pt x="690" y="1530"/>
                  </a:lnTo>
                  <a:lnTo>
                    <a:pt x="682" y="1517"/>
                  </a:lnTo>
                  <a:lnTo>
                    <a:pt x="676" y="1503"/>
                  </a:lnTo>
                  <a:lnTo>
                    <a:pt x="669" y="1494"/>
                  </a:lnTo>
                  <a:lnTo>
                    <a:pt x="662" y="1487"/>
                  </a:lnTo>
                  <a:lnTo>
                    <a:pt x="650" y="1483"/>
                  </a:lnTo>
                  <a:lnTo>
                    <a:pt x="640" y="1481"/>
                  </a:lnTo>
                  <a:lnTo>
                    <a:pt x="629" y="1479"/>
                  </a:lnTo>
                  <a:lnTo>
                    <a:pt x="618" y="1478"/>
                  </a:lnTo>
                  <a:lnTo>
                    <a:pt x="596" y="1477"/>
                  </a:lnTo>
                  <a:lnTo>
                    <a:pt x="576" y="1477"/>
                  </a:lnTo>
                  <a:lnTo>
                    <a:pt x="554" y="1477"/>
                  </a:lnTo>
                  <a:lnTo>
                    <a:pt x="534" y="1474"/>
                  </a:lnTo>
                  <a:lnTo>
                    <a:pt x="524" y="1471"/>
                  </a:lnTo>
                  <a:lnTo>
                    <a:pt x="513" y="1467"/>
                  </a:lnTo>
                  <a:lnTo>
                    <a:pt x="504" y="1463"/>
                  </a:lnTo>
                  <a:lnTo>
                    <a:pt x="493" y="1457"/>
                  </a:lnTo>
                  <a:lnTo>
                    <a:pt x="482" y="1447"/>
                  </a:lnTo>
                  <a:lnTo>
                    <a:pt x="472" y="1437"/>
                  </a:lnTo>
                  <a:lnTo>
                    <a:pt x="461" y="1426"/>
                  </a:lnTo>
                  <a:lnTo>
                    <a:pt x="450" y="1414"/>
                  </a:lnTo>
                  <a:lnTo>
                    <a:pt x="429" y="1389"/>
                  </a:lnTo>
                  <a:lnTo>
                    <a:pt x="408" y="1362"/>
                  </a:lnTo>
                  <a:lnTo>
                    <a:pt x="388" y="1336"/>
                  </a:lnTo>
                  <a:lnTo>
                    <a:pt x="365" y="1312"/>
                  </a:lnTo>
                  <a:lnTo>
                    <a:pt x="355" y="1300"/>
                  </a:lnTo>
                  <a:lnTo>
                    <a:pt x="343" y="1289"/>
                  </a:lnTo>
                  <a:lnTo>
                    <a:pt x="331" y="1280"/>
                  </a:lnTo>
                  <a:lnTo>
                    <a:pt x="319" y="1270"/>
                  </a:lnTo>
                  <a:lnTo>
                    <a:pt x="315" y="1292"/>
                  </a:lnTo>
                  <a:lnTo>
                    <a:pt x="312" y="1313"/>
                  </a:lnTo>
                  <a:lnTo>
                    <a:pt x="311" y="1322"/>
                  </a:lnTo>
                  <a:lnTo>
                    <a:pt x="308" y="1330"/>
                  </a:lnTo>
                  <a:lnTo>
                    <a:pt x="307" y="1333"/>
                  </a:lnTo>
                  <a:lnTo>
                    <a:pt x="305" y="1336"/>
                  </a:lnTo>
                  <a:lnTo>
                    <a:pt x="303" y="1337"/>
                  </a:lnTo>
                  <a:lnTo>
                    <a:pt x="301" y="1337"/>
                  </a:lnTo>
                  <a:lnTo>
                    <a:pt x="279" y="1336"/>
                  </a:lnTo>
                  <a:lnTo>
                    <a:pt x="252" y="1332"/>
                  </a:lnTo>
                  <a:lnTo>
                    <a:pt x="224" y="1325"/>
                  </a:lnTo>
                  <a:lnTo>
                    <a:pt x="197" y="1316"/>
                  </a:lnTo>
                  <a:lnTo>
                    <a:pt x="184" y="1309"/>
                  </a:lnTo>
                  <a:lnTo>
                    <a:pt x="171" y="1304"/>
                  </a:lnTo>
                  <a:lnTo>
                    <a:pt x="159" y="1297"/>
                  </a:lnTo>
                  <a:lnTo>
                    <a:pt x="148" y="1289"/>
                  </a:lnTo>
                  <a:lnTo>
                    <a:pt x="139" y="1281"/>
                  </a:lnTo>
                  <a:lnTo>
                    <a:pt x="131" y="1272"/>
                  </a:lnTo>
                  <a:lnTo>
                    <a:pt x="124" y="1262"/>
                  </a:lnTo>
                  <a:lnTo>
                    <a:pt x="120" y="1253"/>
                  </a:lnTo>
                  <a:lnTo>
                    <a:pt x="115" y="1236"/>
                  </a:lnTo>
                  <a:lnTo>
                    <a:pt x="111" y="1217"/>
                  </a:lnTo>
                  <a:lnTo>
                    <a:pt x="107" y="1201"/>
                  </a:lnTo>
                  <a:lnTo>
                    <a:pt x="104" y="1184"/>
                  </a:lnTo>
                  <a:lnTo>
                    <a:pt x="101" y="1166"/>
                  </a:lnTo>
                  <a:lnTo>
                    <a:pt x="97" y="1149"/>
                  </a:lnTo>
                  <a:lnTo>
                    <a:pt x="92" y="1132"/>
                  </a:lnTo>
                  <a:lnTo>
                    <a:pt x="84" y="1114"/>
                  </a:lnTo>
                  <a:lnTo>
                    <a:pt x="72" y="1088"/>
                  </a:lnTo>
                  <a:lnTo>
                    <a:pt x="59" y="1060"/>
                  </a:lnTo>
                  <a:lnTo>
                    <a:pt x="44" y="1030"/>
                  </a:lnTo>
                  <a:lnTo>
                    <a:pt x="31" y="998"/>
                  </a:lnTo>
                  <a:lnTo>
                    <a:pt x="24" y="982"/>
                  </a:lnTo>
                  <a:lnTo>
                    <a:pt x="19" y="965"/>
                  </a:lnTo>
                  <a:lnTo>
                    <a:pt x="13" y="948"/>
                  </a:lnTo>
                  <a:lnTo>
                    <a:pt x="8" y="929"/>
                  </a:lnTo>
                  <a:lnTo>
                    <a:pt x="5" y="912"/>
                  </a:lnTo>
                  <a:lnTo>
                    <a:pt x="1" y="893"/>
                  </a:lnTo>
                  <a:lnTo>
                    <a:pt x="0" y="874"/>
                  </a:lnTo>
                  <a:lnTo>
                    <a:pt x="0" y="856"/>
                  </a:lnTo>
                  <a:lnTo>
                    <a:pt x="37" y="854"/>
                  </a:lnTo>
                  <a:lnTo>
                    <a:pt x="75" y="853"/>
                  </a:lnTo>
                  <a:lnTo>
                    <a:pt x="113" y="852"/>
                  </a:lnTo>
                  <a:lnTo>
                    <a:pt x="151" y="849"/>
                  </a:lnTo>
                  <a:lnTo>
                    <a:pt x="223" y="842"/>
                  </a:lnTo>
                  <a:lnTo>
                    <a:pt x="288" y="834"/>
                  </a:lnTo>
                  <a:lnTo>
                    <a:pt x="344" y="826"/>
                  </a:lnTo>
                  <a:lnTo>
                    <a:pt x="388" y="820"/>
                  </a:lnTo>
                  <a:lnTo>
                    <a:pt x="417" y="814"/>
                  </a:lnTo>
                  <a:lnTo>
                    <a:pt x="427" y="813"/>
                  </a:lnTo>
                  <a:lnTo>
                    <a:pt x="432" y="812"/>
                  </a:lnTo>
                  <a:lnTo>
                    <a:pt x="437" y="810"/>
                  </a:lnTo>
                  <a:lnTo>
                    <a:pt x="442" y="806"/>
                  </a:lnTo>
                  <a:lnTo>
                    <a:pt x="449" y="800"/>
                  </a:lnTo>
                  <a:lnTo>
                    <a:pt x="456" y="792"/>
                  </a:lnTo>
                  <a:lnTo>
                    <a:pt x="461" y="782"/>
                  </a:lnTo>
                  <a:lnTo>
                    <a:pt x="466" y="770"/>
                  </a:lnTo>
                  <a:lnTo>
                    <a:pt x="472" y="756"/>
                  </a:lnTo>
                  <a:lnTo>
                    <a:pt x="477" y="737"/>
                  </a:lnTo>
                  <a:lnTo>
                    <a:pt x="481" y="717"/>
                  </a:lnTo>
                  <a:lnTo>
                    <a:pt x="484" y="695"/>
                  </a:lnTo>
                  <a:lnTo>
                    <a:pt x="486" y="668"/>
                  </a:lnTo>
                  <a:lnTo>
                    <a:pt x="488" y="639"/>
                  </a:lnTo>
                  <a:lnTo>
                    <a:pt x="486" y="607"/>
                  </a:lnTo>
                  <a:lnTo>
                    <a:pt x="485" y="571"/>
                  </a:lnTo>
                  <a:lnTo>
                    <a:pt x="481" y="531"/>
                  </a:lnTo>
                  <a:lnTo>
                    <a:pt x="513" y="531"/>
                  </a:lnTo>
                  <a:lnTo>
                    <a:pt x="540" y="529"/>
                  </a:lnTo>
                  <a:lnTo>
                    <a:pt x="552" y="527"/>
                  </a:lnTo>
                  <a:lnTo>
                    <a:pt x="562" y="524"/>
                  </a:lnTo>
                  <a:lnTo>
                    <a:pt x="573" y="520"/>
                  </a:lnTo>
                  <a:lnTo>
                    <a:pt x="581" y="515"/>
                  </a:lnTo>
                  <a:lnTo>
                    <a:pt x="589" y="508"/>
                  </a:lnTo>
                  <a:lnTo>
                    <a:pt x="596" y="499"/>
                  </a:lnTo>
                  <a:lnTo>
                    <a:pt x="601" y="488"/>
                  </a:lnTo>
                  <a:lnTo>
                    <a:pt x="606" y="475"/>
                  </a:lnTo>
                  <a:lnTo>
                    <a:pt x="609" y="459"/>
                  </a:lnTo>
                  <a:lnTo>
                    <a:pt x="612" y="439"/>
                  </a:lnTo>
                  <a:lnTo>
                    <a:pt x="613" y="417"/>
                  </a:lnTo>
                  <a:lnTo>
                    <a:pt x="614" y="392"/>
                  </a:lnTo>
                  <a:lnTo>
                    <a:pt x="630" y="391"/>
                  </a:lnTo>
                  <a:lnTo>
                    <a:pt x="646" y="388"/>
                  </a:lnTo>
                  <a:lnTo>
                    <a:pt x="653" y="385"/>
                  </a:lnTo>
                  <a:lnTo>
                    <a:pt x="660" y="381"/>
                  </a:lnTo>
                  <a:lnTo>
                    <a:pt x="665" y="377"/>
                  </a:lnTo>
                  <a:lnTo>
                    <a:pt x="670" y="372"/>
                  </a:lnTo>
                  <a:lnTo>
                    <a:pt x="674" y="364"/>
                  </a:lnTo>
                  <a:lnTo>
                    <a:pt x="678" y="356"/>
                  </a:lnTo>
                  <a:lnTo>
                    <a:pt x="681" y="345"/>
                  </a:lnTo>
                  <a:lnTo>
                    <a:pt x="684" y="333"/>
                  </a:lnTo>
                  <a:lnTo>
                    <a:pt x="685" y="320"/>
                  </a:lnTo>
                  <a:lnTo>
                    <a:pt x="686" y="304"/>
                  </a:lnTo>
                  <a:lnTo>
                    <a:pt x="686" y="285"/>
                  </a:lnTo>
                  <a:lnTo>
                    <a:pt x="686" y="265"/>
                  </a:lnTo>
                  <a:lnTo>
                    <a:pt x="700" y="264"/>
                  </a:lnTo>
                  <a:lnTo>
                    <a:pt x="712" y="261"/>
                  </a:lnTo>
                  <a:lnTo>
                    <a:pt x="721" y="257"/>
                  </a:lnTo>
                  <a:lnTo>
                    <a:pt x="730" y="251"/>
                  </a:lnTo>
                  <a:lnTo>
                    <a:pt x="737" y="244"/>
                  </a:lnTo>
                  <a:lnTo>
                    <a:pt x="742" y="237"/>
                  </a:lnTo>
                  <a:lnTo>
                    <a:pt x="748" y="229"/>
                  </a:lnTo>
                  <a:lnTo>
                    <a:pt x="752" y="221"/>
                  </a:lnTo>
                  <a:lnTo>
                    <a:pt x="758" y="205"/>
                  </a:lnTo>
                  <a:lnTo>
                    <a:pt x="764" y="192"/>
                  </a:lnTo>
                  <a:lnTo>
                    <a:pt x="766" y="187"/>
                  </a:lnTo>
                  <a:lnTo>
                    <a:pt x="769" y="183"/>
                  </a:lnTo>
                  <a:lnTo>
                    <a:pt x="772" y="181"/>
                  </a:lnTo>
                  <a:lnTo>
                    <a:pt x="777" y="181"/>
                  </a:lnTo>
                  <a:lnTo>
                    <a:pt x="796" y="183"/>
                  </a:lnTo>
                  <a:lnTo>
                    <a:pt x="814" y="183"/>
                  </a:lnTo>
                  <a:lnTo>
                    <a:pt x="830" y="179"/>
                  </a:lnTo>
                  <a:lnTo>
                    <a:pt x="846" y="174"/>
                  </a:lnTo>
                  <a:lnTo>
                    <a:pt x="861" y="167"/>
                  </a:lnTo>
                  <a:lnTo>
                    <a:pt x="874" y="158"/>
                  </a:lnTo>
                  <a:lnTo>
                    <a:pt x="886" y="146"/>
                  </a:lnTo>
                  <a:lnTo>
                    <a:pt x="898" y="134"/>
                  </a:lnTo>
                  <a:lnTo>
                    <a:pt x="909" y="120"/>
                  </a:lnTo>
                  <a:lnTo>
                    <a:pt x="920" y="104"/>
                  </a:lnTo>
                  <a:lnTo>
                    <a:pt x="929" y="88"/>
                  </a:lnTo>
                  <a:lnTo>
                    <a:pt x="938" y="72"/>
                  </a:lnTo>
                  <a:lnTo>
                    <a:pt x="957" y="36"/>
                  </a:lnTo>
                  <a:lnTo>
                    <a:pt x="976" y="0"/>
                  </a:lnTo>
                  <a:lnTo>
                    <a:pt x="982" y="4"/>
                  </a:lnTo>
                  <a:lnTo>
                    <a:pt x="1000" y="16"/>
                  </a:lnTo>
                  <a:lnTo>
                    <a:pt x="1025" y="35"/>
                  </a:lnTo>
                  <a:lnTo>
                    <a:pt x="1053" y="59"/>
                  </a:lnTo>
                  <a:lnTo>
                    <a:pt x="1068" y="71"/>
                  </a:lnTo>
                  <a:lnTo>
                    <a:pt x="1082" y="86"/>
                  </a:lnTo>
                  <a:lnTo>
                    <a:pt x="1096" y="100"/>
                  </a:lnTo>
                  <a:lnTo>
                    <a:pt x="1108" y="115"/>
                  </a:lnTo>
                  <a:lnTo>
                    <a:pt x="1117" y="130"/>
                  </a:lnTo>
                  <a:lnTo>
                    <a:pt x="1125" y="146"/>
                  </a:lnTo>
                  <a:lnTo>
                    <a:pt x="1128" y="152"/>
                  </a:lnTo>
                  <a:lnTo>
                    <a:pt x="1130" y="160"/>
                  </a:lnTo>
                  <a:lnTo>
                    <a:pt x="1132" y="168"/>
                  </a:lnTo>
                  <a:lnTo>
                    <a:pt x="1132" y="175"/>
                  </a:lnTo>
                  <a:lnTo>
                    <a:pt x="1132" y="195"/>
                  </a:lnTo>
                  <a:lnTo>
                    <a:pt x="1132" y="209"/>
                  </a:lnTo>
                  <a:lnTo>
                    <a:pt x="1132" y="223"/>
                  </a:lnTo>
                  <a:lnTo>
                    <a:pt x="1132" y="235"/>
                  </a:lnTo>
                  <a:lnTo>
                    <a:pt x="1133" y="241"/>
                  </a:lnTo>
                  <a:lnTo>
                    <a:pt x="1134" y="247"/>
                  </a:lnTo>
                  <a:lnTo>
                    <a:pt x="1137" y="252"/>
                  </a:lnTo>
                  <a:lnTo>
                    <a:pt x="1141" y="256"/>
                  </a:lnTo>
                  <a:lnTo>
                    <a:pt x="1146" y="260"/>
                  </a:lnTo>
                  <a:lnTo>
                    <a:pt x="1152" y="263"/>
                  </a:lnTo>
                  <a:lnTo>
                    <a:pt x="1158" y="265"/>
                  </a:lnTo>
                  <a:lnTo>
                    <a:pt x="1165" y="267"/>
                  </a:lnTo>
                  <a:lnTo>
                    <a:pt x="1182" y="269"/>
                  </a:lnTo>
                  <a:lnTo>
                    <a:pt x="1201" y="271"/>
                  </a:lnTo>
                  <a:lnTo>
                    <a:pt x="1219" y="271"/>
                  </a:lnTo>
                  <a:lnTo>
                    <a:pt x="1239" y="271"/>
                  </a:lnTo>
                  <a:lnTo>
                    <a:pt x="1243" y="339"/>
                  </a:lnTo>
                  <a:lnTo>
                    <a:pt x="1246" y="397"/>
                  </a:lnTo>
                  <a:lnTo>
                    <a:pt x="1247" y="423"/>
                  </a:lnTo>
                  <a:lnTo>
                    <a:pt x="1247" y="447"/>
                  </a:lnTo>
                  <a:lnTo>
                    <a:pt x="1246" y="469"/>
                  </a:lnTo>
                  <a:lnTo>
                    <a:pt x="1242" y="491"/>
                  </a:lnTo>
                  <a:lnTo>
                    <a:pt x="1239" y="500"/>
                  </a:lnTo>
                  <a:lnTo>
                    <a:pt x="1237" y="509"/>
                  </a:lnTo>
                  <a:lnTo>
                    <a:pt x="1233" y="519"/>
                  </a:lnTo>
                  <a:lnTo>
                    <a:pt x="1229" y="528"/>
                  </a:lnTo>
                  <a:lnTo>
                    <a:pt x="1225" y="536"/>
                  </a:lnTo>
                  <a:lnTo>
                    <a:pt x="1218" y="544"/>
                  </a:lnTo>
                  <a:lnTo>
                    <a:pt x="1213" y="552"/>
                  </a:lnTo>
                  <a:lnTo>
                    <a:pt x="1205" y="560"/>
                  </a:lnTo>
                  <a:lnTo>
                    <a:pt x="1197" y="568"/>
                  </a:lnTo>
                  <a:lnTo>
                    <a:pt x="1189" y="575"/>
                  </a:lnTo>
                  <a:lnTo>
                    <a:pt x="1178" y="581"/>
                  </a:lnTo>
                  <a:lnTo>
                    <a:pt x="1168" y="589"/>
                  </a:lnTo>
                  <a:lnTo>
                    <a:pt x="1142" y="601"/>
                  </a:lnTo>
                  <a:lnTo>
                    <a:pt x="1114" y="615"/>
                  </a:lnTo>
                  <a:lnTo>
                    <a:pt x="1090" y="660"/>
                  </a:lnTo>
                  <a:lnTo>
                    <a:pt x="1070" y="697"/>
                  </a:lnTo>
                  <a:lnTo>
                    <a:pt x="1054" y="728"/>
                  </a:lnTo>
                  <a:lnTo>
                    <a:pt x="1042" y="755"/>
                  </a:lnTo>
                  <a:lnTo>
                    <a:pt x="1037" y="766"/>
                  </a:lnTo>
                  <a:lnTo>
                    <a:pt x="1033" y="778"/>
                  </a:lnTo>
                  <a:lnTo>
                    <a:pt x="1030" y="789"/>
                  </a:lnTo>
                  <a:lnTo>
                    <a:pt x="1028" y="801"/>
                  </a:lnTo>
                  <a:lnTo>
                    <a:pt x="1026" y="812"/>
                  </a:lnTo>
                  <a:lnTo>
                    <a:pt x="1026" y="824"/>
                  </a:lnTo>
                  <a:lnTo>
                    <a:pt x="1028" y="836"/>
                  </a:lnTo>
                  <a:lnTo>
                    <a:pt x="1029" y="849"/>
                  </a:lnTo>
                  <a:lnTo>
                    <a:pt x="1028" y="888"/>
                  </a:lnTo>
                  <a:lnTo>
                    <a:pt x="1025" y="937"/>
                  </a:lnTo>
                  <a:lnTo>
                    <a:pt x="1024" y="962"/>
                  </a:lnTo>
                  <a:lnTo>
                    <a:pt x="1024" y="990"/>
                  </a:lnTo>
                  <a:lnTo>
                    <a:pt x="1026" y="1017"/>
                  </a:lnTo>
                  <a:lnTo>
                    <a:pt x="1029" y="1042"/>
                  </a:lnTo>
                  <a:lnTo>
                    <a:pt x="1016" y="1052"/>
                  </a:lnTo>
                  <a:lnTo>
                    <a:pt x="1001" y="1061"/>
                  </a:lnTo>
                  <a:lnTo>
                    <a:pt x="994" y="1066"/>
                  </a:lnTo>
                  <a:lnTo>
                    <a:pt x="986" y="1069"/>
                  </a:lnTo>
                  <a:lnTo>
                    <a:pt x="978" y="1072"/>
                  </a:lnTo>
                  <a:lnTo>
                    <a:pt x="969" y="1072"/>
                  </a:lnTo>
                  <a:lnTo>
                    <a:pt x="962" y="1068"/>
                  </a:lnTo>
                  <a:lnTo>
                    <a:pt x="954" y="1060"/>
                  </a:lnTo>
                  <a:lnTo>
                    <a:pt x="945" y="1049"/>
                  </a:lnTo>
                  <a:lnTo>
                    <a:pt x="938" y="1042"/>
                  </a:lnTo>
                  <a:lnTo>
                    <a:pt x="909" y="1042"/>
                  </a:lnTo>
                  <a:lnTo>
                    <a:pt x="908" y="1062"/>
                  </a:lnTo>
                  <a:lnTo>
                    <a:pt x="906" y="1081"/>
                  </a:lnTo>
                  <a:lnTo>
                    <a:pt x="902" y="1097"/>
                  </a:lnTo>
                  <a:lnTo>
                    <a:pt x="897" y="1113"/>
                  </a:lnTo>
                  <a:lnTo>
                    <a:pt x="886" y="1140"/>
                  </a:lnTo>
                  <a:lnTo>
                    <a:pt x="873" y="1165"/>
                  </a:lnTo>
                  <a:lnTo>
                    <a:pt x="860" y="1189"/>
                  </a:lnTo>
                  <a:lnTo>
                    <a:pt x="848" y="1216"/>
                  </a:lnTo>
                  <a:lnTo>
                    <a:pt x="844" y="1230"/>
                  </a:lnTo>
                  <a:lnTo>
                    <a:pt x="840" y="1246"/>
                  </a:lnTo>
                  <a:lnTo>
                    <a:pt x="837" y="1264"/>
                  </a:lnTo>
                  <a:lnTo>
                    <a:pt x="837" y="1282"/>
                  </a:lnTo>
                  <a:lnTo>
                    <a:pt x="837" y="1289"/>
                  </a:lnTo>
                  <a:lnTo>
                    <a:pt x="838" y="1294"/>
                  </a:lnTo>
                  <a:lnTo>
                    <a:pt x="840" y="1298"/>
                  </a:lnTo>
                  <a:lnTo>
                    <a:pt x="842" y="1302"/>
                  </a:lnTo>
                  <a:lnTo>
                    <a:pt x="848" y="1308"/>
                  </a:lnTo>
                  <a:lnTo>
                    <a:pt x="854" y="1312"/>
                  </a:lnTo>
                  <a:lnTo>
                    <a:pt x="861" y="1316"/>
                  </a:lnTo>
                  <a:lnTo>
                    <a:pt x="868" y="1321"/>
                  </a:lnTo>
                  <a:lnTo>
                    <a:pt x="869" y="1324"/>
                  </a:lnTo>
                  <a:lnTo>
                    <a:pt x="872" y="1328"/>
                  </a:lnTo>
                  <a:lnTo>
                    <a:pt x="872" y="1332"/>
                  </a:lnTo>
                  <a:lnTo>
                    <a:pt x="873" y="1337"/>
                  </a:lnTo>
                  <a:lnTo>
                    <a:pt x="872" y="1345"/>
                  </a:lnTo>
                  <a:lnTo>
                    <a:pt x="870" y="1350"/>
                  </a:lnTo>
                  <a:lnTo>
                    <a:pt x="869" y="1355"/>
                  </a:lnTo>
                  <a:lnTo>
                    <a:pt x="866" y="1359"/>
                  </a:lnTo>
                  <a:lnTo>
                    <a:pt x="860" y="1367"/>
                  </a:lnTo>
                  <a:lnTo>
                    <a:pt x="850" y="1373"/>
                  </a:lnTo>
                  <a:lnTo>
                    <a:pt x="842" y="1378"/>
                  </a:lnTo>
                  <a:lnTo>
                    <a:pt x="834" y="1383"/>
                  </a:lnTo>
                  <a:lnTo>
                    <a:pt x="832" y="1387"/>
                  </a:lnTo>
                  <a:lnTo>
                    <a:pt x="828" y="1391"/>
                  </a:lnTo>
                  <a:lnTo>
                    <a:pt x="826" y="1397"/>
                  </a:lnTo>
                  <a:lnTo>
                    <a:pt x="825" y="1403"/>
                  </a:lnTo>
                  <a:lnTo>
                    <a:pt x="822" y="1418"/>
                  </a:lnTo>
                  <a:lnTo>
                    <a:pt x="818" y="1431"/>
                  </a:lnTo>
                  <a:lnTo>
                    <a:pt x="814" y="1443"/>
                  </a:lnTo>
                  <a:lnTo>
                    <a:pt x="809" y="1455"/>
                  </a:lnTo>
                  <a:lnTo>
                    <a:pt x="798" y="1478"/>
                  </a:lnTo>
                  <a:lnTo>
                    <a:pt x="785" y="1499"/>
                  </a:lnTo>
                  <a:lnTo>
                    <a:pt x="757" y="1538"/>
                  </a:lnTo>
                  <a:lnTo>
                    <a:pt x="728" y="1578"/>
                  </a:lnTo>
                  <a:lnTo>
                    <a:pt x="722" y="157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3" name="Freeform 94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1887538" y="3468688"/>
              <a:ext cx="274637" cy="173037"/>
            </a:xfrm>
            <a:custGeom>
              <a:avLst/>
              <a:gdLst/>
              <a:ahLst/>
              <a:cxnLst>
                <a:cxn ang="0">
                  <a:pos x="171" y="35"/>
                </a:cxn>
                <a:cxn ang="0">
                  <a:pos x="143" y="71"/>
                </a:cxn>
                <a:cxn ang="0">
                  <a:pos x="107" y="103"/>
                </a:cxn>
                <a:cxn ang="0">
                  <a:pos x="24" y="147"/>
                </a:cxn>
                <a:cxn ang="0">
                  <a:pos x="4" y="171"/>
                </a:cxn>
                <a:cxn ang="0">
                  <a:pos x="23" y="200"/>
                </a:cxn>
                <a:cxn ang="0">
                  <a:pos x="64" y="233"/>
                </a:cxn>
                <a:cxn ang="0">
                  <a:pos x="84" y="241"/>
                </a:cxn>
                <a:cxn ang="0">
                  <a:pos x="107" y="239"/>
                </a:cxn>
                <a:cxn ang="0">
                  <a:pos x="126" y="229"/>
                </a:cxn>
                <a:cxn ang="0">
                  <a:pos x="144" y="224"/>
                </a:cxn>
                <a:cxn ang="0">
                  <a:pos x="167" y="228"/>
                </a:cxn>
                <a:cxn ang="0">
                  <a:pos x="182" y="240"/>
                </a:cxn>
                <a:cxn ang="0">
                  <a:pos x="192" y="265"/>
                </a:cxn>
                <a:cxn ang="0">
                  <a:pos x="200" y="313"/>
                </a:cxn>
                <a:cxn ang="0">
                  <a:pos x="207" y="363"/>
                </a:cxn>
                <a:cxn ang="0">
                  <a:pos x="216" y="388"/>
                </a:cxn>
                <a:cxn ang="0">
                  <a:pos x="228" y="400"/>
                </a:cxn>
                <a:cxn ang="0">
                  <a:pos x="247" y="404"/>
                </a:cxn>
                <a:cxn ang="0">
                  <a:pos x="259" y="400"/>
                </a:cxn>
                <a:cxn ang="0">
                  <a:pos x="275" y="383"/>
                </a:cxn>
                <a:cxn ang="0">
                  <a:pos x="292" y="365"/>
                </a:cxn>
                <a:cxn ang="0">
                  <a:pos x="307" y="361"/>
                </a:cxn>
                <a:cxn ang="0">
                  <a:pos x="335" y="368"/>
                </a:cxn>
                <a:cxn ang="0">
                  <a:pos x="371" y="399"/>
                </a:cxn>
                <a:cxn ang="0">
                  <a:pos x="407" y="431"/>
                </a:cxn>
                <a:cxn ang="0">
                  <a:pos x="434" y="440"/>
                </a:cxn>
                <a:cxn ang="0">
                  <a:pos x="463" y="438"/>
                </a:cxn>
                <a:cxn ang="0">
                  <a:pos x="462" y="436"/>
                </a:cxn>
                <a:cxn ang="0">
                  <a:pos x="470" y="435"/>
                </a:cxn>
                <a:cxn ang="0">
                  <a:pos x="503" y="444"/>
                </a:cxn>
                <a:cxn ang="0">
                  <a:pos x="533" y="460"/>
                </a:cxn>
                <a:cxn ang="0">
                  <a:pos x="568" y="464"/>
                </a:cxn>
                <a:cxn ang="0">
                  <a:pos x="584" y="454"/>
                </a:cxn>
                <a:cxn ang="0">
                  <a:pos x="595" y="436"/>
                </a:cxn>
                <a:cxn ang="0">
                  <a:pos x="601" y="396"/>
                </a:cxn>
                <a:cxn ang="0">
                  <a:pos x="603" y="359"/>
                </a:cxn>
                <a:cxn ang="0">
                  <a:pos x="608" y="351"/>
                </a:cxn>
                <a:cxn ang="0">
                  <a:pos x="627" y="336"/>
                </a:cxn>
                <a:cxn ang="0">
                  <a:pos x="639" y="320"/>
                </a:cxn>
                <a:cxn ang="0">
                  <a:pos x="631" y="303"/>
                </a:cxn>
                <a:cxn ang="0">
                  <a:pos x="619" y="293"/>
                </a:cxn>
                <a:cxn ang="0">
                  <a:pos x="605" y="275"/>
                </a:cxn>
                <a:cxn ang="0">
                  <a:pos x="564" y="233"/>
                </a:cxn>
                <a:cxn ang="0">
                  <a:pos x="544" y="219"/>
                </a:cxn>
                <a:cxn ang="0">
                  <a:pos x="513" y="228"/>
                </a:cxn>
                <a:cxn ang="0">
                  <a:pos x="452" y="263"/>
                </a:cxn>
                <a:cxn ang="0">
                  <a:pos x="415" y="281"/>
                </a:cxn>
                <a:cxn ang="0">
                  <a:pos x="391" y="283"/>
                </a:cxn>
                <a:cxn ang="0">
                  <a:pos x="372" y="276"/>
                </a:cxn>
                <a:cxn ang="0">
                  <a:pos x="356" y="263"/>
                </a:cxn>
                <a:cxn ang="0">
                  <a:pos x="336" y="231"/>
                </a:cxn>
                <a:cxn ang="0">
                  <a:pos x="331" y="183"/>
                </a:cxn>
                <a:cxn ang="0">
                  <a:pos x="324" y="113"/>
                </a:cxn>
                <a:cxn ang="0">
                  <a:pos x="314" y="81"/>
                </a:cxn>
                <a:cxn ang="0">
                  <a:pos x="295" y="60"/>
                </a:cxn>
                <a:cxn ang="0">
                  <a:pos x="267" y="55"/>
                </a:cxn>
                <a:cxn ang="0">
                  <a:pos x="220" y="44"/>
                </a:cxn>
                <a:cxn ang="0">
                  <a:pos x="199" y="32"/>
                </a:cxn>
                <a:cxn ang="0">
                  <a:pos x="184" y="15"/>
                </a:cxn>
                <a:cxn ang="0">
                  <a:pos x="182" y="7"/>
                </a:cxn>
              </a:cxnLst>
              <a:rect l="0" t="0" r="r" b="b"/>
              <a:pathLst>
                <a:path w="639" h="464">
                  <a:moveTo>
                    <a:pt x="182" y="7"/>
                  </a:moveTo>
                  <a:lnTo>
                    <a:pt x="176" y="21"/>
                  </a:lnTo>
                  <a:lnTo>
                    <a:pt x="171" y="35"/>
                  </a:lnTo>
                  <a:lnTo>
                    <a:pt x="163" y="48"/>
                  </a:lnTo>
                  <a:lnTo>
                    <a:pt x="154" y="60"/>
                  </a:lnTo>
                  <a:lnTo>
                    <a:pt x="143" y="71"/>
                  </a:lnTo>
                  <a:lnTo>
                    <a:pt x="132" y="83"/>
                  </a:lnTo>
                  <a:lnTo>
                    <a:pt x="119" y="92"/>
                  </a:lnTo>
                  <a:lnTo>
                    <a:pt x="107" y="103"/>
                  </a:lnTo>
                  <a:lnTo>
                    <a:pt x="79" y="120"/>
                  </a:lnTo>
                  <a:lnTo>
                    <a:pt x="51" y="135"/>
                  </a:lnTo>
                  <a:lnTo>
                    <a:pt x="24" y="147"/>
                  </a:lnTo>
                  <a:lnTo>
                    <a:pt x="0" y="157"/>
                  </a:lnTo>
                  <a:lnTo>
                    <a:pt x="2" y="164"/>
                  </a:lnTo>
                  <a:lnTo>
                    <a:pt x="4" y="171"/>
                  </a:lnTo>
                  <a:lnTo>
                    <a:pt x="8" y="179"/>
                  </a:lnTo>
                  <a:lnTo>
                    <a:pt x="12" y="185"/>
                  </a:lnTo>
                  <a:lnTo>
                    <a:pt x="23" y="200"/>
                  </a:lnTo>
                  <a:lnTo>
                    <a:pt x="36" y="213"/>
                  </a:lnTo>
                  <a:lnTo>
                    <a:pt x="51" y="224"/>
                  </a:lnTo>
                  <a:lnTo>
                    <a:pt x="64" y="233"/>
                  </a:lnTo>
                  <a:lnTo>
                    <a:pt x="72" y="237"/>
                  </a:lnTo>
                  <a:lnTo>
                    <a:pt x="79" y="239"/>
                  </a:lnTo>
                  <a:lnTo>
                    <a:pt x="84" y="241"/>
                  </a:lnTo>
                  <a:lnTo>
                    <a:pt x="91" y="241"/>
                  </a:lnTo>
                  <a:lnTo>
                    <a:pt x="99" y="241"/>
                  </a:lnTo>
                  <a:lnTo>
                    <a:pt x="107" y="239"/>
                  </a:lnTo>
                  <a:lnTo>
                    <a:pt x="114" y="236"/>
                  </a:lnTo>
                  <a:lnTo>
                    <a:pt x="120" y="232"/>
                  </a:lnTo>
                  <a:lnTo>
                    <a:pt x="126" y="229"/>
                  </a:lnTo>
                  <a:lnTo>
                    <a:pt x="132" y="227"/>
                  </a:lnTo>
                  <a:lnTo>
                    <a:pt x="139" y="224"/>
                  </a:lnTo>
                  <a:lnTo>
                    <a:pt x="144" y="224"/>
                  </a:lnTo>
                  <a:lnTo>
                    <a:pt x="152" y="224"/>
                  </a:lnTo>
                  <a:lnTo>
                    <a:pt x="160" y="225"/>
                  </a:lnTo>
                  <a:lnTo>
                    <a:pt x="167" y="228"/>
                  </a:lnTo>
                  <a:lnTo>
                    <a:pt x="172" y="231"/>
                  </a:lnTo>
                  <a:lnTo>
                    <a:pt x="176" y="235"/>
                  </a:lnTo>
                  <a:lnTo>
                    <a:pt x="182" y="240"/>
                  </a:lnTo>
                  <a:lnTo>
                    <a:pt x="184" y="245"/>
                  </a:lnTo>
                  <a:lnTo>
                    <a:pt x="188" y="252"/>
                  </a:lnTo>
                  <a:lnTo>
                    <a:pt x="192" y="265"/>
                  </a:lnTo>
                  <a:lnTo>
                    <a:pt x="196" y="280"/>
                  </a:lnTo>
                  <a:lnTo>
                    <a:pt x="199" y="297"/>
                  </a:lnTo>
                  <a:lnTo>
                    <a:pt x="200" y="313"/>
                  </a:lnTo>
                  <a:lnTo>
                    <a:pt x="202" y="331"/>
                  </a:lnTo>
                  <a:lnTo>
                    <a:pt x="204" y="347"/>
                  </a:lnTo>
                  <a:lnTo>
                    <a:pt x="207" y="363"/>
                  </a:lnTo>
                  <a:lnTo>
                    <a:pt x="211" y="376"/>
                  </a:lnTo>
                  <a:lnTo>
                    <a:pt x="214" y="381"/>
                  </a:lnTo>
                  <a:lnTo>
                    <a:pt x="216" y="388"/>
                  </a:lnTo>
                  <a:lnTo>
                    <a:pt x="220" y="392"/>
                  </a:lnTo>
                  <a:lnTo>
                    <a:pt x="224" y="396"/>
                  </a:lnTo>
                  <a:lnTo>
                    <a:pt x="228" y="400"/>
                  </a:lnTo>
                  <a:lnTo>
                    <a:pt x="234" y="403"/>
                  </a:lnTo>
                  <a:lnTo>
                    <a:pt x="240" y="404"/>
                  </a:lnTo>
                  <a:lnTo>
                    <a:pt x="247" y="404"/>
                  </a:lnTo>
                  <a:lnTo>
                    <a:pt x="251" y="404"/>
                  </a:lnTo>
                  <a:lnTo>
                    <a:pt x="255" y="403"/>
                  </a:lnTo>
                  <a:lnTo>
                    <a:pt x="259" y="400"/>
                  </a:lnTo>
                  <a:lnTo>
                    <a:pt x="263" y="397"/>
                  </a:lnTo>
                  <a:lnTo>
                    <a:pt x="270" y="391"/>
                  </a:lnTo>
                  <a:lnTo>
                    <a:pt x="275" y="383"/>
                  </a:lnTo>
                  <a:lnTo>
                    <a:pt x="282" y="375"/>
                  </a:lnTo>
                  <a:lnTo>
                    <a:pt x="288" y="368"/>
                  </a:lnTo>
                  <a:lnTo>
                    <a:pt x="292" y="365"/>
                  </a:lnTo>
                  <a:lnTo>
                    <a:pt x="298" y="364"/>
                  </a:lnTo>
                  <a:lnTo>
                    <a:pt x="302" y="363"/>
                  </a:lnTo>
                  <a:lnTo>
                    <a:pt x="307" y="361"/>
                  </a:lnTo>
                  <a:lnTo>
                    <a:pt x="318" y="363"/>
                  </a:lnTo>
                  <a:lnTo>
                    <a:pt x="327" y="365"/>
                  </a:lnTo>
                  <a:lnTo>
                    <a:pt x="335" y="368"/>
                  </a:lnTo>
                  <a:lnTo>
                    <a:pt x="343" y="373"/>
                  </a:lnTo>
                  <a:lnTo>
                    <a:pt x="358" y="385"/>
                  </a:lnTo>
                  <a:lnTo>
                    <a:pt x="371" y="399"/>
                  </a:lnTo>
                  <a:lnTo>
                    <a:pt x="384" y="413"/>
                  </a:lnTo>
                  <a:lnTo>
                    <a:pt x="399" y="425"/>
                  </a:lnTo>
                  <a:lnTo>
                    <a:pt x="407" y="431"/>
                  </a:lnTo>
                  <a:lnTo>
                    <a:pt x="415" y="435"/>
                  </a:lnTo>
                  <a:lnTo>
                    <a:pt x="424" y="438"/>
                  </a:lnTo>
                  <a:lnTo>
                    <a:pt x="434" y="440"/>
                  </a:lnTo>
                  <a:lnTo>
                    <a:pt x="458" y="440"/>
                  </a:lnTo>
                  <a:lnTo>
                    <a:pt x="462" y="440"/>
                  </a:lnTo>
                  <a:lnTo>
                    <a:pt x="463" y="438"/>
                  </a:lnTo>
                  <a:lnTo>
                    <a:pt x="463" y="438"/>
                  </a:lnTo>
                  <a:lnTo>
                    <a:pt x="462" y="437"/>
                  </a:lnTo>
                  <a:lnTo>
                    <a:pt x="462" y="436"/>
                  </a:lnTo>
                  <a:lnTo>
                    <a:pt x="463" y="435"/>
                  </a:lnTo>
                  <a:lnTo>
                    <a:pt x="466" y="435"/>
                  </a:lnTo>
                  <a:lnTo>
                    <a:pt x="470" y="435"/>
                  </a:lnTo>
                  <a:lnTo>
                    <a:pt x="483" y="436"/>
                  </a:lnTo>
                  <a:lnTo>
                    <a:pt x="493" y="438"/>
                  </a:lnTo>
                  <a:lnTo>
                    <a:pt x="503" y="444"/>
                  </a:lnTo>
                  <a:lnTo>
                    <a:pt x="513" y="449"/>
                  </a:lnTo>
                  <a:lnTo>
                    <a:pt x="523" y="454"/>
                  </a:lnTo>
                  <a:lnTo>
                    <a:pt x="533" y="460"/>
                  </a:lnTo>
                  <a:lnTo>
                    <a:pt x="545" y="462"/>
                  </a:lnTo>
                  <a:lnTo>
                    <a:pt x="560" y="464"/>
                  </a:lnTo>
                  <a:lnTo>
                    <a:pt x="568" y="464"/>
                  </a:lnTo>
                  <a:lnTo>
                    <a:pt x="575" y="461"/>
                  </a:lnTo>
                  <a:lnTo>
                    <a:pt x="580" y="458"/>
                  </a:lnTo>
                  <a:lnTo>
                    <a:pt x="584" y="454"/>
                  </a:lnTo>
                  <a:lnTo>
                    <a:pt x="589" y="449"/>
                  </a:lnTo>
                  <a:lnTo>
                    <a:pt x="592" y="442"/>
                  </a:lnTo>
                  <a:lnTo>
                    <a:pt x="595" y="436"/>
                  </a:lnTo>
                  <a:lnTo>
                    <a:pt x="597" y="429"/>
                  </a:lnTo>
                  <a:lnTo>
                    <a:pt x="600" y="413"/>
                  </a:lnTo>
                  <a:lnTo>
                    <a:pt x="601" y="396"/>
                  </a:lnTo>
                  <a:lnTo>
                    <a:pt x="603" y="379"/>
                  </a:lnTo>
                  <a:lnTo>
                    <a:pt x="603" y="361"/>
                  </a:lnTo>
                  <a:lnTo>
                    <a:pt x="603" y="359"/>
                  </a:lnTo>
                  <a:lnTo>
                    <a:pt x="604" y="356"/>
                  </a:lnTo>
                  <a:lnTo>
                    <a:pt x="605" y="353"/>
                  </a:lnTo>
                  <a:lnTo>
                    <a:pt x="608" y="351"/>
                  </a:lnTo>
                  <a:lnTo>
                    <a:pt x="613" y="345"/>
                  </a:lnTo>
                  <a:lnTo>
                    <a:pt x="620" y="341"/>
                  </a:lnTo>
                  <a:lnTo>
                    <a:pt x="627" y="336"/>
                  </a:lnTo>
                  <a:lnTo>
                    <a:pt x="633" y="332"/>
                  </a:lnTo>
                  <a:lnTo>
                    <a:pt x="637" y="327"/>
                  </a:lnTo>
                  <a:lnTo>
                    <a:pt x="639" y="320"/>
                  </a:lnTo>
                  <a:lnTo>
                    <a:pt x="637" y="312"/>
                  </a:lnTo>
                  <a:lnTo>
                    <a:pt x="635" y="307"/>
                  </a:lnTo>
                  <a:lnTo>
                    <a:pt x="631" y="303"/>
                  </a:lnTo>
                  <a:lnTo>
                    <a:pt x="627" y="300"/>
                  </a:lnTo>
                  <a:lnTo>
                    <a:pt x="623" y="296"/>
                  </a:lnTo>
                  <a:lnTo>
                    <a:pt x="619" y="293"/>
                  </a:lnTo>
                  <a:lnTo>
                    <a:pt x="616" y="289"/>
                  </a:lnTo>
                  <a:lnTo>
                    <a:pt x="615" y="284"/>
                  </a:lnTo>
                  <a:lnTo>
                    <a:pt x="605" y="275"/>
                  </a:lnTo>
                  <a:lnTo>
                    <a:pt x="584" y="255"/>
                  </a:lnTo>
                  <a:lnTo>
                    <a:pt x="573" y="244"/>
                  </a:lnTo>
                  <a:lnTo>
                    <a:pt x="564" y="233"/>
                  </a:lnTo>
                  <a:lnTo>
                    <a:pt x="557" y="224"/>
                  </a:lnTo>
                  <a:lnTo>
                    <a:pt x="555" y="217"/>
                  </a:lnTo>
                  <a:lnTo>
                    <a:pt x="544" y="219"/>
                  </a:lnTo>
                  <a:lnTo>
                    <a:pt x="533" y="220"/>
                  </a:lnTo>
                  <a:lnTo>
                    <a:pt x="523" y="224"/>
                  </a:lnTo>
                  <a:lnTo>
                    <a:pt x="513" y="228"/>
                  </a:lnTo>
                  <a:lnTo>
                    <a:pt x="492" y="239"/>
                  </a:lnTo>
                  <a:lnTo>
                    <a:pt x="472" y="251"/>
                  </a:lnTo>
                  <a:lnTo>
                    <a:pt x="452" y="263"/>
                  </a:lnTo>
                  <a:lnTo>
                    <a:pt x="432" y="273"/>
                  </a:lnTo>
                  <a:lnTo>
                    <a:pt x="423" y="277"/>
                  </a:lnTo>
                  <a:lnTo>
                    <a:pt x="415" y="281"/>
                  </a:lnTo>
                  <a:lnTo>
                    <a:pt x="406" y="283"/>
                  </a:lnTo>
                  <a:lnTo>
                    <a:pt x="398" y="284"/>
                  </a:lnTo>
                  <a:lnTo>
                    <a:pt x="391" y="283"/>
                  </a:lnTo>
                  <a:lnTo>
                    <a:pt x="384" y="281"/>
                  </a:lnTo>
                  <a:lnTo>
                    <a:pt x="379" y="280"/>
                  </a:lnTo>
                  <a:lnTo>
                    <a:pt x="372" y="276"/>
                  </a:lnTo>
                  <a:lnTo>
                    <a:pt x="367" y="272"/>
                  </a:lnTo>
                  <a:lnTo>
                    <a:pt x="362" y="268"/>
                  </a:lnTo>
                  <a:lnTo>
                    <a:pt x="356" y="263"/>
                  </a:lnTo>
                  <a:lnTo>
                    <a:pt x="351" y="257"/>
                  </a:lnTo>
                  <a:lnTo>
                    <a:pt x="343" y="244"/>
                  </a:lnTo>
                  <a:lnTo>
                    <a:pt x="336" y="231"/>
                  </a:lnTo>
                  <a:lnTo>
                    <a:pt x="334" y="215"/>
                  </a:lnTo>
                  <a:lnTo>
                    <a:pt x="332" y="199"/>
                  </a:lnTo>
                  <a:lnTo>
                    <a:pt x="331" y="183"/>
                  </a:lnTo>
                  <a:lnTo>
                    <a:pt x="331" y="161"/>
                  </a:lnTo>
                  <a:lnTo>
                    <a:pt x="328" y="137"/>
                  </a:lnTo>
                  <a:lnTo>
                    <a:pt x="324" y="113"/>
                  </a:lnTo>
                  <a:lnTo>
                    <a:pt x="322" y="101"/>
                  </a:lnTo>
                  <a:lnTo>
                    <a:pt x="319" y="91"/>
                  </a:lnTo>
                  <a:lnTo>
                    <a:pt x="314" y="81"/>
                  </a:lnTo>
                  <a:lnTo>
                    <a:pt x="308" y="72"/>
                  </a:lnTo>
                  <a:lnTo>
                    <a:pt x="303" y="65"/>
                  </a:lnTo>
                  <a:lnTo>
                    <a:pt x="295" y="60"/>
                  </a:lnTo>
                  <a:lnTo>
                    <a:pt x="287" y="56"/>
                  </a:lnTo>
                  <a:lnTo>
                    <a:pt x="278" y="55"/>
                  </a:lnTo>
                  <a:lnTo>
                    <a:pt x="267" y="55"/>
                  </a:lnTo>
                  <a:lnTo>
                    <a:pt x="252" y="52"/>
                  </a:lnTo>
                  <a:lnTo>
                    <a:pt x="236" y="49"/>
                  </a:lnTo>
                  <a:lnTo>
                    <a:pt x="220" y="44"/>
                  </a:lnTo>
                  <a:lnTo>
                    <a:pt x="212" y="40"/>
                  </a:lnTo>
                  <a:lnTo>
                    <a:pt x="206" y="36"/>
                  </a:lnTo>
                  <a:lnTo>
                    <a:pt x="199" y="32"/>
                  </a:lnTo>
                  <a:lnTo>
                    <a:pt x="192" y="27"/>
                  </a:lnTo>
                  <a:lnTo>
                    <a:pt x="188" y="21"/>
                  </a:lnTo>
                  <a:lnTo>
                    <a:pt x="184" y="15"/>
                  </a:lnTo>
                  <a:lnTo>
                    <a:pt x="182" y="8"/>
                  </a:lnTo>
                  <a:lnTo>
                    <a:pt x="182" y="0"/>
                  </a:lnTo>
                  <a:lnTo>
                    <a:pt x="182" y="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4" name="Freeform 95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4210050" y="4500563"/>
              <a:ext cx="374650" cy="323850"/>
            </a:xfrm>
            <a:custGeom>
              <a:avLst/>
              <a:gdLst/>
              <a:ahLst/>
              <a:cxnLst>
                <a:cxn ang="0">
                  <a:pos x="3" y="528"/>
                </a:cxn>
                <a:cxn ang="0">
                  <a:pos x="28" y="565"/>
                </a:cxn>
                <a:cxn ang="0">
                  <a:pos x="111" y="603"/>
                </a:cxn>
                <a:cxn ang="0">
                  <a:pos x="116" y="657"/>
                </a:cxn>
                <a:cxn ang="0">
                  <a:pos x="129" y="713"/>
                </a:cxn>
                <a:cxn ang="0">
                  <a:pos x="181" y="735"/>
                </a:cxn>
                <a:cxn ang="0">
                  <a:pos x="244" y="759"/>
                </a:cxn>
                <a:cxn ang="0">
                  <a:pos x="275" y="782"/>
                </a:cxn>
                <a:cxn ang="0">
                  <a:pos x="315" y="773"/>
                </a:cxn>
                <a:cxn ang="0">
                  <a:pos x="369" y="719"/>
                </a:cxn>
                <a:cxn ang="0">
                  <a:pos x="397" y="749"/>
                </a:cxn>
                <a:cxn ang="0">
                  <a:pos x="400" y="801"/>
                </a:cxn>
                <a:cxn ang="0">
                  <a:pos x="433" y="841"/>
                </a:cxn>
                <a:cxn ang="0">
                  <a:pos x="510" y="862"/>
                </a:cxn>
                <a:cxn ang="0">
                  <a:pos x="565" y="842"/>
                </a:cxn>
                <a:cxn ang="0">
                  <a:pos x="592" y="802"/>
                </a:cxn>
                <a:cxn ang="0">
                  <a:pos x="613" y="777"/>
                </a:cxn>
                <a:cxn ang="0">
                  <a:pos x="692" y="759"/>
                </a:cxn>
                <a:cxn ang="0">
                  <a:pos x="770" y="746"/>
                </a:cxn>
                <a:cxn ang="0">
                  <a:pos x="844" y="674"/>
                </a:cxn>
                <a:cxn ang="0">
                  <a:pos x="813" y="609"/>
                </a:cxn>
                <a:cxn ang="0">
                  <a:pos x="826" y="568"/>
                </a:cxn>
                <a:cxn ang="0">
                  <a:pos x="877" y="541"/>
                </a:cxn>
                <a:cxn ang="0">
                  <a:pos x="842" y="488"/>
                </a:cxn>
                <a:cxn ang="0">
                  <a:pos x="769" y="422"/>
                </a:cxn>
                <a:cxn ang="0">
                  <a:pos x="746" y="353"/>
                </a:cxn>
                <a:cxn ang="0">
                  <a:pos x="722" y="293"/>
                </a:cxn>
                <a:cxn ang="0">
                  <a:pos x="678" y="325"/>
                </a:cxn>
                <a:cxn ang="0">
                  <a:pos x="652" y="330"/>
                </a:cxn>
                <a:cxn ang="0">
                  <a:pos x="597" y="309"/>
                </a:cxn>
                <a:cxn ang="0">
                  <a:pos x="590" y="282"/>
                </a:cxn>
                <a:cxn ang="0">
                  <a:pos x="598" y="222"/>
                </a:cxn>
                <a:cxn ang="0">
                  <a:pos x="584" y="205"/>
                </a:cxn>
                <a:cxn ang="0">
                  <a:pos x="594" y="165"/>
                </a:cxn>
                <a:cxn ang="0">
                  <a:pos x="637" y="122"/>
                </a:cxn>
                <a:cxn ang="0">
                  <a:pos x="666" y="78"/>
                </a:cxn>
                <a:cxn ang="0">
                  <a:pos x="649" y="53"/>
                </a:cxn>
                <a:cxn ang="0">
                  <a:pos x="557" y="30"/>
                </a:cxn>
                <a:cxn ang="0">
                  <a:pos x="480" y="9"/>
                </a:cxn>
                <a:cxn ang="0">
                  <a:pos x="430" y="10"/>
                </a:cxn>
                <a:cxn ang="0">
                  <a:pos x="399" y="37"/>
                </a:cxn>
                <a:cxn ang="0">
                  <a:pos x="400" y="70"/>
                </a:cxn>
                <a:cxn ang="0">
                  <a:pos x="422" y="113"/>
                </a:cxn>
                <a:cxn ang="0">
                  <a:pos x="417" y="164"/>
                </a:cxn>
                <a:cxn ang="0">
                  <a:pos x="367" y="188"/>
                </a:cxn>
                <a:cxn ang="0">
                  <a:pos x="243" y="209"/>
                </a:cxn>
                <a:cxn ang="0">
                  <a:pos x="168" y="249"/>
                </a:cxn>
                <a:cxn ang="0">
                  <a:pos x="17" y="328"/>
                </a:cxn>
                <a:cxn ang="0">
                  <a:pos x="0" y="349"/>
                </a:cxn>
                <a:cxn ang="0">
                  <a:pos x="23" y="378"/>
                </a:cxn>
                <a:cxn ang="0">
                  <a:pos x="69" y="409"/>
                </a:cxn>
                <a:cxn ang="0">
                  <a:pos x="68" y="444"/>
                </a:cxn>
                <a:cxn ang="0">
                  <a:pos x="45" y="461"/>
                </a:cxn>
                <a:cxn ang="0">
                  <a:pos x="9" y="482"/>
                </a:cxn>
              </a:cxnLst>
              <a:rect l="0" t="0" r="r" b="b"/>
              <a:pathLst>
                <a:path w="878" h="863">
                  <a:moveTo>
                    <a:pt x="12" y="482"/>
                  </a:moveTo>
                  <a:lnTo>
                    <a:pt x="5" y="494"/>
                  </a:lnTo>
                  <a:lnTo>
                    <a:pt x="0" y="506"/>
                  </a:lnTo>
                  <a:lnTo>
                    <a:pt x="0" y="518"/>
                  </a:lnTo>
                  <a:lnTo>
                    <a:pt x="3" y="528"/>
                  </a:lnTo>
                  <a:lnTo>
                    <a:pt x="5" y="537"/>
                  </a:lnTo>
                  <a:lnTo>
                    <a:pt x="9" y="545"/>
                  </a:lnTo>
                  <a:lnTo>
                    <a:pt x="15" y="553"/>
                  </a:lnTo>
                  <a:lnTo>
                    <a:pt x="21" y="558"/>
                  </a:lnTo>
                  <a:lnTo>
                    <a:pt x="28" y="565"/>
                  </a:lnTo>
                  <a:lnTo>
                    <a:pt x="35" y="569"/>
                  </a:lnTo>
                  <a:lnTo>
                    <a:pt x="68" y="584"/>
                  </a:lnTo>
                  <a:lnTo>
                    <a:pt x="103" y="595"/>
                  </a:lnTo>
                  <a:lnTo>
                    <a:pt x="107" y="599"/>
                  </a:lnTo>
                  <a:lnTo>
                    <a:pt x="111" y="603"/>
                  </a:lnTo>
                  <a:lnTo>
                    <a:pt x="115" y="607"/>
                  </a:lnTo>
                  <a:lnTo>
                    <a:pt x="116" y="613"/>
                  </a:lnTo>
                  <a:lnTo>
                    <a:pt x="119" y="623"/>
                  </a:lnTo>
                  <a:lnTo>
                    <a:pt x="120" y="634"/>
                  </a:lnTo>
                  <a:lnTo>
                    <a:pt x="116" y="657"/>
                  </a:lnTo>
                  <a:lnTo>
                    <a:pt x="115" y="681"/>
                  </a:lnTo>
                  <a:lnTo>
                    <a:pt x="116" y="690"/>
                  </a:lnTo>
                  <a:lnTo>
                    <a:pt x="119" y="698"/>
                  </a:lnTo>
                  <a:lnTo>
                    <a:pt x="124" y="706"/>
                  </a:lnTo>
                  <a:lnTo>
                    <a:pt x="129" y="713"/>
                  </a:lnTo>
                  <a:lnTo>
                    <a:pt x="136" y="718"/>
                  </a:lnTo>
                  <a:lnTo>
                    <a:pt x="144" y="723"/>
                  </a:lnTo>
                  <a:lnTo>
                    <a:pt x="152" y="727"/>
                  </a:lnTo>
                  <a:lnTo>
                    <a:pt x="161" y="731"/>
                  </a:lnTo>
                  <a:lnTo>
                    <a:pt x="181" y="735"/>
                  </a:lnTo>
                  <a:lnTo>
                    <a:pt x="201" y="739"/>
                  </a:lnTo>
                  <a:lnTo>
                    <a:pt x="221" y="741"/>
                  </a:lnTo>
                  <a:lnTo>
                    <a:pt x="240" y="741"/>
                  </a:lnTo>
                  <a:lnTo>
                    <a:pt x="241" y="751"/>
                  </a:lnTo>
                  <a:lnTo>
                    <a:pt x="244" y="759"/>
                  </a:lnTo>
                  <a:lnTo>
                    <a:pt x="248" y="767"/>
                  </a:lnTo>
                  <a:lnTo>
                    <a:pt x="252" y="773"/>
                  </a:lnTo>
                  <a:lnTo>
                    <a:pt x="259" y="777"/>
                  </a:lnTo>
                  <a:lnTo>
                    <a:pt x="267" y="781"/>
                  </a:lnTo>
                  <a:lnTo>
                    <a:pt x="275" y="782"/>
                  </a:lnTo>
                  <a:lnTo>
                    <a:pt x="283" y="783"/>
                  </a:lnTo>
                  <a:lnTo>
                    <a:pt x="292" y="782"/>
                  </a:lnTo>
                  <a:lnTo>
                    <a:pt x="301" y="779"/>
                  </a:lnTo>
                  <a:lnTo>
                    <a:pt x="308" y="777"/>
                  </a:lnTo>
                  <a:lnTo>
                    <a:pt x="315" y="773"/>
                  </a:lnTo>
                  <a:lnTo>
                    <a:pt x="327" y="762"/>
                  </a:lnTo>
                  <a:lnTo>
                    <a:pt x="337" y="749"/>
                  </a:lnTo>
                  <a:lnTo>
                    <a:pt x="349" y="735"/>
                  </a:lnTo>
                  <a:lnTo>
                    <a:pt x="361" y="725"/>
                  </a:lnTo>
                  <a:lnTo>
                    <a:pt x="369" y="719"/>
                  </a:lnTo>
                  <a:lnTo>
                    <a:pt x="377" y="715"/>
                  </a:lnTo>
                  <a:lnTo>
                    <a:pt x="387" y="713"/>
                  </a:lnTo>
                  <a:lnTo>
                    <a:pt x="397" y="710"/>
                  </a:lnTo>
                  <a:lnTo>
                    <a:pt x="397" y="731"/>
                  </a:lnTo>
                  <a:lnTo>
                    <a:pt x="397" y="749"/>
                  </a:lnTo>
                  <a:lnTo>
                    <a:pt x="397" y="766"/>
                  </a:lnTo>
                  <a:lnTo>
                    <a:pt x="397" y="783"/>
                  </a:lnTo>
                  <a:lnTo>
                    <a:pt x="397" y="789"/>
                  </a:lnTo>
                  <a:lnTo>
                    <a:pt x="399" y="795"/>
                  </a:lnTo>
                  <a:lnTo>
                    <a:pt x="400" y="801"/>
                  </a:lnTo>
                  <a:lnTo>
                    <a:pt x="403" y="806"/>
                  </a:lnTo>
                  <a:lnTo>
                    <a:pt x="409" y="815"/>
                  </a:lnTo>
                  <a:lnTo>
                    <a:pt x="417" y="825"/>
                  </a:lnTo>
                  <a:lnTo>
                    <a:pt x="425" y="833"/>
                  </a:lnTo>
                  <a:lnTo>
                    <a:pt x="433" y="841"/>
                  </a:lnTo>
                  <a:lnTo>
                    <a:pt x="440" y="850"/>
                  </a:lnTo>
                  <a:lnTo>
                    <a:pt x="445" y="861"/>
                  </a:lnTo>
                  <a:lnTo>
                    <a:pt x="461" y="863"/>
                  </a:lnTo>
                  <a:lnTo>
                    <a:pt x="498" y="863"/>
                  </a:lnTo>
                  <a:lnTo>
                    <a:pt x="510" y="862"/>
                  </a:lnTo>
                  <a:lnTo>
                    <a:pt x="521" y="861"/>
                  </a:lnTo>
                  <a:lnTo>
                    <a:pt x="533" y="857"/>
                  </a:lnTo>
                  <a:lnTo>
                    <a:pt x="544" y="854"/>
                  </a:lnTo>
                  <a:lnTo>
                    <a:pt x="556" y="849"/>
                  </a:lnTo>
                  <a:lnTo>
                    <a:pt x="565" y="842"/>
                  </a:lnTo>
                  <a:lnTo>
                    <a:pt x="576" y="834"/>
                  </a:lnTo>
                  <a:lnTo>
                    <a:pt x="584" y="825"/>
                  </a:lnTo>
                  <a:lnTo>
                    <a:pt x="585" y="817"/>
                  </a:lnTo>
                  <a:lnTo>
                    <a:pt x="588" y="809"/>
                  </a:lnTo>
                  <a:lnTo>
                    <a:pt x="592" y="802"/>
                  </a:lnTo>
                  <a:lnTo>
                    <a:pt x="594" y="795"/>
                  </a:lnTo>
                  <a:lnTo>
                    <a:pt x="598" y="790"/>
                  </a:lnTo>
                  <a:lnTo>
                    <a:pt x="602" y="785"/>
                  </a:lnTo>
                  <a:lnTo>
                    <a:pt x="608" y="781"/>
                  </a:lnTo>
                  <a:lnTo>
                    <a:pt x="613" y="777"/>
                  </a:lnTo>
                  <a:lnTo>
                    <a:pt x="624" y="770"/>
                  </a:lnTo>
                  <a:lnTo>
                    <a:pt x="637" y="766"/>
                  </a:lnTo>
                  <a:lnTo>
                    <a:pt x="649" y="763"/>
                  </a:lnTo>
                  <a:lnTo>
                    <a:pt x="664" y="761"/>
                  </a:lnTo>
                  <a:lnTo>
                    <a:pt x="692" y="759"/>
                  </a:lnTo>
                  <a:lnTo>
                    <a:pt x="721" y="758"/>
                  </a:lnTo>
                  <a:lnTo>
                    <a:pt x="734" y="757"/>
                  </a:lnTo>
                  <a:lnTo>
                    <a:pt x="748" y="754"/>
                  </a:lnTo>
                  <a:lnTo>
                    <a:pt x="760" y="751"/>
                  </a:lnTo>
                  <a:lnTo>
                    <a:pt x="770" y="746"/>
                  </a:lnTo>
                  <a:lnTo>
                    <a:pt x="793" y="733"/>
                  </a:lnTo>
                  <a:lnTo>
                    <a:pt x="814" y="717"/>
                  </a:lnTo>
                  <a:lnTo>
                    <a:pt x="836" y="701"/>
                  </a:lnTo>
                  <a:lnTo>
                    <a:pt x="854" y="686"/>
                  </a:lnTo>
                  <a:lnTo>
                    <a:pt x="844" y="674"/>
                  </a:lnTo>
                  <a:lnTo>
                    <a:pt x="829" y="657"/>
                  </a:lnTo>
                  <a:lnTo>
                    <a:pt x="822" y="646"/>
                  </a:lnTo>
                  <a:lnTo>
                    <a:pt x="817" y="634"/>
                  </a:lnTo>
                  <a:lnTo>
                    <a:pt x="814" y="621"/>
                  </a:lnTo>
                  <a:lnTo>
                    <a:pt x="813" y="609"/>
                  </a:lnTo>
                  <a:lnTo>
                    <a:pt x="813" y="599"/>
                  </a:lnTo>
                  <a:lnTo>
                    <a:pt x="814" y="590"/>
                  </a:lnTo>
                  <a:lnTo>
                    <a:pt x="817" y="582"/>
                  </a:lnTo>
                  <a:lnTo>
                    <a:pt x="821" y="574"/>
                  </a:lnTo>
                  <a:lnTo>
                    <a:pt x="826" y="568"/>
                  </a:lnTo>
                  <a:lnTo>
                    <a:pt x="833" y="562"/>
                  </a:lnTo>
                  <a:lnTo>
                    <a:pt x="840" y="557"/>
                  </a:lnTo>
                  <a:lnTo>
                    <a:pt x="849" y="554"/>
                  </a:lnTo>
                  <a:lnTo>
                    <a:pt x="878" y="554"/>
                  </a:lnTo>
                  <a:lnTo>
                    <a:pt x="877" y="541"/>
                  </a:lnTo>
                  <a:lnTo>
                    <a:pt x="874" y="529"/>
                  </a:lnTo>
                  <a:lnTo>
                    <a:pt x="868" y="518"/>
                  </a:lnTo>
                  <a:lnTo>
                    <a:pt x="861" y="508"/>
                  </a:lnTo>
                  <a:lnTo>
                    <a:pt x="852" y="497"/>
                  </a:lnTo>
                  <a:lnTo>
                    <a:pt x="842" y="488"/>
                  </a:lnTo>
                  <a:lnTo>
                    <a:pt x="832" y="478"/>
                  </a:lnTo>
                  <a:lnTo>
                    <a:pt x="820" y="470"/>
                  </a:lnTo>
                  <a:lnTo>
                    <a:pt x="797" y="452"/>
                  </a:lnTo>
                  <a:lnTo>
                    <a:pt x="777" y="432"/>
                  </a:lnTo>
                  <a:lnTo>
                    <a:pt x="769" y="422"/>
                  </a:lnTo>
                  <a:lnTo>
                    <a:pt x="761" y="410"/>
                  </a:lnTo>
                  <a:lnTo>
                    <a:pt x="756" y="398"/>
                  </a:lnTo>
                  <a:lnTo>
                    <a:pt x="752" y="385"/>
                  </a:lnTo>
                  <a:lnTo>
                    <a:pt x="750" y="368"/>
                  </a:lnTo>
                  <a:lnTo>
                    <a:pt x="746" y="353"/>
                  </a:lnTo>
                  <a:lnTo>
                    <a:pt x="742" y="338"/>
                  </a:lnTo>
                  <a:lnTo>
                    <a:pt x="738" y="325"/>
                  </a:lnTo>
                  <a:lnTo>
                    <a:pt x="734" y="313"/>
                  </a:lnTo>
                  <a:lnTo>
                    <a:pt x="729" y="302"/>
                  </a:lnTo>
                  <a:lnTo>
                    <a:pt x="722" y="293"/>
                  </a:lnTo>
                  <a:lnTo>
                    <a:pt x="716" y="284"/>
                  </a:lnTo>
                  <a:lnTo>
                    <a:pt x="706" y="296"/>
                  </a:lnTo>
                  <a:lnTo>
                    <a:pt x="693" y="312"/>
                  </a:lnTo>
                  <a:lnTo>
                    <a:pt x="686" y="320"/>
                  </a:lnTo>
                  <a:lnTo>
                    <a:pt x="678" y="325"/>
                  </a:lnTo>
                  <a:lnTo>
                    <a:pt x="674" y="328"/>
                  </a:lnTo>
                  <a:lnTo>
                    <a:pt x="670" y="330"/>
                  </a:lnTo>
                  <a:lnTo>
                    <a:pt x="666" y="330"/>
                  </a:lnTo>
                  <a:lnTo>
                    <a:pt x="662" y="332"/>
                  </a:lnTo>
                  <a:lnTo>
                    <a:pt x="652" y="330"/>
                  </a:lnTo>
                  <a:lnTo>
                    <a:pt x="641" y="328"/>
                  </a:lnTo>
                  <a:lnTo>
                    <a:pt x="629" y="325"/>
                  </a:lnTo>
                  <a:lnTo>
                    <a:pt x="617" y="320"/>
                  </a:lnTo>
                  <a:lnTo>
                    <a:pt x="606" y="314"/>
                  </a:lnTo>
                  <a:lnTo>
                    <a:pt x="597" y="309"/>
                  </a:lnTo>
                  <a:lnTo>
                    <a:pt x="594" y="305"/>
                  </a:lnTo>
                  <a:lnTo>
                    <a:pt x="592" y="302"/>
                  </a:lnTo>
                  <a:lnTo>
                    <a:pt x="590" y="298"/>
                  </a:lnTo>
                  <a:lnTo>
                    <a:pt x="590" y="296"/>
                  </a:lnTo>
                  <a:lnTo>
                    <a:pt x="590" y="282"/>
                  </a:lnTo>
                  <a:lnTo>
                    <a:pt x="593" y="272"/>
                  </a:lnTo>
                  <a:lnTo>
                    <a:pt x="597" y="260"/>
                  </a:lnTo>
                  <a:lnTo>
                    <a:pt x="602" y="246"/>
                  </a:lnTo>
                  <a:lnTo>
                    <a:pt x="602" y="222"/>
                  </a:lnTo>
                  <a:lnTo>
                    <a:pt x="598" y="222"/>
                  </a:lnTo>
                  <a:lnTo>
                    <a:pt x="593" y="218"/>
                  </a:lnTo>
                  <a:lnTo>
                    <a:pt x="589" y="216"/>
                  </a:lnTo>
                  <a:lnTo>
                    <a:pt x="586" y="213"/>
                  </a:lnTo>
                  <a:lnTo>
                    <a:pt x="585" y="209"/>
                  </a:lnTo>
                  <a:lnTo>
                    <a:pt x="584" y="205"/>
                  </a:lnTo>
                  <a:lnTo>
                    <a:pt x="584" y="196"/>
                  </a:lnTo>
                  <a:lnTo>
                    <a:pt x="585" y="188"/>
                  </a:lnTo>
                  <a:lnTo>
                    <a:pt x="588" y="180"/>
                  </a:lnTo>
                  <a:lnTo>
                    <a:pt x="590" y="172"/>
                  </a:lnTo>
                  <a:lnTo>
                    <a:pt x="594" y="165"/>
                  </a:lnTo>
                  <a:lnTo>
                    <a:pt x="600" y="157"/>
                  </a:lnTo>
                  <a:lnTo>
                    <a:pt x="604" y="150"/>
                  </a:lnTo>
                  <a:lnTo>
                    <a:pt x="610" y="145"/>
                  </a:lnTo>
                  <a:lnTo>
                    <a:pt x="622" y="133"/>
                  </a:lnTo>
                  <a:lnTo>
                    <a:pt x="637" y="122"/>
                  </a:lnTo>
                  <a:lnTo>
                    <a:pt x="652" y="112"/>
                  </a:lnTo>
                  <a:lnTo>
                    <a:pt x="668" y="102"/>
                  </a:lnTo>
                  <a:lnTo>
                    <a:pt x="669" y="94"/>
                  </a:lnTo>
                  <a:lnTo>
                    <a:pt x="668" y="86"/>
                  </a:lnTo>
                  <a:lnTo>
                    <a:pt x="666" y="78"/>
                  </a:lnTo>
                  <a:lnTo>
                    <a:pt x="665" y="73"/>
                  </a:lnTo>
                  <a:lnTo>
                    <a:pt x="662" y="66"/>
                  </a:lnTo>
                  <a:lnTo>
                    <a:pt x="658" y="62"/>
                  </a:lnTo>
                  <a:lnTo>
                    <a:pt x="654" y="57"/>
                  </a:lnTo>
                  <a:lnTo>
                    <a:pt x="649" y="53"/>
                  </a:lnTo>
                  <a:lnTo>
                    <a:pt x="637" y="46"/>
                  </a:lnTo>
                  <a:lnTo>
                    <a:pt x="624" y="42"/>
                  </a:lnTo>
                  <a:lnTo>
                    <a:pt x="608" y="38"/>
                  </a:lnTo>
                  <a:lnTo>
                    <a:pt x="592" y="36"/>
                  </a:lnTo>
                  <a:lnTo>
                    <a:pt x="557" y="30"/>
                  </a:lnTo>
                  <a:lnTo>
                    <a:pt x="522" y="25"/>
                  </a:lnTo>
                  <a:lnTo>
                    <a:pt x="506" y="21"/>
                  </a:lnTo>
                  <a:lnTo>
                    <a:pt x="492" y="16"/>
                  </a:lnTo>
                  <a:lnTo>
                    <a:pt x="485" y="13"/>
                  </a:lnTo>
                  <a:lnTo>
                    <a:pt x="480" y="9"/>
                  </a:lnTo>
                  <a:lnTo>
                    <a:pt x="474" y="5"/>
                  </a:lnTo>
                  <a:lnTo>
                    <a:pt x="469" y="0"/>
                  </a:lnTo>
                  <a:lnTo>
                    <a:pt x="456" y="3"/>
                  </a:lnTo>
                  <a:lnTo>
                    <a:pt x="442" y="6"/>
                  </a:lnTo>
                  <a:lnTo>
                    <a:pt x="430" y="10"/>
                  </a:lnTo>
                  <a:lnTo>
                    <a:pt x="420" y="14"/>
                  </a:lnTo>
                  <a:lnTo>
                    <a:pt x="410" y="21"/>
                  </a:lnTo>
                  <a:lnTo>
                    <a:pt x="404" y="29"/>
                  </a:lnTo>
                  <a:lnTo>
                    <a:pt x="401" y="33"/>
                  </a:lnTo>
                  <a:lnTo>
                    <a:pt x="399" y="37"/>
                  </a:lnTo>
                  <a:lnTo>
                    <a:pt x="397" y="42"/>
                  </a:lnTo>
                  <a:lnTo>
                    <a:pt x="397" y="48"/>
                  </a:lnTo>
                  <a:lnTo>
                    <a:pt x="397" y="57"/>
                  </a:lnTo>
                  <a:lnTo>
                    <a:pt x="399" y="64"/>
                  </a:lnTo>
                  <a:lnTo>
                    <a:pt x="400" y="70"/>
                  </a:lnTo>
                  <a:lnTo>
                    <a:pt x="401" y="77"/>
                  </a:lnTo>
                  <a:lnTo>
                    <a:pt x="407" y="86"/>
                  </a:lnTo>
                  <a:lnTo>
                    <a:pt x="412" y="96"/>
                  </a:lnTo>
                  <a:lnTo>
                    <a:pt x="417" y="104"/>
                  </a:lnTo>
                  <a:lnTo>
                    <a:pt x="422" y="113"/>
                  </a:lnTo>
                  <a:lnTo>
                    <a:pt x="426" y="125"/>
                  </a:lnTo>
                  <a:lnTo>
                    <a:pt x="428" y="138"/>
                  </a:lnTo>
                  <a:lnTo>
                    <a:pt x="426" y="148"/>
                  </a:lnTo>
                  <a:lnTo>
                    <a:pt x="422" y="157"/>
                  </a:lnTo>
                  <a:lnTo>
                    <a:pt x="417" y="164"/>
                  </a:lnTo>
                  <a:lnTo>
                    <a:pt x="409" y="170"/>
                  </a:lnTo>
                  <a:lnTo>
                    <a:pt x="400" y="176"/>
                  </a:lnTo>
                  <a:lnTo>
                    <a:pt x="391" y="180"/>
                  </a:lnTo>
                  <a:lnTo>
                    <a:pt x="379" y="184"/>
                  </a:lnTo>
                  <a:lnTo>
                    <a:pt x="367" y="188"/>
                  </a:lnTo>
                  <a:lnTo>
                    <a:pt x="313" y="197"/>
                  </a:lnTo>
                  <a:lnTo>
                    <a:pt x="265" y="205"/>
                  </a:lnTo>
                  <a:lnTo>
                    <a:pt x="256" y="205"/>
                  </a:lnTo>
                  <a:lnTo>
                    <a:pt x="249" y="206"/>
                  </a:lnTo>
                  <a:lnTo>
                    <a:pt x="243" y="209"/>
                  </a:lnTo>
                  <a:lnTo>
                    <a:pt x="237" y="212"/>
                  </a:lnTo>
                  <a:lnTo>
                    <a:pt x="225" y="220"/>
                  </a:lnTo>
                  <a:lnTo>
                    <a:pt x="211" y="229"/>
                  </a:lnTo>
                  <a:lnTo>
                    <a:pt x="195" y="236"/>
                  </a:lnTo>
                  <a:lnTo>
                    <a:pt x="168" y="249"/>
                  </a:lnTo>
                  <a:lnTo>
                    <a:pt x="133" y="264"/>
                  </a:lnTo>
                  <a:lnTo>
                    <a:pt x="96" y="282"/>
                  </a:lnTo>
                  <a:lnTo>
                    <a:pt x="60" y="301"/>
                  </a:lnTo>
                  <a:lnTo>
                    <a:pt x="29" y="320"/>
                  </a:lnTo>
                  <a:lnTo>
                    <a:pt x="17" y="328"/>
                  </a:lnTo>
                  <a:lnTo>
                    <a:pt x="8" y="336"/>
                  </a:lnTo>
                  <a:lnTo>
                    <a:pt x="4" y="340"/>
                  </a:lnTo>
                  <a:lnTo>
                    <a:pt x="1" y="344"/>
                  </a:lnTo>
                  <a:lnTo>
                    <a:pt x="0" y="346"/>
                  </a:lnTo>
                  <a:lnTo>
                    <a:pt x="0" y="349"/>
                  </a:lnTo>
                  <a:lnTo>
                    <a:pt x="0" y="356"/>
                  </a:lnTo>
                  <a:lnTo>
                    <a:pt x="3" y="361"/>
                  </a:lnTo>
                  <a:lnTo>
                    <a:pt x="7" y="366"/>
                  </a:lnTo>
                  <a:lnTo>
                    <a:pt x="11" y="370"/>
                  </a:lnTo>
                  <a:lnTo>
                    <a:pt x="23" y="378"/>
                  </a:lnTo>
                  <a:lnTo>
                    <a:pt x="36" y="385"/>
                  </a:lnTo>
                  <a:lnTo>
                    <a:pt x="49" y="393"/>
                  </a:lnTo>
                  <a:lnTo>
                    <a:pt x="60" y="400"/>
                  </a:lnTo>
                  <a:lnTo>
                    <a:pt x="65" y="405"/>
                  </a:lnTo>
                  <a:lnTo>
                    <a:pt x="69" y="409"/>
                  </a:lnTo>
                  <a:lnTo>
                    <a:pt x="71" y="416"/>
                  </a:lnTo>
                  <a:lnTo>
                    <a:pt x="72" y="421"/>
                  </a:lnTo>
                  <a:lnTo>
                    <a:pt x="72" y="430"/>
                  </a:lnTo>
                  <a:lnTo>
                    <a:pt x="69" y="437"/>
                  </a:lnTo>
                  <a:lnTo>
                    <a:pt x="68" y="444"/>
                  </a:lnTo>
                  <a:lnTo>
                    <a:pt x="64" y="448"/>
                  </a:lnTo>
                  <a:lnTo>
                    <a:pt x="60" y="452"/>
                  </a:lnTo>
                  <a:lnTo>
                    <a:pt x="56" y="456"/>
                  </a:lnTo>
                  <a:lnTo>
                    <a:pt x="51" y="458"/>
                  </a:lnTo>
                  <a:lnTo>
                    <a:pt x="45" y="461"/>
                  </a:lnTo>
                  <a:lnTo>
                    <a:pt x="35" y="466"/>
                  </a:lnTo>
                  <a:lnTo>
                    <a:pt x="24" y="472"/>
                  </a:lnTo>
                  <a:lnTo>
                    <a:pt x="19" y="474"/>
                  </a:lnTo>
                  <a:lnTo>
                    <a:pt x="13" y="478"/>
                  </a:lnTo>
                  <a:lnTo>
                    <a:pt x="9" y="482"/>
                  </a:lnTo>
                  <a:lnTo>
                    <a:pt x="5" y="488"/>
                  </a:lnTo>
                  <a:lnTo>
                    <a:pt x="12" y="48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5" name="Freeform 96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135563" y="3838575"/>
              <a:ext cx="1022350" cy="815975"/>
            </a:xfrm>
            <a:custGeom>
              <a:avLst/>
              <a:gdLst/>
              <a:ahLst/>
              <a:cxnLst>
                <a:cxn ang="0">
                  <a:pos x="1542" y="1965"/>
                </a:cxn>
                <a:cxn ang="0">
                  <a:pos x="1480" y="1897"/>
                </a:cxn>
                <a:cxn ang="0">
                  <a:pos x="1516" y="1777"/>
                </a:cxn>
                <a:cxn ang="0">
                  <a:pos x="1491" y="1702"/>
                </a:cxn>
                <a:cxn ang="0">
                  <a:pos x="1612" y="1678"/>
                </a:cxn>
                <a:cxn ang="0">
                  <a:pos x="1703" y="1608"/>
                </a:cxn>
                <a:cxn ang="0">
                  <a:pos x="1814" y="1576"/>
                </a:cxn>
                <a:cxn ang="0">
                  <a:pos x="1898" y="1450"/>
                </a:cxn>
                <a:cxn ang="0">
                  <a:pos x="1968" y="1340"/>
                </a:cxn>
                <a:cxn ang="0">
                  <a:pos x="2107" y="1235"/>
                </a:cxn>
                <a:cxn ang="0">
                  <a:pos x="2184" y="1138"/>
                </a:cxn>
                <a:cxn ang="0">
                  <a:pos x="2131" y="1033"/>
                </a:cxn>
                <a:cxn ang="0">
                  <a:pos x="2085" y="934"/>
                </a:cxn>
                <a:cxn ang="0">
                  <a:pos x="2176" y="819"/>
                </a:cxn>
                <a:cxn ang="0">
                  <a:pos x="2293" y="633"/>
                </a:cxn>
                <a:cxn ang="0">
                  <a:pos x="2377" y="530"/>
                </a:cxn>
                <a:cxn ang="0">
                  <a:pos x="2305" y="446"/>
                </a:cxn>
                <a:cxn ang="0">
                  <a:pos x="2185" y="417"/>
                </a:cxn>
                <a:cxn ang="0">
                  <a:pos x="2064" y="181"/>
                </a:cxn>
                <a:cxn ang="0">
                  <a:pos x="2039" y="92"/>
                </a:cxn>
                <a:cxn ang="0">
                  <a:pos x="2055" y="1"/>
                </a:cxn>
                <a:cxn ang="0">
                  <a:pos x="1963" y="88"/>
                </a:cxn>
                <a:cxn ang="0">
                  <a:pos x="1866" y="224"/>
                </a:cxn>
                <a:cxn ang="0">
                  <a:pos x="1810" y="269"/>
                </a:cxn>
                <a:cxn ang="0">
                  <a:pos x="1731" y="269"/>
                </a:cxn>
                <a:cxn ang="0">
                  <a:pos x="1667" y="236"/>
                </a:cxn>
                <a:cxn ang="0">
                  <a:pos x="1564" y="260"/>
                </a:cxn>
                <a:cxn ang="0">
                  <a:pos x="1491" y="242"/>
                </a:cxn>
                <a:cxn ang="0">
                  <a:pos x="1396" y="320"/>
                </a:cxn>
                <a:cxn ang="0">
                  <a:pos x="1319" y="345"/>
                </a:cxn>
                <a:cxn ang="0">
                  <a:pos x="1290" y="416"/>
                </a:cxn>
                <a:cxn ang="0">
                  <a:pos x="1190" y="477"/>
                </a:cxn>
                <a:cxn ang="0">
                  <a:pos x="1227" y="560"/>
                </a:cxn>
                <a:cxn ang="0">
                  <a:pos x="1234" y="711"/>
                </a:cxn>
                <a:cxn ang="0">
                  <a:pos x="1289" y="819"/>
                </a:cxn>
                <a:cxn ang="0">
                  <a:pos x="1335" y="954"/>
                </a:cxn>
                <a:cxn ang="0">
                  <a:pos x="1306" y="1290"/>
                </a:cxn>
                <a:cxn ang="0">
                  <a:pos x="1174" y="1470"/>
                </a:cxn>
                <a:cxn ang="0">
                  <a:pos x="1059" y="1604"/>
                </a:cxn>
                <a:cxn ang="0">
                  <a:pos x="1017" y="1726"/>
                </a:cxn>
                <a:cxn ang="0">
                  <a:pos x="903" y="1808"/>
                </a:cxn>
                <a:cxn ang="0">
                  <a:pos x="863" y="1907"/>
                </a:cxn>
                <a:cxn ang="0">
                  <a:pos x="819" y="1949"/>
                </a:cxn>
                <a:cxn ang="0">
                  <a:pos x="806" y="1904"/>
                </a:cxn>
                <a:cxn ang="0">
                  <a:pos x="715" y="1872"/>
                </a:cxn>
                <a:cxn ang="0">
                  <a:pos x="653" y="1781"/>
                </a:cxn>
                <a:cxn ang="0">
                  <a:pos x="543" y="1716"/>
                </a:cxn>
                <a:cxn ang="0">
                  <a:pos x="440" y="1684"/>
                </a:cxn>
                <a:cxn ang="0">
                  <a:pos x="266" y="1611"/>
                </a:cxn>
                <a:cxn ang="0">
                  <a:pos x="222" y="1534"/>
                </a:cxn>
                <a:cxn ang="0">
                  <a:pos x="172" y="1496"/>
                </a:cxn>
                <a:cxn ang="0">
                  <a:pos x="68" y="1628"/>
                </a:cxn>
                <a:cxn ang="0">
                  <a:pos x="13" y="1658"/>
                </a:cxn>
                <a:cxn ang="0">
                  <a:pos x="5" y="1724"/>
                </a:cxn>
                <a:cxn ang="0">
                  <a:pos x="25" y="1804"/>
                </a:cxn>
                <a:cxn ang="0">
                  <a:pos x="547" y="1945"/>
                </a:cxn>
                <a:cxn ang="0">
                  <a:pos x="637" y="2075"/>
                </a:cxn>
                <a:cxn ang="0">
                  <a:pos x="722" y="2172"/>
                </a:cxn>
                <a:cxn ang="0">
                  <a:pos x="873" y="2167"/>
                </a:cxn>
                <a:cxn ang="0">
                  <a:pos x="1074" y="2059"/>
                </a:cxn>
                <a:cxn ang="0">
                  <a:pos x="1249" y="2039"/>
                </a:cxn>
                <a:cxn ang="0">
                  <a:pos x="1420" y="2091"/>
                </a:cxn>
              </a:cxnLst>
              <a:rect l="0" t="0" r="r" b="b"/>
              <a:pathLst>
                <a:path w="2377" h="2180">
                  <a:moveTo>
                    <a:pt x="1456" y="2079"/>
                  </a:moveTo>
                  <a:lnTo>
                    <a:pt x="1456" y="2084"/>
                  </a:lnTo>
                  <a:lnTo>
                    <a:pt x="1459" y="2071"/>
                  </a:lnTo>
                  <a:lnTo>
                    <a:pt x="1464" y="2059"/>
                  </a:lnTo>
                  <a:lnTo>
                    <a:pt x="1470" y="2048"/>
                  </a:lnTo>
                  <a:lnTo>
                    <a:pt x="1476" y="2037"/>
                  </a:lnTo>
                  <a:lnTo>
                    <a:pt x="1492" y="2019"/>
                  </a:lnTo>
                  <a:lnTo>
                    <a:pt x="1510" y="2000"/>
                  </a:lnTo>
                  <a:lnTo>
                    <a:pt x="1527" y="1983"/>
                  </a:lnTo>
                  <a:lnTo>
                    <a:pt x="1542" y="1965"/>
                  </a:lnTo>
                  <a:lnTo>
                    <a:pt x="1548" y="1955"/>
                  </a:lnTo>
                  <a:lnTo>
                    <a:pt x="1554" y="1944"/>
                  </a:lnTo>
                  <a:lnTo>
                    <a:pt x="1556" y="1933"/>
                  </a:lnTo>
                  <a:lnTo>
                    <a:pt x="1559" y="1921"/>
                  </a:lnTo>
                  <a:lnTo>
                    <a:pt x="1538" y="1917"/>
                  </a:lnTo>
                  <a:lnTo>
                    <a:pt x="1507" y="1911"/>
                  </a:lnTo>
                  <a:lnTo>
                    <a:pt x="1499" y="1908"/>
                  </a:lnTo>
                  <a:lnTo>
                    <a:pt x="1492" y="1905"/>
                  </a:lnTo>
                  <a:lnTo>
                    <a:pt x="1486" y="1901"/>
                  </a:lnTo>
                  <a:lnTo>
                    <a:pt x="1480" y="1897"/>
                  </a:lnTo>
                  <a:lnTo>
                    <a:pt x="1475" y="1893"/>
                  </a:lnTo>
                  <a:lnTo>
                    <a:pt x="1471" y="1887"/>
                  </a:lnTo>
                  <a:lnTo>
                    <a:pt x="1470" y="1881"/>
                  </a:lnTo>
                  <a:lnTo>
                    <a:pt x="1468" y="1873"/>
                  </a:lnTo>
                  <a:lnTo>
                    <a:pt x="1470" y="1859"/>
                  </a:lnTo>
                  <a:lnTo>
                    <a:pt x="1474" y="1845"/>
                  </a:lnTo>
                  <a:lnTo>
                    <a:pt x="1479" y="1832"/>
                  </a:lnTo>
                  <a:lnTo>
                    <a:pt x="1486" y="1820"/>
                  </a:lnTo>
                  <a:lnTo>
                    <a:pt x="1502" y="1799"/>
                  </a:lnTo>
                  <a:lnTo>
                    <a:pt x="1516" y="1777"/>
                  </a:lnTo>
                  <a:lnTo>
                    <a:pt x="1506" y="1768"/>
                  </a:lnTo>
                  <a:lnTo>
                    <a:pt x="1494" y="1756"/>
                  </a:lnTo>
                  <a:lnTo>
                    <a:pt x="1488" y="1750"/>
                  </a:lnTo>
                  <a:lnTo>
                    <a:pt x="1484" y="1743"/>
                  </a:lnTo>
                  <a:lnTo>
                    <a:pt x="1482" y="1734"/>
                  </a:lnTo>
                  <a:lnTo>
                    <a:pt x="1480" y="1723"/>
                  </a:lnTo>
                  <a:lnTo>
                    <a:pt x="1482" y="1716"/>
                  </a:lnTo>
                  <a:lnTo>
                    <a:pt x="1483" y="1711"/>
                  </a:lnTo>
                  <a:lnTo>
                    <a:pt x="1487" y="1706"/>
                  </a:lnTo>
                  <a:lnTo>
                    <a:pt x="1491" y="1702"/>
                  </a:lnTo>
                  <a:lnTo>
                    <a:pt x="1498" y="1698"/>
                  </a:lnTo>
                  <a:lnTo>
                    <a:pt x="1504" y="1694"/>
                  </a:lnTo>
                  <a:lnTo>
                    <a:pt x="1511" y="1691"/>
                  </a:lnTo>
                  <a:lnTo>
                    <a:pt x="1520" y="1688"/>
                  </a:lnTo>
                  <a:lnTo>
                    <a:pt x="1538" y="1684"/>
                  </a:lnTo>
                  <a:lnTo>
                    <a:pt x="1556" y="1683"/>
                  </a:lnTo>
                  <a:lnTo>
                    <a:pt x="1576" y="1682"/>
                  </a:lnTo>
                  <a:lnTo>
                    <a:pt x="1595" y="1680"/>
                  </a:lnTo>
                  <a:lnTo>
                    <a:pt x="1604" y="1680"/>
                  </a:lnTo>
                  <a:lnTo>
                    <a:pt x="1612" y="1678"/>
                  </a:lnTo>
                  <a:lnTo>
                    <a:pt x="1620" y="1674"/>
                  </a:lnTo>
                  <a:lnTo>
                    <a:pt x="1627" y="1670"/>
                  </a:lnTo>
                  <a:lnTo>
                    <a:pt x="1638" y="1658"/>
                  </a:lnTo>
                  <a:lnTo>
                    <a:pt x="1647" y="1644"/>
                  </a:lnTo>
                  <a:lnTo>
                    <a:pt x="1656" y="1631"/>
                  </a:lnTo>
                  <a:lnTo>
                    <a:pt x="1668" y="1620"/>
                  </a:lnTo>
                  <a:lnTo>
                    <a:pt x="1676" y="1615"/>
                  </a:lnTo>
                  <a:lnTo>
                    <a:pt x="1684" y="1612"/>
                  </a:lnTo>
                  <a:lnTo>
                    <a:pt x="1692" y="1610"/>
                  </a:lnTo>
                  <a:lnTo>
                    <a:pt x="1703" y="1608"/>
                  </a:lnTo>
                  <a:lnTo>
                    <a:pt x="1731" y="1610"/>
                  </a:lnTo>
                  <a:lnTo>
                    <a:pt x="1759" y="1608"/>
                  </a:lnTo>
                  <a:lnTo>
                    <a:pt x="1772" y="1607"/>
                  </a:lnTo>
                  <a:lnTo>
                    <a:pt x="1784" y="1603"/>
                  </a:lnTo>
                  <a:lnTo>
                    <a:pt x="1791" y="1602"/>
                  </a:lnTo>
                  <a:lnTo>
                    <a:pt x="1796" y="1598"/>
                  </a:lnTo>
                  <a:lnTo>
                    <a:pt x="1802" y="1595"/>
                  </a:lnTo>
                  <a:lnTo>
                    <a:pt x="1806" y="1591"/>
                  </a:lnTo>
                  <a:lnTo>
                    <a:pt x="1811" y="1583"/>
                  </a:lnTo>
                  <a:lnTo>
                    <a:pt x="1814" y="1576"/>
                  </a:lnTo>
                  <a:lnTo>
                    <a:pt x="1815" y="1568"/>
                  </a:lnTo>
                  <a:lnTo>
                    <a:pt x="1815" y="1559"/>
                  </a:lnTo>
                  <a:lnTo>
                    <a:pt x="1815" y="1551"/>
                  </a:lnTo>
                  <a:lnTo>
                    <a:pt x="1816" y="1542"/>
                  </a:lnTo>
                  <a:lnTo>
                    <a:pt x="1819" y="1534"/>
                  </a:lnTo>
                  <a:lnTo>
                    <a:pt x="1824" y="1524"/>
                  </a:lnTo>
                  <a:lnTo>
                    <a:pt x="1846" y="1503"/>
                  </a:lnTo>
                  <a:lnTo>
                    <a:pt x="1864" y="1486"/>
                  </a:lnTo>
                  <a:lnTo>
                    <a:pt x="1882" y="1467"/>
                  </a:lnTo>
                  <a:lnTo>
                    <a:pt x="1898" y="1450"/>
                  </a:lnTo>
                  <a:lnTo>
                    <a:pt x="1904" y="1440"/>
                  </a:lnTo>
                  <a:lnTo>
                    <a:pt x="1911" y="1430"/>
                  </a:lnTo>
                  <a:lnTo>
                    <a:pt x="1918" y="1419"/>
                  </a:lnTo>
                  <a:lnTo>
                    <a:pt x="1924" y="1407"/>
                  </a:lnTo>
                  <a:lnTo>
                    <a:pt x="1930" y="1394"/>
                  </a:lnTo>
                  <a:lnTo>
                    <a:pt x="1935" y="1378"/>
                  </a:lnTo>
                  <a:lnTo>
                    <a:pt x="1940" y="1362"/>
                  </a:lnTo>
                  <a:lnTo>
                    <a:pt x="1944" y="1343"/>
                  </a:lnTo>
                  <a:lnTo>
                    <a:pt x="1956" y="1343"/>
                  </a:lnTo>
                  <a:lnTo>
                    <a:pt x="1968" y="1340"/>
                  </a:lnTo>
                  <a:lnTo>
                    <a:pt x="1980" y="1338"/>
                  </a:lnTo>
                  <a:lnTo>
                    <a:pt x="1992" y="1332"/>
                  </a:lnTo>
                  <a:lnTo>
                    <a:pt x="2004" y="1327"/>
                  </a:lnTo>
                  <a:lnTo>
                    <a:pt x="2015" y="1320"/>
                  </a:lnTo>
                  <a:lnTo>
                    <a:pt x="2027" y="1314"/>
                  </a:lnTo>
                  <a:lnTo>
                    <a:pt x="2038" y="1306"/>
                  </a:lnTo>
                  <a:lnTo>
                    <a:pt x="2057" y="1288"/>
                  </a:lnTo>
                  <a:lnTo>
                    <a:pt x="2076" y="1270"/>
                  </a:lnTo>
                  <a:lnTo>
                    <a:pt x="2092" y="1252"/>
                  </a:lnTo>
                  <a:lnTo>
                    <a:pt x="2107" y="1235"/>
                  </a:lnTo>
                  <a:lnTo>
                    <a:pt x="2123" y="1222"/>
                  </a:lnTo>
                  <a:lnTo>
                    <a:pt x="2137" y="1211"/>
                  </a:lnTo>
                  <a:lnTo>
                    <a:pt x="2151" y="1199"/>
                  </a:lnTo>
                  <a:lnTo>
                    <a:pt x="2161" y="1186"/>
                  </a:lnTo>
                  <a:lnTo>
                    <a:pt x="2167" y="1179"/>
                  </a:lnTo>
                  <a:lnTo>
                    <a:pt x="2172" y="1173"/>
                  </a:lnTo>
                  <a:lnTo>
                    <a:pt x="2176" y="1165"/>
                  </a:lnTo>
                  <a:lnTo>
                    <a:pt x="2179" y="1157"/>
                  </a:lnTo>
                  <a:lnTo>
                    <a:pt x="2181" y="1147"/>
                  </a:lnTo>
                  <a:lnTo>
                    <a:pt x="2184" y="1138"/>
                  </a:lnTo>
                  <a:lnTo>
                    <a:pt x="2184" y="1127"/>
                  </a:lnTo>
                  <a:lnTo>
                    <a:pt x="2185" y="1115"/>
                  </a:lnTo>
                  <a:lnTo>
                    <a:pt x="2184" y="1101"/>
                  </a:lnTo>
                  <a:lnTo>
                    <a:pt x="2180" y="1087"/>
                  </a:lnTo>
                  <a:lnTo>
                    <a:pt x="2175" y="1075"/>
                  </a:lnTo>
                  <a:lnTo>
                    <a:pt x="2168" y="1065"/>
                  </a:lnTo>
                  <a:lnTo>
                    <a:pt x="2160" y="1055"/>
                  </a:lnTo>
                  <a:lnTo>
                    <a:pt x="2151" y="1047"/>
                  </a:lnTo>
                  <a:lnTo>
                    <a:pt x="2141" y="1039"/>
                  </a:lnTo>
                  <a:lnTo>
                    <a:pt x="2131" y="1033"/>
                  </a:lnTo>
                  <a:lnTo>
                    <a:pt x="2111" y="1018"/>
                  </a:lnTo>
                  <a:lnTo>
                    <a:pt x="2093" y="1002"/>
                  </a:lnTo>
                  <a:lnTo>
                    <a:pt x="2087" y="993"/>
                  </a:lnTo>
                  <a:lnTo>
                    <a:pt x="2081" y="982"/>
                  </a:lnTo>
                  <a:lnTo>
                    <a:pt x="2077" y="971"/>
                  </a:lnTo>
                  <a:lnTo>
                    <a:pt x="2076" y="958"/>
                  </a:lnTo>
                  <a:lnTo>
                    <a:pt x="2077" y="951"/>
                  </a:lnTo>
                  <a:lnTo>
                    <a:pt x="2079" y="945"/>
                  </a:lnTo>
                  <a:lnTo>
                    <a:pt x="2081" y="938"/>
                  </a:lnTo>
                  <a:lnTo>
                    <a:pt x="2085" y="934"/>
                  </a:lnTo>
                  <a:lnTo>
                    <a:pt x="2095" y="925"/>
                  </a:lnTo>
                  <a:lnTo>
                    <a:pt x="2105" y="918"/>
                  </a:lnTo>
                  <a:lnTo>
                    <a:pt x="2119" y="911"/>
                  </a:lnTo>
                  <a:lnTo>
                    <a:pt x="2129" y="905"/>
                  </a:lnTo>
                  <a:lnTo>
                    <a:pt x="2136" y="901"/>
                  </a:lnTo>
                  <a:lnTo>
                    <a:pt x="2140" y="897"/>
                  </a:lnTo>
                  <a:lnTo>
                    <a:pt x="2145" y="891"/>
                  </a:lnTo>
                  <a:lnTo>
                    <a:pt x="2149" y="886"/>
                  </a:lnTo>
                  <a:lnTo>
                    <a:pt x="2163" y="854"/>
                  </a:lnTo>
                  <a:lnTo>
                    <a:pt x="2176" y="819"/>
                  </a:lnTo>
                  <a:lnTo>
                    <a:pt x="2192" y="783"/>
                  </a:lnTo>
                  <a:lnTo>
                    <a:pt x="2208" y="746"/>
                  </a:lnTo>
                  <a:lnTo>
                    <a:pt x="2216" y="729"/>
                  </a:lnTo>
                  <a:lnTo>
                    <a:pt x="2225" y="711"/>
                  </a:lnTo>
                  <a:lnTo>
                    <a:pt x="2235" y="694"/>
                  </a:lnTo>
                  <a:lnTo>
                    <a:pt x="2245" y="679"/>
                  </a:lnTo>
                  <a:lnTo>
                    <a:pt x="2256" y="665"/>
                  </a:lnTo>
                  <a:lnTo>
                    <a:pt x="2268" y="653"/>
                  </a:lnTo>
                  <a:lnTo>
                    <a:pt x="2280" y="642"/>
                  </a:lnTo>
                  <a:lnTo>
                    <a:pt x="2293" y="633"/>
                  </a:lnTo>
                  <a:lnTo>
                    <a:pt x="2321" y="617"/>
                  </a:lnTo>
                  <a:lnTo>
                    <a:pt x="2349" y="600"/>
                  </a:lnTo>
                  <a:lnTo>
                    <a:pt x="2355" y="594"/>
                  </a:lnTo>
                  <a:lnTo>
                    <a:pt x="2360" y="589"/>
                  </a:lnTo>
                  <a:lnTo>
                    <a:pt x="2365" y="582"/>
                  </a:lnTo>
                  <a:lnTo>
                    <a:pt x="2369" y="574"/>
                  </a:lnTo>
                  <a:lnTo>
                    <a:pt x="2373" y="565"/>
                  </a:lnTo>
                  <a:lnTo>
                    <a:pt x="2376" y="556"/>
                  </a:lnTo>
                  <a:lnTo>
                    <a:pt x="2377" y="544"/>
                  </a:lnTo>
                  <a:lnTo>
                    <a:pt x="2377" y="530"/>
                  </a:lnTo>
                  <a:lnTo>
                    <a:pt x="2377" y="522"/>
                  </a:lnTo>
                  <a:lnTo>
                    <a:pt x="2376" y="514"/>
                  </a:lnTo>
                  <a:lnTo>
                    <a:pt x="2375" y="508"/>
                  </a:lnTo>
                  <a:lnTo>
                    <a:pt x="2372" y="501"/>
                  </a:lnTo>
                  <a:lnTo>
                    <a:pt x="2368" y="494"/>
                  </a:lnTo>
                  <a:lnTo>
                    <a:pt x="2364" y="489"/>
                  </a:lnTo>
                  <a:lnTo>
                    <a:pt x="2360" y="485"/>
                  </a:lnTo>
                  <a:lnTo>
                    <a:pt x="2355" y="480"/>
                  </a:lnTo>
                  <a:lnTo>
                    <a:pt x="2332" y="464"/>
                  </a:lnTo>
                  <a:lnTo>
                    <a:pt x="2305" y="446"/>
                  </a:lnTo>
                  <a:lnTo>
                    <a:pt x="2297" y="441"/>
                  </a:lnTo>
                  <a:lnTo>
                    <a:pt x="2291" y="436"/>
                  </a:lnTo>
                  <a:lnTo>
                    <a:pt x="2284" y="432"/>
                  </a:lnTo>
                  <a:lnTo>
                    <a:pt x="2276" y="429"/>
                  </a:lnTo>
                  <a:lnTo>
                    <a:pt x="2263" y="426"/>
                  </a:lnTo>
                  <a:lnTo>
                    <a:pt x="2249" y="425"/>
                  </a:lnTo>
                  <a:lnTo>
                    <a:pt x="2236" y="425"/>
                  </a:lnTo>
                  <a:lnTo>
                    <a:pt x="2221" y="424"/>
                  </a:lnTo>
                  <a:lnTo>
                    <a:pt x="2204" y="421"/>
                  </a:lnTo>
                  <a:lnTo>
                    <a:pt x="2185" y="417"/>
                  </a:lnTo>
                  <a:lnTo>
                    <a:pt x="2179" y="402"/>
                  </a:lnTo>
                  <a:lnTo>
                    <a:pt x="2163" y="369"/>
                  </a:lnTo>
                  <a:lnTo>
                    <a:pt x="2147" y="333"/>
                  </a:lnTo>
                  <a:lnTo>
                    <a:pt x="2137" y="308"/>
                  </a:lnTo>
                  <a:lnTo>
                    <a:pt x="2129" y="290"/>
                  </a:lnTo>
                  <a:lnTo>
                    <a:pt x="2123" y="274"/>
                  </a:lnTo>
                  <a:lnTo>
                    <a:pt x="2113" y="260"/>
                  </a:lnTo>
                  <a:lnTo>
                    <a:pt x="2105" y="245"/>
                  </a:lnTo>
                  <a:lnTo>
                    <a:pt x="2085" y="214"/>
                  </a:lnTo>
                  <a:lnTo>
                    <a:pt x="2064" y="181"/>
                  </a:lnTo>
                  <a:lnTo>
                    <a:pt x="2057" y="173"/>
                  </a:lnTo>
                  <a:lnTo>
                    <a:pt x="2047" y="164"/>
                  </a:lnTo>
                  <a:lnTo>
                    <a:pt x="2043" y="158"/>
                  </a:lnTo>
                  <a:lnTo>
                    <a:pt x="2039" y="152"/>
                  </a:lnTo>
                  <a:lnTo>
                    <a:pt x="2036" y="144"/>
                  </a:lnTo>
                  <a:lnTo>
                    <a:pt x="2035" y="133"/>
                  </a:lnTo>
                  <a:lnTo>
                    <a:pt x="2035" y="124"/>
                  </a:lnTo>
                  <a:lnTo>
                    <a:pt x="2035" y="113"/>
                  </a:lnTo>
                  <a:lnTo>
                    <a:pt x="2036" y="102"/>
                  </a:lnTo>
                  <a:lnTo>
                    <a:pt x="2039" y="92"/>
                  </a:lnTo>
                  <a:lnTo>
                    <a:pt x="2042" y="82"/>
                  </a:lnTo>
                  <a:lnTo>
                    <a:pt x="2047" y="74"/>
                  </a:lnTo>
                  <a:lnTo>
                    <a:pt x="2051" y="72"/>
                  </a:lnTo>
                  <a:lnTo>
                    <a:pt x="2055" y="69"/>
                  </a:lnTo>
                  <a:lnTo>
                    <a:pt x="2059" y="68"/>
                  </a:lnTo>
                  <a:lnTo>
                    <a:pt x="2064" y="68"/>
                  </a:lnTo>
                  <a:lnTo>
                    <a:pt x="2076" y="30"/>
                  </a:lnTo>
                  <a:lnTo>
                    <a:pt x="2076" y="1"/>
                  </a:lnTo>
                  <a:lnTo>
                    <a:pt x="2065" y="0"/>
                  </a:lnTo>
                  <a:lnTo>
                    <a:pt x="2055" y="1"/>
                  </a:lnTo>
                  <a:lnTo>
                    <a:pt x="2044" y="3"/>
                  </a:lnTo>
                  <a:lnTo>
                    <a:pt x="2036" y="5"/>
                  </a:lnTo>
                  <a:lnTo>
                    <a:pt x="2027" y="9"/>
                  </a:lnTo>
                  <a:lnTo>
                    <a:pt x="2019" y="13"/>
                  </a:lnTo>
                  <a:lnTo>
                    <a:pt x="2012" y="19"/>
                  </a:lnTo>
                  <a:lnTo>
                    <a:pt x="2006" y="24"/>
                  </a:lnTo>
                  <a:lnTo>
                    <a:pt x="1992" y="37"/>
                  </a:lnTo>
                  <a:lnTo>
                    <a:pt x="1982" y="53"/>
                  </a:lnTo>
                  <a:lnTo>
                    <a:pt x="1972" y="70"/>
                  </a:lnTo>
                  <a:lnTo>
                    <a:pt x="1963" y="88"/>
                  </a:lnTo>
                  <a:lnTo>
                    <a:pt x="1946" y="126"/>
                  </a:lnTo>
                  <a:lnTo>
                    <a:pt x="1927" y="162"/>
                  </a:lnTo>
                  <a:lnTo>
                    <a:pt x="1916" y="178"/>
                  </a:lnTo>
                  <a:lnTo>
                    <a:pt x="1903" y="192"/>
                  </a:lnTo>
                  <a:lnTo>
                    <a:pt x="1896" y="198"/>
                  </a:lnTo>
                  <a:lnTo>
                    <a:pt x="1888" y="204"/>
                  </a:lnTo>
                  <a:lnTo>
                    <a:pt x="1880" y="208"/>
                  </a:lnTo>
                  <a:lnTo>
                    <a:pt x="1872" y="212"/>
                  </a:lnTo>
                  <a:lnTo>
                    <a:pt x="1868" y="216"/>
                  </a:lnTo>
                  <a:lnTo>
                    <a:pt x="1866" y="224"/>
                  </a:lnTo>
                  <a:lnTo>
                    <a:pt x="1863" y="233"/>
                  </a:lnTo>
                  <a:lnTo>
                    <a:pt x="1859" y="244"/>
                  </a:lnTo>
                  <a:lnTo>
                    <a:pt x="1855" y="254"/>
                  </a:lnTo>
                  <a:lnTo>
                    <a:pt x="1847" y="264"/>
                  </a:lnTo>
                  <a:lnTo>
                    <a:pt x="1843" y="266"/>
                  </a:lnTo>
                  <a:lnTo>
                    <a:pt x="1838" y="269"/>
                  </a:lnTo>
                  <a:lnTo>
                    <a:pt x="1831" y="272"/>
                  </a:lnTo>
                  <a:lnTo>
                    <a:pt x="1824" y="272"/>
                  </a:lnTo>
                  <a:lnTo>
                    <a:pt x="1816" y="272"/>
                  </a:lnTo>
                  <a:lnTo>
                    <a:pt x="1810" y="269"/>
                  </a:lnTo>
                  <a:lnTo>
                    <a:pt x="1802" y="266"/>
                  </a:lnTo>
                  <a:lnTo>
                    <a:pt x="1795" y="262"/>
                  </a:lnTo>
                  <a:lnTo>
                    <a:pt x="1783" y="257"/>
                  </a:lnTo>
                  <a:lnTo>
                    <a:pt x="1776" y="254"/>
                  </a:lnTo>
                  <a:lnTo>
                    <a:pt x="1767" y="254"/>
                  </a:lnTo>
                  <a:lnTo>
                    <a:pt x="1759" y="257"/>
                  </a:lnTo>
                  <a:lnTo>
                    <a:pt x="1752" y="260"/>
                  </a:lnTo>
                  <a:lnTo>
                    <a:pt x="1746" y="262"/>
                  </a:lnTo>
                  <a:lnTo>
                    <a:pt x="1739" y="266"/>
                  </a:lnTo>
                  <a:lnTo>
                    <a:pt x="1731" y="269"/>
                  </a:lnTo>
                  <a:lnTo>
                    <a:pt x="1724" y="272"/>
                  </a:lnTo>
                  <a:lnTo>
                    <a:pt x="1715" y="272"/>
                  </a:lnTo>
                  <a:lnTo>
                    <a:pt x="1708" y="272"/>
                  </a:lnTo>
                  <a:lnTo>
                    <a:pt x="1702" y="270"/>
                  </a:lnTo>
                  <a:lnTo>
                    <a:pt x="1696" y="269"/>
                  </a:lnTo>
                  <a:lnTo>
                    <a:pt x="1691" y="266"/>
                  </a:lnTo>
                  <a:lnTo>
                    <a:pt x="1683" y="260"/>
                  </a:lnTo>
                  <a:lnTo>
                    <a:pt x="1676" y="252"/>
                  </a:lnTo>
                  <a:lnTo>
                    <a:pt x="1671" y="244"/>
                  </a:lnTo>
                  <a:lnTo>
                    <a:pt x="1667" y="236"/>
                  </a:lnTo>
                  <a:lnTo>
                    <a:pt x="1662" y="229"/>
                  </a:lnTo>
                  <a:lnTo>
                    <a:pt x="1655" y="224"/>
                  </a:lnTo>
                  <a:lnTo>
                    <a:pt x="1647" y="232"/>
                  </a:lnTo>
                  <a:lnTo>
                    <a:pt x="1639" y="240"/>
                  </a:lnTo>
                  <a:lnTo>
                    <a:pt x="1628" y="246"/>
                  </a:lnTo>
                  <a:lnTo>
                    <a:pt x="1616" y="250"/>
                  </a:lnTo>
                  <a:lnTo>
                    <a:pt x="1604" y="254"/>
                  </a:lnTo>
                  <a:lnTo>
                    <a:pt x="1592" y="257"/>
                  </a:lnTo>
                  <a:lnTo>
                    <a:pt x="1579" y="260"/>
                  </a:lnTo>
                  <a:lnTo>
                    <a:pt x="1564" y="260"/>
                  </a:lnTo>
                  <a:lnTo>
                    <a:pt x="1558" y="258"/>
                  </a:lnTo>
                  <a:lnTo>
                    <a:pt x="1548" y="254"/>
                  </a:lnTo>
                  <a:lnTo>
                    <a:pt x="1539" y="249"/>
                  </a:lnTo>
                  <a:lnTo>
                    <a:pt x="1530" y="242"/>
                  </a:lnTo>
                  <a:lnTo>
                    <a:pt x="1514" y="229"/>
                  </a:lnTo>
                  <a:lnTo>
                    <a:pt x="1504" y="224"/>
                  </a:lnTo>
                  <a:lnTo>
                    <a:pt x="1500" y="226"/>
                  </a:lnTo>
                  <a:lnTo>
                    <a:pt x="1496" y="230"/>
                  </a:lnTo>
                  <a:lnTo>
                    <a:pt x="1494" y="236"/>
                  </a:lnTo>
                  <a:lnTo>
                    <a:pt x="1491" y="242"/>
                  </a:lnTo>
                  <a:lnTo>
                    <a:pt x="1488" y="256"/>
                  </a:lnTo>
                  <a:lnTo>
                    <a:pt x="1486" y="272"/>
                  </a:lnTo>
                  <a:lnTo>
                    <a:pt x="1483" y="300"/>
                  </a:lnTo>
                  <a:lnTo>
                    <a:pt x="1480" y="314"/>
                  </a:lnTo>
                  <a:lnTo>
                    <a:pt x="1470" y="317"/>
                  </a:lnTo>
                  <a:lnTo>
                    <a:pt x="1460" y="320"/>
                  </a:lnTo>
                  <a:lnTo>
                    <a:pt x="1450" y="321"/>
                  </a:lnTo>
                  <a:lnTo>
                    <a:pt x="1439" y="321"/>
                  </a:lnTo>
                  <a:lnTo>
                    <a:pt x="1418" y="321"/>
                  </a:lnTo>
                  <a:lnTo>
                    <a:pt x="1396" y="320"/>
                  </a:lnTo>
                  <a:lnTo>
                    <a:pt x="1378" y="320"/>
                  </a:lnTo>
                  <a:lnTo>
                    <a:pt x="1362" y="320"/>
                  </a:lnTo>
                  <a:lnTo>
                    <a:pt x="1354" y="320"/>
                  </a:lnTo>
                  <a:lnTo>
                    <a:pt x="1347" y="321"/>
                  </a:lnTo>
                  <a:lnTo>
                    <a:pt x="1340" y="324"/>
                  </a:lnTo>
                  <a:lnTo>
                    <a:pt x="1336" y="326"/>
                  </a:lnTo>
                  <a:lnTo>
                    <a:pt x="1330" y="330"/>
                  </a:lnTo>
                  <a:lnTo>
                    <a:pt x="1326" y="336"/>
                  </a:lnTo>
                  <a:lnTo>
                    <a:pt x="1322" y="340"/>
                  </a:lnTo>
                  <a:lnTo>
                    <a:pt x="1319" y="345"/>
                  </a:lnTo>
                  <a:lnTo>
                    <a:pt x="1316" y="356"/>
                  </a:lnTo>
                  <a:lnTo>
                    <a:pt x="1316" y="365"/>
                  </a:lnTo>
                  <a:lnTo>
                    <a:pt x="1316" y="376"/>
                  </a:lnTo>
                  <a:lnTo>
                    <a:pt x="1315" y="385"/>
                  </a:lnTo>
                  <a:lnTo>
                    <a:pt x="1315" y="390"/>
                  </a:lnTo>
                  <a:lnTo>
                    <a:pt x="1312" y="396"/>
                  </a:lnTo>
                  <a:lnTo>
                    <a:pt x="1310" y="400"/>
                  </a:lnTo>
                  <a:lnTo>
                    <a:pt x="1306" y="405"/>
                  </a:lnTo>
                  <a:lnTo>
                    <a:pt x="1299" y="410"/>
                  </a:lnTo>
                  <a:lnTo>
                    <a:pt x="1290" y="416"/>
                  </a:lnTo>
                  <a:lnTo>
                    <a:pt x="1282" y="421"/>
                  </a:lnTo>
                  <a:lnTo>
                    <a:pt x="1273" y="425"/>
                  </a:lnTo>
                  <a:lnTo>
                    <a:pt x="1253" y="432"/>
                  </a:lnTo>
                  <a:lnTo>
                    <a:pt x="1233" y="440"/>
                  </a:lnTo>
                  <a:lnTo>
                    <a:pt x="1223" y="444"/>
                  </a:lnTo>
                  <a:lnTo>
                    <a:pt x="1214" y="448"/>
                  </a:lnTo>
                  <a:lnTo>
                    <a:pt x="1206" y="454"/>
                  </a:lnTo>
                  <a:lnTo>
                    <a:pt x="1199" y="461"/>
                  </a:lnTo>
                  <a:lnTo>
                    <a:pt x="1194" y="468"/>
                  </a:lnTo>
                  <a:lnTo>
                    <a:pt x="1190" y="477"/>
                  </a:lnTo>
                  <a:lnTo>
                    <a:pt x="1186" y="488"/>
                  </a:lnTo>
                  <a:lnTo>
                    <a:pt x="1186" y="501"/>
                  </a:lnTo>
                  <a:lnTo>
                    <a:pt x="1186" y="509"/>
                  </a:lnTo>
                  <a:lnTo>
                    <a:pt x="1189" y="518"/>
                  </a:lnTo>
                  <a:lnTo>
                    <a:pt x="1193" y="526"/>
                  </a:lnTo>
                  <a:lnTo>
                    <a:pt x="1198" y="534"/>
                  </a:lnTo>
                  <a:lnTo>
                    <a:pt x="1205" y="541"/>
                  </a:lnTo>
                  <a:lnTo>
                    <a:pt x="1211" y="548"/>
                  </a:lnTo>
                  <a:lnTo>
                    <a:pt x="1219" y="554"/>
                  </a:lnTo>
                  <a:lnTo>
                    <a:pt x="1227" y="560"/>
                  </a:lnTo>
                  <a:lnTo>
                    <a:pt x="1262" y="581"/>
                  </a:lnTo>
                  <a:lnTo>
                    <a:pt x="1289" y="597"/>
                  </a:lnTo>
                  <a:lnTo>
                    <a:pt x="1275" y="609"/>
                  </a:lnTo>
                  <a:lnTo>
                    <a:pt x="1265" y="619"/>
                  </a:lnTo>
                  <a:lnTo>
                    <a:pt x="1255" y="633"/>
                  </a:lnTo>
                  <a:lnTo>
                    <a:pt x="1247" y="645"/>
                  </a:lnTo>
                  <a:lnTo>
                    <a:pt x="1242" y="659"/>
                  </a:lnTo>
                  <a:lnTo>
                    <a:pt x="1237" y="675"/>
                  </a:lnTo>
                  <a:lnTo>
                    <a:pt x="1235" y="693"/>
                  </a:lnTo>
                  <a:lnTo>
                    <a:pt x="1234" y="711"/>
                  </a:lnTo>
                  <a:lnTo>
                    <a:pt x="1235" y="727"/>
                  </a:lnTo>
                  <a:lnTo>
                    <a:pt x="1238" y="745"/>
                  </a:lnTo>
                  <a:lnTo>
                    <a:pt x="1243" y="761"/>
                  </a:lnTo>
                  <a:lnTo>
                    <a:pt x="1250" y="777"/>
                  </a:lnTo>
                  <a:lnTo>
                    <a:pt x="1258" y="791"/>
                  </a:lnTo>
                  <a:lnTo>
                    <a:pt x="1267" y="803"/>
                  </a:lnTo>
                  <a:lnTo>
                    <a:pt x="1271" y="809"/>
                  </a:lnTo>
                  <a:lnTo>
                    <a:pt x="1277" y="814"/>
                  </a:lnTo>
                  <a:lnTo>
                    <a:pt x="1282" y="817"/>
                  </a:lnTo>
                  <a:lnTo>
                    <a:pt x="1289" y="819"/>
                  </a:lnTo>
                  <a:lnTo>
                    <a:pt x="1295" y="842"/>
                  </a:lnTo>
                  <a:lnTo>
                    <a:pt x="1300" y="865"/>
                  </a:lnTo>
                  <a:lnTo>
                    <a:pt x="1303" y="886"/>
                  </a:lnTo>
                  <a:lnTo>
                    <a:pt x="1307" y="906"/>
                  </a:lnTo>
                  <a:lnTo>
                    <a:pt x="1310" y="915"/>
                  </a:lnTo>
                  <a:lnTo>
                    <a:pt x="1312" y="923"/>
                  </a:lnTo>
                  <a:lnTo>
                    <a:pt x="1316" y="933"/>
                  </a:lnTo>
                  <a:lnTo>
                    <a:pt x="1322" y="941"/>
                  </a:lnTo>
                  <a:lnTo>
                    <a:pt x="1327" y="947"/>
                  </a:lnTo>
                  <a:lnTo>
                    <a:pt x="1335" y="954"/>
                  </a:lnTo>
                  <a:lnTo>
                    <a:pt x="1343" y="959"/>
                  </a:lnTo>
                  <a:lnTo>
                    <a:pt x="1354" y="965"/>
                  </a:lnTo>
                  <a:lnTo>
                    <a:pt x="1346" y="1009"/>
                  </a:lnTo>
                  <a:lnTo>
                    <a:pt x="1336" y="1061"/>
                  </a:lnTo>
                  <a:lnTo>
                    <a:pt x="1328" y="1114"/>
                  </a:lnTo>
                  <a:lnTo>
                    <a:pt x="1320" y="1166"/>
                  </a:lnTo>
                  <a:lnTo>
                    <a:pt x="1315" y="1212"/>
                  </a:lnTo>
                  <a:lnTo>
                    <a:pt x="1310" y="1251"/>
                  </a:lnTo>
                  <a:lnTo>
                    <a:pt x="1307" y="1278"/>
                  </a:lnTo>
                  <a:lnTo>
                    <a:pt x="1306" y="1290"/>
                  </a:lnTo>
                  <a:lnTo>
                    <a:pt x="1303" y="1296"/>
                  </a:lnTo>
                  <a:lnTo>
                    <a:pt x="1294" y="1314"/>
                  </a:lnTo>
                  <a:lnTo>
                    <a:pt x="1281" y="1336"/>
                  </a:lnTo>
                  <a:lnTo>
                    <a:pt x="1262" y="1364"/>
                  </a:lnTo>
                  <a:lnTo>
                    <a:pt x="1242" y="1394"/>
                  </a:lnTo>
                  <a:lnTo>
                    <a:pt x="1219" y="1422"/>
                  </a:lnTo>
                  <a:lnTo>
                    <a:pt x="1209" y="1436"/>
                  </a:lnTo>
                  <a:lnTo>
                    <a:pt x="1197" y="1448"/>
                  </a:lnTo>
                  <a:lnTo>
                    <a:pt x="1185" y="1460"/>
                  </a:lnTo>
                  <a:lnTo>
                    <a:pt x="1174" y="1470"/>
                  </a:lnTo>
                  <a:lnTo>
                    <a:pt x="1147" y="1491"/>
                  </a:lnTo>
                  <a:lnTo>
                    <a:pt x="1125" y="1512"/>
                  </a:lnTo>
                  <a:lnTo>
                    <a:pt x="1114" y="1523"/>
                  </a:lnTo>
                  <a:lnTo>
                    <a:pt x="1103" y="1534"/>
                  </a:lnTo>
                  <a:lnTo>
                    <a:pt x="1094" y="1546"/>
                  </a:lnTo>
                  <a:lnTo>
                    <a:pt x="1086" y="1556"/>
                  </a:lnTo>
                  <a:lnTo>
                    <a:pt x="1078" y="1568"/>
                  </a:lnTo>
                  <a:lnTo>
                    <a:pt x="1071" y="1580"/>
                  </a:lnTo>
                  <a:lnTo>
                    <a:pt x="1065" y="1592"/>
                  </a:lnTo>
                  <a:lnTo>
                    <a:pt x="1059" y="1604"/>
                  </a:lnTo>
                  <a:lnTo>
                    <a:pt x="1055" y="1618"/>
                  </a:lnTo>
                  <a:lnTo>
                    <a:pt x="1051" y="1630"/>
                  </a:lnTo>
                  <a:lnTo>
                    <a:pt x="1049" y="1643"/>
                  </a:lnTo>
                  <a:lnTo>
                    <a:pt x="1047" y="1656"/>
                  </a:lnTo>
                  <a:lnTo>
                    <a:pt x="1045" y="1668"/>
                  </a:lnTo>
                  <a:lnTo>
                    <a:pt x="1042" y="1679"/>
                  </a:lnTo>
                  <a:lnTo>
                    <a:pt x="1039" y="1688"/>
                  </a:lnTo>
                  <a:lnTo>
                    <a:pt x="1035" y="1698"/>
                  </a:lnTo>
                  <a:lnTo>
                    <a:pt x="1027" y="1714"/>
                  </a:lnTo>
                  <a:lnTo>
                    <a:pt x="1017" y="1726"/>
                  </a:lnTo>
                  <a:lnTo>
                    <a:pt x="1006" y="1738"/>
                  </a:lnTo>
                  <a:lnTo>
                    <a:pt x="994" y="1747"/>
                  </a:lnTo>
                  <a:lnTo>
                    <a:pt x="981" y="1754"/>
                  </a:lnTo>
                  <a:lnTo>
                    <a:pt x="969" y="1760"/>
                  </a:lnTo>
                  <a:lnTo>
                    <a:pt x="943" y="1772"/>
                  </a:lnTo>
                  <a:lnTo>
                    <a:pt x="922" y="1784"/>
                  </a:lnTo>
                  <a:lnTo>
                    <a:pt x="914" y="1791"/>
                  </a:lnTo>
                  <a:lnTo>
                    <a:pt x="909" y="1799"/>
                  </a:lnTo>
                  <a:lnTo>
                    <a:pt x="906" y="1803"/>
                  </a:lnTo>
                  <a:lnTo>
                    <a:pt x="903" y="1808"/>
                  </a:lnTo>
                  <a:lnTo>
                    <a:pt x="903" y="1813"/>
                  </a:lnTo>
                  <a:lnTo>
                    <a:pt x="902" y="1819"/>
                  </a:lnTo>
                  <a:lnTo>
                    <a:pt x="903" y="1828"/>
                  </a:lnTo>
                  <a:lnTo>
                    <a:pt x="905" y="1835"/>
                  </a:lnTo>
                  <a:lnTo>
                    <a:pt x="906" y="1843"/>
                  </a:lnTo>
                  <a:lnTo>
                    <a:pt x="909" y="1849"/>
                  </a:lnTo>
                  <a:lnTo>
                    <a:pt x="913" y="1863"/>
                  </a:lnTo>
                  <a:lnTo>
                    <a:pt x="914" y="1880"/>
                  </a:lnTo>
                  <a:lnTo>
                    <a:pt x="890" y="1895"/>
                  </a:lnTo>
                  <a:lnTo>
                    <a:pt x="863" y="1907"/>
                  </a:lnTo>
                  <a:lnTo>
                    <a:pt x="858" y="1911"/>
                  </a:lnTo>
                  <a:lnTo>
                    <a:pt x="851" y="1913"/>
                  </a:lnTo>
                  <a:lnTo>
                    <a:pt x="846" y="1919"/>
                  </a:lnTo>
                  <a:lnTo>
                    <a:pt x="842" y="1924"/>
                  </a:lnTo>
                  <a:lnTo>
                    <a:pt x="838" y="1929"/>
                  </a:lnTo>
                  <a:lnTo>
                    <a:pt x="834" y="1936"/>
                  </a:lnTo>
                  <a:lnTo>
                    <a:pt x="831" y="1943"/>
                  </a:lnTo>
                  <a:lnTo>
                    <a:pt x="830" y="1952"/>
                  </a:lnTo>
                  <a:lnTo>
                    <a:pt x="825" y="1951"/>
                  </a:lnTo>
                  <a:lnTo>
                    <a:pt x="819" y="1949"/>
                  </a:lnTo>
                  <a:lnTo>
                    <a:pt x="817" y="1947"/>
                  </a:lnTo>
                  <a:lnTo>
                    <a:pt x="814" y="1945"/>
                  </a:lnTo>
                  <a:lnTo>
                    <a:pt x="811" y="1940"/>
                  </a:lnTo>
                  <a:lnTo>
                    <a:pt x="811" y="1935"/>
                  </a:lnTo>
                  <a:lnTo>
                    <a:pt x="813" y="1928"/>
                  </a:lnTo>
                  <a:lnTo>
                    <a:pt x="813" y="1920"/>
                  </a:lnTo>
                  <a:lnTo>
                    <a:pt x="813" y="1916"/>
                  </a:lnTo>
                  <a:lnTo>
                    <a:pt x="811" y="1912"/>
                  </a:lnTo>
                  <a:lnTo>
                    <a:pt x="809" y="1908"/>
                  </a:lnTo>
                  <a:lnTo>
                    <a:pt x="806" y="1904"/>
                  </a:lnTo>
                  <a:lnTo>
                    <a:pt x="798" y="1888"/>
                  </a:lnTo>
                  <a:lnTo>
                    <a:pt x="790" y="1879"/>
                  </a:lnTo>
                  <a:lnTo>
                    <a:pt x="786" y="1875"/>
                  </a:lnTo>
                  <a:lnTo>
                    <a:pt x="782" y="1873"/>
                  </a:lnTo>
                  <a:lnTo>
                    <a:pt x="778" y="1871"/>
                  </a:lnTo>
                  <a:lnTo>
                    <a:pt x="774" y="1871"/>
                  </a:lnTo>
                  <a:lnTo>
                    <a:pt x="754" y="1871"/>
                  </a:lnTo>
                  <a:lnTo>
                    <a:pt x="727" y="1873"/>
                  </a:lnTo>
                  <a:lnTo>
                    <a:pt x="722" y="1873"/>
                  </a:lnTo>
                  <a:lnTo>
                    <a:pt x="715" y="1872"/>
                  </a:lnTo>
                  <a:lnTo>
                    <a:pt x="711" y="1869"/>
                  </a:lnTo>
                  <a:lnTo>
                    <a:pt x="707" y="1867"/>
                  </a:lnTo>
                  <a:lnTo>
                    <a:pt x="699" y="1860"/>
                  </a:lnTo>
                  <a:lnTo>
                    <a:pt x="695" y="1852"/>
                  </a:lnTo>
                  <a:lnTo>
                    <a:pt x="687" y="1832"/>
                  </a:lnTo>
                  <a:lnTo>
                    <a:pt x="679" y="1813"/>
                  </a:lnTo>
                  <a:lnTo>
                    <a:pt x="674" y="1804"/>
                  </a:lnTo>
                  <a:lnTo>
                    <a:pt x="667" y="1796"/>
                  </a:lnTo>
                  <a:lnTo>
                    <a:pt x="659" y="1788"/>
                  </a:lnTo>
                  <a:lnTo>
                    <a:pt x="653" y="1781"/>
                  </a:lnTo>
                  <a:lnTo>
                    <a:pt x="637" y="1771"/>
                  </a:lnTo>
                  <a:lnTo>
                    <a:pt x="619" y="1762"/>
                  </a:lnTo>
                  <a:lnTo>
                    <a:pt x="602" y="1752"/>
                  </a:lnTo>
                  <a:lnTo>
                    <a:pt x="586" y="1742"/>
                  </a:lnTo>
                  <a:lnTo>
                    <a:pt x="579" y="1736"/>
                  </a:lnTo>
                  <a:lnTo>
                    <a:pt x="571" y="1728"/>
                  </a:lnTo>
                  <a:lnTo>
                    <a:pt x="565" y="1720"/>
                  </a:lnTo>
                  <a:lnTo>
                    <a:pt x="559" y="1711"/>
                  </a:lnTo>
                  <a:lnTo>
                    <a:pt x="551" y="1715"/>
                  </a:lnTo>
                  <a:lnTo>
                    <a:pt x="543" y="1716"/>
                  </a:lnTo>
                  <a:lnTo>
                    <a:pt x="537" y="1716"/>
                  </a:lnTo>
                  <a:lnTo>
                    <a:pt x="530" y="1715"/>
                  </a:lnTo>
                  <a:lnTo>
                    <a:pt x="521" y="1712"/>
                  </a:lnTo>
                  <a:lnTo>
                    <a:pt x="512" y="1711"/>
                  </a:lnTo>
                  <a:lnTo>
                    <a:pt x="500" y="1711"/>
                  </a:lnTo>
                  <a:lnTo>
                    <a:pt x="489" y="1708"/>
                  </a:lnTo>
                  <a:lnTo>
                    <a:pt x="480" y="1707"/>
                  </a:lnTo>
                  <a:lnTo>
                    <a:pt x="470" y="1703"/>
                  </a:lnTo>
                  <a:lnTo>
                    <a:pt x="454" y="1695"/>
                  </a:lnTo>
                  <a:lnTo>
                    <a:pt x="440" y="1684"/>
                  </a:lnTo>
                  <a:lnTo>
                    <a:pt x="424" y="1672"/>
                  </a:lnTo>
                  <a:lnTo>
                    <a:pt x="408" y="1660"/>
                  </a:lnTo>
                  <a:lnTo>
                    <a:pt x="400" y="1655"/>
                  </a:lnTo>
                  <a:lnTo>
                    <a:pt x="389" y="1648"/>
                  </a:lnTo>
                  <a:lnTo>
                    <a:pt x="378" y="1643"/>
                  </a:lnTo>
                  <a:lnTo>
                    <a:pt x="366" y="1639"/>
                  </a:lnTo>
                  <a:lnTo>
                    <a:pt x="330" y="1628"/>
                  </a:lnTo>
                  <a:lnTo>
                    <a:pt x="297" y="1622"/>
                  </a:lnTo>
                  <a:lnTo>
                    <a:pt x="281" y="1616"/>
                  </a:lnTo>
                  <a:lnTo>
                    <a:pt x="266" y="1611"/>
                  </a:lnTo>
                  <a:lnTo>
                    <a:pt x="258" y="1607"/>
                  </a:lnTo>
                  <a:lnTo>
                    <a:pt x="253" y="1602"/>
                  </a:lnTo>
                  <a:lnTo>
                    <a:pt x="246" y="1596"/>
                  </a:lnTo>
                  <a:lnTo>
                    <a:pt x="240" y="1591"/>
                  </a:lnTo>
                  <a:lnTo>
                    <a:pt x="236" y="1586"/>
                  </a:lnTo>
                  <a:lnTo>
                    <a:pt x="233" y="1579"/>
                  </a:lnTo>
                  <a:lnTo>
                    <a:pt x="230" y="1572"/>
                  </a:lnTo>
                  <a:lnTo>
                    <a:pt x="229" y="1566"/>
                  </a:lnTo>
                  <a:lnTo>
                    <a:pt x="225" y="1550"/>
                  </a:lnTo>
                  <a:lnTo>
                    <a:pt x="222" y="1534"/>
                  </a:lnTo>
                  <a:lnTo>
                    <a:pt x="220" y="1526"/>
                  </a:lnTo>
                  <a:lnTo>
                    <a:pt x="218" y="1518"/>
                  </a:lnTo>
                  <a:lnTo>
                    <a:pt x="216" y="1511"/>
                  </a:lnTo>
                  <a:lnTo>
                    <a:pt x="212" y="1506"/>
                  </a:lnTo>
                  <a:lnTo>
                    <a:pt x="206" y="1500"/>
                  </a:lnTo>
                  <a:lnTo>
                    <a:pt x="201" y="1498"/>
                  </a:lnTo>
                  <a:lnTo>
                    <a:pt x="194" y="1495"/>
                  </a:lnTo>
                  <a:lnTo>
                    <a:pt x="186" y="1494"/>
                  </a:lnTo>
                  <a:lnTo>
                    <a:pt x="178" y="1495"/>
                  </a:lnTo>
                  <a:lnTo>
                    <a:pt x="172" y="1496"/>
                  </a:lnTo>
                  <a:lnTo>
                    <a:pt x="166" y="1499"/>
                  </a:lnTo>
                  <a:lnTo>
                    <a:pt x="160" y="1502"/>
                  </a:lnTo>
                  <a:lnTo>
                    <a:pt x="149" y="1510"/>
                  </a:lnTo>
                  <a:lnTo>
                    <a:pt x="140" y="1520"/>
                  </a:lnTo>
                  <a:lnTo>
                    <a:pt x="122" y="1548"/>
                  </a:lnTo>
                  <a:lnTo>
                    <a:pt x="105" y="1578"/>
                  </a:lnTo>
                  <a:lnTo>
                    <a:pt x="97" y="1592"/>
                  </a:lnTo>
                  <a:lnTo>
                    <a:pt x="88" y="1606"/>
                  </a:lnTo>
                  <a:lnTo>
                    <a:pt x="78" y="1619"/>
                  </a:lnTo>
                  <a:lnTo>
                    <a:pt x="68" y="1628"/>
                  </a:lnTo>
                  <a:lnTo>
                    <a:pt x="62" y="1634"/>
                  </a:lnTo>
                  <a:lnTo>
                    <a:pt x="57" y="1636"/>
                  </a:lnTo>
                  <a:lnTo>
                    <a:pt x="50" y="1639"/>
                  </a:lnTo>
                  <a:lnTo>
                    <a:pt x="44" y="1642"/>
                  </a:lnTo>
                  <a:lnTo>
                    <a:pt x="36" y="1642"/>
                  </a:lnTo>
                  <a:lnTo>
                    <a:pt x="28" y="1642"/>
                  </a:lnTo>
                  <a:lnTo>
                    <a:pt x="20" y="1640"/>
                  </a:lnTo>
                  <a:lnTo>
                    <a:pt x="12" y="1639"/>
                  </a:lnTo>
                  <a:lnTo>
                    <a:pt x="10" y="1648"/>
                  </a:lnTo>
                  <a:lnTo>
                    <a:pt x="13" y="1658"/>
                  </a:lnTo>
                  <a:lnTo>
                    <a:pt x="17" y="1667"/>
                  </a:lnTo>
                  <a:lnTo>
                    <a:pt x="21" y="1676"/>
                  </a:lnTo>
                  <a:lnTo>
                    <a:pt x="22" y="1686"/>
                  </a:lnTo>
                  <a:lnTo>
                    <a:pt x="24" y="1692"/>
                  </a:lnTo>
                  <a:lnTo>
                    <a:pt x="22" y="1696"/>
                  </a:lnTo>
                  <a:lnTo>
                    <a:pt x="20" y="1700"/>
                  </a:lnTo>
                  <a:lnTo>
                    <a:pt x="16" y="1703"/>
                  </a:lnTo>
                  <a:lnTo>
                    <a:pt x="12" y="1704"/>
                  </a:lnTo>
                  <a:lnTo>
                    <a:pt x="9" y="1714"/>
                  </a:lnTo>
                  <a:lnTo>
                    <a:pt x="5" y="1724"/>
                  </a:lnTo>
                  <a:lnTo>
                    <a:pt x="4" y="1731"/>
                  </a:lnTo>
                  <a:lnTo>
                    <a:pt x="1" y="1738"/>
                  </a:lnTo>
                  <a:lnTo>
                    <a:pt x="0" y="1744"/>
                  </a:lnTo>
                  <a:lnTo>
                    <a:pt x="0" y="1754"/>
                  </a:lnTo>
                  <a:lnTo>
                    <a:pt x="0" y="1760"/>
                  </a:lnTo>
                  <a:lnTo>
                    <a:pt x="1" y="1768"/>
                  </a:lnTo>
                  <a:lnTo>
                    <a:pt x="4" y="1775"/>
                  </a:lnTo>
                  <a:lnTo>
                    <a:pt x="6" y="1781"/>
                  </a:lnTo>
                  <a:lnTo>
                    <a:pt x="16" y="1793"/>
                  </a:lnTo>
                  <a:lnTo>
                    <a:pt x="25" y="1804"/>
                  </a:lnTo>
                  <a:lnTo>
                    <a:pt x="45" y="1823"/>
                  </a:lnTo>
                  <a:lnTo>
                    <a:pt x="60" y="1837"/>
                  </a:lnTo>
                  <a:lnTo>
                    <a:pt x="118" y="1851"/>
                  </a:lnTo>
                  <a:lnTo>
                    <a:pt x="178" y="1864"/>
                  </a:lnTo>
                  <a:lnTo>
                    <a:pt x="242" y="1876"/>
                  </a:lnTo>
                  <a:lnTo>
                    <a:pt x="306" y="1889"/>
                  </a:lnTo>
                  <a:lnTo>
                    <a:pt x="369" y="1903"/>
                  </a:lnTo>
                  <a:lnTo>
                    <a:pt x="432" y="1916"/>
                  </a:lnTo>
                  <a:lnTo>
                    <a:pt x="492" y="1931"/>
                  </a:lnTo>
                  <a:lnTo>
                    <a:pt x="547" y="1945"/>
                  </a:lnTo>
                  <a:lnTo>
                    <a:pt x="557" y="1949"/>
                  </a:lnTo>
                  <a:lnTo>
                    <a:pt x="565" y="1953"/>
                  </a:lnTo>
                  <a:lnTo>
                    <a:pt x="573" y="1959"/>
                  </a:lnTo>
                  <a:lnTo>
                    <a:pt x="579" y="1964"/>
                  </a:lnTo>
                  <a:lnTo>
                    <a:pt x="586" y="1971"/>
                  </a:lnTo>
                  <a:lnTo>
                    <a:pt x="591" y="1979"/>
                  </a:lnTo>
                  <a:lnTo>
                    <a:pt x="597" y="1987"/>
                  </a:lnTo>
                  <a:lnTo>
                    <a:pt x="602" y="1995"/>
                  </a:lnTo>
                  <a:lnTo>
                    <a:pt x="621" y="2033"/>
                  </a:lnTo>
                  <a:lnTo>
                    <a:pt x="637" y="2075"/>
                  </a:lnTo>
                  <a:lnTo>
                    <a:pt x="646" y="2095"/>
                  </a:lnTo>
                  <a:lnTo>
                    <a:pt x="657" y="2115"/>
                  </a:lnTo>
                  <a:lnTo>
                    <a:pt x="662" y="2124"/>
                  </a:lnTo>
                  <a:lnTo>
                    <a:pt x="669" y="2132"/>
                  </a:lnTo>
                  <a:lnTo>
                    <a:pt x="675" y="2140"/>
                  </a:lnTo>
                  <a:lnTo>
                    <a:pt x="683" y="2148"/>
                  </a:lnTo>
                  <a:lnTo>
                    <a:pt x="691" y="2155"/>
                  </a:lnTo>
                  <a:lnTo>
                    <a:pt x="701" y="2161"/>
                  </a:lnTo>
                  <a:lnTo>
                    <a:pt x="711" y="2167"/>
                  </a:lnTo>
                  <a:lnTo>
                    <a:pt x="722" y="2172"/>
                  </a:lnTo>
                  <a:lnTo>
                    <a:pt x="734" y="2176"/>
                  </a:lnTo>
                  <a:lnTo>
                    <a:pt x="747" y="2179"/>
                  </a:lnTo>
                  <a:lnTo>
                    <a:pt x="761" y="2180"/>
                  </a:lnTo>
                  <a:lnTo>
                    <a:pt x="777" y="2180"/>
                  </a:lnTo>
                  <a:lnTo>
                    <a:pt x="794" y="2180"/>
                  </a:lnTo>
                  <a:lnTo>
                    <a:pt x="813" y="2179"/>
                  </a:lnTo>
                  <a:lnTo>
                    <a:pt x="829" y="2177"/>
                  </a:lnTo>
                  <a:lnTo>
                    <a:pt x="843" y="2175"/>
                  </a:lnTo>
                  <a:lnTo>
                    <a:pt x="858" y="2171"/>
                  </a:lnTo>
                  <a:lnTo>
                    <a:pt x="873" y="2167"/>
                  </a:lnTo>
                  <a:lnTo>
                    <a:pt x="885" y="2163"/>
                  </a:lnTo>
                  <a:lnTo>
                    <a:pt x="897" y="2157"/>
                  </a:lnTo>
                  <a:lnTo>
                    <a:pt x="921" y="2147"/>
                  </a:lnTo>
                  <a:lnTo>
                    <a:pt x="942" y="2135"/>
                  </a:lnTo>
                  <a:lnTo>
                    <a:pt x="962" y="2121"/>
                  </a:lnTo>
                  <a:lnTo>
                    <a:pt x="982" y="2108"/>
                  </a:lnTo>
                  <a:lnTo>
                    <a:pt x="1003" y="2095"/>
                  </a:lnTo>
                  <a:lnTo>
                    <a:pt x="1025" y="2081"/>
                  </a:lnTo>
                  <a:lnTo>
                    <a:pt x="1049" y="2069"/>
                  </a:lnTo>
                  <a:lnTo>
                    <a:pt x="1074" y="2059"/>
                  </a:lnTo>
                  <a:lnTo>
                    <a:pt x="1089" y="2053"/>
                  </a:lnTo>
                  <a:lnTo>
                    <a:pt x="1103" y="2049"/>
                  </a:lnTo>
                  <a:lnTo>
                    <a:pt x="1119" y="2045"/>
                  </a:lnTo>
                  <a:lnTo>
                    <a:pt x="1137" y="2043"/>
                  </a:lnTo>
                  <a:lnTo>
                    <a:pt x="1154" y="2040"/>
                  </a:lnTo>
                  <a:lnTo>
                    <a:pt x="1174" y="2037"/>
                  </a:lnTo>
                  <a:lnTo>
                    <a:pt x="1194" y="2036"/>
                  </a:lnTo>
                  <a:lnTo>
                    <a:pt x="1215" y="2036"/>
                  </a:lnTo>
                  <a:lnTo>
                    <a:pt x="1233" y="2037"/>
                  </a:lnTo>
                  <a:lnTo>
                    <a:pt x="1249" y="2039"/>
                  </a:lnTo>
                  <a:lnTo>
                    <a:pt x="1265" y="2043"/>
                  </a:lnTo>
                  <a:lnTo>
                    <a:pt x="1279" y="2047"/>
                  </a:lnTo>
                  <a:lnTo>
                    <a:pt x="1307" y="2057"/>
                  </a:lnTo>
                  <a:lnTo>
                    <a:pt x="1334" y="2069"/>
                  </a:lnTo>
                  <a:lnTo>
                    <a:pt x="1358" y="2081"/>
                  </a:lnTo>
                  <a:lnTo>
                    <a:pt x="1380" y="2089"/>
                  </a:lnTo>
                  <a:lnTo>
                    <a:pt x="1391" y="2092"/>
                  </a:lnTo>
                  <a:lnTo>
                    <a:pt x="1402" y="2093"/>
                  </a:lnTo>
                  <a:lnTo>
                    <a:pt x="1411" y="2092"/>
                  </a:lnTo>
                  <a:lnTo>
                    <a:pt x="1420" y="2091"/>
                  </a:lnTo>
                  <a:lnTo>
                    <a:pt x="1430" y="2087"/>
                  </a:lnTo>
                  <a:lnTo>
                    <a:pt x="1438" y="2085"/>
                  </a:lnTo>
                  <a:lnTo>
                    <a:pt x="1444" y="2084"/>
                  </a:lnTo>
                  <a:lnTo>
                    <a:pt x="1451" y="2084"/>
                  </a:lnTo>
                  <a:lnTo>
                    <a:pt x="1456" y="207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6" name="Freeform 97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194300" y="1757363"/>
              <a:ext cx="1873250" cy="2028825"/>
            </a:xfrm>
            <a:custGeom>
              <a:avLst/>
              <a:gdLst/>
              <a:ahLst/>
              <a:cxnLst>
                <a:cxn ang="0">
                  <a:pos x="4098" y="2415"/>
                </a:cxn>
                <a:cxn ang="0">
                  <a:pos x="4030" y="2039"/>
                </a:cxn>
                <a:cxn ang="0">
                  <a:pos x="4047" y="1887"/>
                </a:cxn>
                <a:cxn ang="0">
                  <a:pos x="4228" y="1771"/>
                </a:cxn>
                <a:cxn ang="0">
                  <a:pos x="4323" y="1551"/>
                </a:cxn>
                <a:cxn ang="0">
                  <a:pos x="4202" y="1296"/>
                </a:cxn>
                <a:cxn ang="0">
                  <a:pos x="4146" y="1152"/>
                </a:cxn>
                <a:cxn ang="0">
                  <a:pos x="4268" y="950"/>
                </a:cxn>
                <a:cxn ang="0">
                  <a:pos x="4370" y="801"/>
                </a:cxn>
                <a:cxn ang="0">
                  <a:pos x="4135" y="664"/>
                </a:cxn>
                <a:cxn ang="0">
                  <a:pos x="3965" y="531"/>
                </a:cxn>
                <a:cxn ang="0">
                  <a:pos x="4062" y="239"/>
                </a:cxn>
                <a:cxn ang="0">
                  <a:pos x="3903" y="8"/>
                </a:cxn>
                <a:cxn ang="0">
                  <a:pos x="3958" y="224"/>
                </a:cxn>
                <a:cxn ang="0">
                  <a:pos x="3649" y="146"/>
                </a:cxn>
                <a:cxn ang="0">
                  <a:pos x="3306" y="108"/>
                </a:cxn>
                <a:cxn ang="0">
                  <a:pos x="3100" y="520"/>
                </a:cxn>
                <a:cxn ang="0">
                  <a:pos x="2777" y="501"/>
                </a:cxn>
                <a:cxn ang="0">
                  <a:pos x="2553" y="648"/>
                </a:cxn>
                <a:cxn ang="0">
                  <a:pos x="2508" y="680"/>
                </a:cxn>
                <a:cxn ang="0">
                  <a:pos x="2457" y="631"/>
                </a:cxn>
                <a:cxn ang="0">
                  <a:pos x="2148" y="879"/>
                </a:cxn>
                <a:cxn ang="0">
                  <a:pos x="2169" y="1009"/>
                </a:cxn>
                <a:cxn ang="0">
                  <a:pos x="2144" y="1217"/>
                </a:cxn>
                <a:cxn ang="0">
                  <a:pos x="1996" y="1328"/>
                </a:cxn>
                <a:cxn ang="0">
                  <a:pos x="1759" y="1458"/>
                </a:cxn>
                <a:cxn ang="0">
                  <a:pos x="1627" y="1703"/>
                </a:cxn>
                <a:cxn ang="0">
                  <a:pos x="1406" y="1406"/>
                </a:cxn>
                <a:cxn ang="0">
                  <a:pos x="1121" y="1373"/>
                </a:cxn>
                <a:cxn ang="0">
                  <a:pos x="961" y="1511"/>
                </a:cxn>
                <a:cxn ang="0">
                  <a:pos x="691" y="1706"/>
                </a:cxn>
                <a:cxn ang="0">
                  <a:pos x="301" y="1707"/>
                </a:cxn>
                <a:cxn ang="0">
                  <a:pos x="96" y="1718"/>
                </a:cxn>
                <a:cxn ang="0">
                  <a:pos x="133" y="1995"/>
                </a:cxn>
                <a:cxn ang="0">
                  <a:pos x="338" y="2306"/>
                </a:cxn>
                <a:cxn ang="0">
                  <a:pos x="225" y="2729"/>
                </a:cxn>
                <a:cxn ang="0">
                  <a:pos x="29" y="2913"/>
                </a:cxn>
                <a:cxn ang="0">
                  <a:pos x="118" y="3544"/>
                </a:cxn>
                <a:cxn ang="0">
                  <a:pos x="178" y="3756"/>
                </a:cxn>
                <a:cxn ang="0">
                  <a:pos x="234" y="4083"/>
                </a:cxn>
                <a:cxn ang="0">
                  <a:pos x="562" y="4226"/>
                </a:cxn>
                <a:cxn ang="0">
                  <a:pos x="698" y="4436"/>
                </a:cxn>
                <a:cxn ang="0">
                  <a:pos x="825" y="4672"/>
                </a:cxn>
                <a:cxn ang="0">
                  <a:pos x="945" y="5059"/>
                </a:cxn>
                <a:cxn ang="0">
                  <a:pos x="1071" y="5385"/>
                </a:cxn>
                <a:cxn ang="0">
                  <a:pos x="1352" y="5281"/>
                </a:cxn>
                <a:cxn ang="0">
                  <a:pos x="1538" y="4858"/>
                </a:cxn>
                <a:cxn ang="0">
                  <a:pos x="1812" y="4938"/>
                </a:cxn>
                <a:cxn ang="0">
                  <a:pos x="2053" y="5041"/>
                </a:cxn>
                <a:cxn ang="0">
                  <a:pos x="2361" y="5403"/>
                </a:cxn>
                <a:cxn ang="0">
                  <a:pos x="2806" y="5343"/>
                </a:cxn>
                <a:cxn ang="0">
                  <a:pos x="3190" y="5351"/>
                </a:cxn>
                <a:cxn ang="0">
                  <a:pos x="3591" y="5177"/>
                </a:cxn>
                <a:cxn ang="0">
                  <a:pos x="3815" y="4707"/>
                </a:cxn>
                <a:cxn ang="0">
                  <a:pos x="3658" y="4462"/>
                </a:cxn>
                <a:cxn ang="0">
                  <a:pos x="3619" y="4087"/>
                </a:cxn>
                <a:cxn ang="0">
                  <a:pos x="3811" y="3833"/>
                </a:cxn>
                <a:cxn ang="0">
                  <a:pos x="3971" y="3642"/>
                </a:cxn>
                <a:cxn ang="0">
                  <a:pos x="3841" y="3377"/>
                </a:cxn>
                <a:cxn ang="0">
                  <a:pos x="3810" y="2968"/>
                </a:cxn>
                <a:cxn ang="0">
                  <a:pos x="4019" y="2849"/>
                </a:cxn>
                <a:cxn ang="0">
                  <a:pos x="4244" y="2713"/>
                </a:cxn>
              </a:cxnLst>
              <a:rect l="0" t="0" r="r" b="b"/>
              <a:pathLst>
                <a:path w="4371" h="5420">
                  <a:moveTo>
                    <a:pt x="4208" y="2608"/>
                  </a:moveTo>
                  <a:lnTo>
                    <a:pt x="4208" y="2600"/>
                  </a:lnTo>
                  <a:lnTo>
                    <a:pt x="4207" y="2592"/>
                  </a:lnTo>
                  <a:lnTo>
                    <a:pt x="4206" y="2586"/>
                  </a:lnTo>
                  <a:lnTo>
                    <a:pt x="4203" y="2579"/>
                  </a:lnTo>
                  <a:lnTo>
                    <a:pt x="4198" y="2567"/>
                  </a:lnTo>
                  <a:lnTo>
                    <a:pt x="4191" y="2556"/>
                  </a:lnTo>
                  <a:lnTo>
                    <a:pt x="4185" y="2548"/>
                  </a:lnTo>
                  <a:lnTo>
                    <a:pt x="4178" y="2539"/>
                  </a:lnTo>
                  <a:lnTo>
                    <a:pt x="4177" y="2534"/>
                  </a:lnTo>
                  <a:lnTo>
                    <a:pt x="4174" y="2530"/>
                  </a:lnTo>
                  <a:lnTo>
                    <a:pt x="4173" y="2524"/>
                  </a:lnTo>
                  <a:lnTo>
                    <a:pt x="4173" y="2519"/>
                  </a:lnTo>
                  <a:lnTo>
                    <a:pt x="4173" y="2515"/>
                  </a:lnTo>
                  <a:lnTo>
                    <a:pt x="4173" y="2504"/>
                  </a:lnTo>
                  <a:lnTo>
                    <a:pt x="4173" y="2491"/>
                  </a:lnTo>
                  <a:lnTo>
                    <a:pt x="4173" y="2476"/>
                  </a:lnTo>
                  <a:lnTo>
                    <a:pt x="4173" y="2468"/>
                  </a:lnTo>
                  <a:lnTo>
                    <a:pt x="4170" y="2460"/>
                  </a:lnTo>
                  <a:lnTo>
                    <a:pt x="4166" y="2455"/>
                  </a:lnTo>
                  <a:lnTo>
                    <a:pt x="4161" y="2448"/>
                  </a:lnTo>
                  <a:lnTo>
                    <a:pt x="4149" y="2440"/>
                  </a:lnTo>
                  <a:lnTo>
                    <a:pt x="4134" y="2432"/>
                  </a:lnTo>
                  <a:lnTo>
                    <a:pt x="4119" y="2426"/>
                  </a:lnTo>
                  <a:lnTo>
                    <a:pt x="4105" y="2419"/>
                  </a:lnTo>
                  <a:lnTo>
                    <a:pt x="4098" y="2415"/>
                  </a:lnTo>
                  <a:lnTo>
                    <a:pt x="4091" y="2410"/>
                  </a:lnTo>
                  <a:lnTo>
                    <a:pt x="4086" y="2404"/>
                  </a:lnTo>
                  <a:lnTo>
                    <a:pt x="4082" y="2398"/>
                  </a:lnTo>
                  <a:lnTo>
                    <a:pt x="4066" y="2371"/>
                  </a:lnTo>
                  <a:lnTo>
                    <a:pt x="4047" y="2346"/>
                  </a:lnTo>
                  <a:lnTo>
                    <a:pt x="4030" y="2323"/>
                  </a:lnTo>
                  <a:lnTo>
                    <a:pt x="4013" y="2299"/>
                  </a:lnTo>
                  <a:lnTo>
                    <a:pt x="4005" y="2286"/>
                  </a:lnTo>
                  <a:lnTo>
                    <a:pt x="3997" y="2272"/>
                  </a:lnTo>
                  <a:lnTo>
                    <a:pt x="3991" y="2258"/>
                  </a:lnTo>
                  <a:lnTo>
                    <a:pt x="3985" y="2242"/>
                  </a:lnTo>
                  <a:lnTo>
                    <a:pt x="3981" y="2226"/>
                  </a:lnTo>
                  <a:lnTo>
                    <a:pt x="3977" y="2207"/>
                  </a:lnTo>
                  <a:lnTo>
                    <a:pt x="3975" y="2186"/>
                  </a:lnTo>
                  <a:lnTo>
                    <a:pt x="3974" y="2163"/>
                  </a:lnTo>
                  <a:lnTo>
                    <a:pt x="3974" y="2152"/>
                  </a:lnTo>
                  <a:lnTo>
                    <a:pt x="3975" y="2143"/>
                  </a:lnTo>
                  <a:lnTo>
                    <a:pt x="3978" y="2132"/>
                  </a:lnTo>
                  <a:lnTo>
                    <a:pt x="3981" y="2122"/>
                  </a:lnTo>
                  <a:lnTo>
                    <a:pt x="3987" y="2100"/>
                  </a:lnTo>
                  <a:lnTo>
                    <a:pt x="3998" y="2081"/>
                  </a:lnTo>
                  <a:lnTo>
                    <a:pt x="4003" y="2071"/>
                  </a:lnTo>
                  <a:lnTo>
                    <a:pt x="4009" y="2062"/>
                  </a:lnTo>
                  <a:lnTo>
                    <a:pt x="4015" y="2054"/>
                  </a:lnTo>
                  <a:lnTo>
                    <a:pt x="4022" y="2046"/>
                  </a:lnTo>
                  <a:lnTo>
                    <a:pt x="4030" y="2039"/>
                  </a:lnTo>
                  <a:lnTo>
                    <a:pt x="4037" y="2034"/>
                  </a:lnTo>
                  <a:lnTo>
                    <a:pt x="4045" y="2029"/>
                  </a:lnTo>
                  <a:lnTo>
                    <a:pt x="4053" y="2025"/>
                  </a:lnTo>
                  <a:lnTo>
                    <a:pt x="4075" y="2021"/>
                  </a:lnTo>
                  <a:lnTo>
                    <a:pt x="4090" y="2018"/>
                  </a:lnTo>
                  <a:lnTo>
                    <a:pt x="4093" y="2017"/>
                  </a:lnTo>
                  <a:lnTo>
                    <a:pt x="4095" y="2015"/>
                  </a:lnTo>
                  <a:lnTo>
                    <a:pt x="4097" y="2014"/>
                  </a:lnTo>
                  <a:lnTo>
                    <a:pt x="4098" y="2010"/>
                  </a:lnTo>
                  <a:lnTo>
                    <a:pt x="4099" y="2002"/>
                  </a:lnTo>
                  <a:lnTo>
                    <a:pt x="4101" y="1989"/>
                  </a:lnTo>
                  <a:lnTo>
                    <a:pt x="4099" y="1981"/>
                  </a:lnTo>
                  <a:lnTo>
                    <a:pt x="4098" y="1973"/>
                  </a:lnTo>
                  <a:lnTo>
                    <a:pt x="4095" y="1966"/>
                  </a:lnTo>
                  <a:lnTo>
                    <a:pt x="4091" y="1961"/>
                  </a:lnTo>
                  <a:lnTo>
                    <a:pt x="4082" y="1951"/>
                  </a:lnTo>
                  <a:lnTo>
                    <a:pt x="4070" y="1943"/>
                  </a:lnTo>
                  <a:lnTo>
                    <a:pt x="4059" y="1935"/>
                  </a:lnTo>
                  <a:lnTo>
                    <a:pt x="4050" y="1929"/>
                  </a:lnTo>
                  <a:lnTo>
                    <a:pt x="4046" y="1925"/>
                  </a:lnTo>
                  <a:lnTo>
                    <a:pt x="4043" y="1921"/>
                  </a:lnTo>
                  <a:lnTo>
                    <a:pt x="4041" y="1915"/>
                  </a:lnTo>
                  <a:lnTo>
                    <a:pt x="4041" y="1910"/>
                  </a:lnTo>
                  <a:lnTo>
                    <a:pt x="4041" y="1902"/>
                  </a:lnTo>
                  <a:lnTo>
                    <a:pt x="4043" y="1894"/>
                  </a:lnTo>
                  <a:lnTo>
                    <a:pt x="4047" y="1887"/>
                  </a:lnTo>
                  <a:lnTo>
                    <a:pt x="4051" y="1881"/>
                  </a:lnTo>
                  <a:lnTo>
                    <a:pt x="4065" y="1870"/>
                  </a:lnTo>
                  <a:lnTo>
                    <a:pt x="4079" y="1859"/>
                  </a:lnTo>
                  <a:lnTo>
                    <a:pt x="4094" y="1849"/>
                  </a:lnTo>
                  <a:lnTo>
                    <a:pt x="4109" y="1838"/>
                  </a:lnTo>
                  <a:lnTo>
                    <a:pt x="4115" y="1831"/>
                  </a:lnTo>
                  <a:lnTo>
                    <a:pt x="4122" y="1825"/>
                  </a:lnTo>
                  <a:lnTo>
                    <a:pt x="4126" y="1817"/>
                  </a:lnTo>
                  <a:lnTo>
                    <a:pt x="4130" y="1809"/>
                  </a:lnTo>
                  <a:lnTo>
                    <a:pt x="4134" y="1794"/>
                  </a:lnTo>
                  <a:lnTo>
                    <a:pt x="4138" y="1777"/>
                  </a:lnTo>
                  <a:lnTo>
                    <a:pt x="4141" y="1767"/>
                  </a:lnTo>
                  <a:lnTo>
                    <a:pt x="4145" y="1761"/>
                  </a:lnTo>
                  <a:lnTo>
                    <a:pt x="4146" y="1758"/>
                  </a:lnTo>
                  <a:lnTo>
                    <a:pt x="4149" y="1755"/>
                  </a:lnTo>
                  <a:lnTo>
                    <a:pt x="4151" y="1754"/>
                  </a:lnTo>
                  <a:lnTo>
                    <a:pt x="4155" y="1754"/>
                  </a:lnTo>
                  <a:lnTo>
                    <a:pt x="4165" y="1754"/>
                  </a:lnTo>
                  <a:lnTo>
                    <a:pt x="4173" y="1757"/>
                  </a:lnTo>
                  <a:lnTo>
                    <a:pt x="4179" y="1759"/>
                  </a:lnTo>
                  <a:lnTo>
                    <a:pt x="4186" y="1763"/>
                  </a:lnTo>
                  <a:lnTo>
                    <a:pt x="4193" y="1766"/>
                  </a:lnTo>
                  <a:lnTo>
                    <a:pt x="4199" y="1769"/>
                  </a:lnTo>
                  <a:lnTo>
                    <a:pt x="4208" y="1771"/>
                  </a:lnTo>
                  <a:lnTo>
                    <a:pt x="4220" y="1771"/>
                  </a:lnTo>
                  <a:lnTo>
                    <a:pt x="4228" y="1771"/>
                  </a:lnTo>
                  <a:lnTo>
                    <a:pt x="4236" y="1770"/>
                  </a:lnTo>
                  <a:lnTo>
                    <a:pt x="4243" y="1769"/>
                  </a:lnTo>
                  <a:lnTo>
                    <a:pt x="4248" y="1765"/>
                  </a:lnTo>
                  <a:lnTo>
                    <a:pt x="4254" y="1762"/>
                  </a:lnTo>
                  <a:lnTo>
                    <a:pt x="4258" y="1757"/>
                  </a:lnTo>
                  <a:lnTo>
                    <a:pt x="4262" y="1753"/>
                  </a:lnTo>
                  <a:lnTo>
                    <a:pt x="4266" y="1747"/>
                  </a:lnTo>
                  <a:lnTo>
                    <a:pt x="4271" y="1734"/>
                  </a:lnTo>
                  <a:lnTo>
                    <a:pt x="4276" y="1721"/>
                  </a:lnTo>
                  <a:lnTo>
                    <a:pt x="4279" y="1705"/>
                  </a:lnTo>
                  <a:lnTo>
                    <a:pt x="4283" y="1689"/>
                  </a:lnTo>
                  <a:lnTo>
                    <a:pt x="4286" y="1673"/>
                  </a:lnTo>
                  <a:lnTo>
                    <a:pt x="4288" y="1657"/>
                  </a:lnTo>
                  <a:lnTo>
                    <a:pt x="4292" y="1639"/>
                  </a:lnTo>
                  <a:lnTo>
                    <a:pt x="4296" y="1625"/>
                  </a:lnTo>
                  <a:lnTo>
                    <a:pt x="4303" y="1610"/>
                  </a:lnTo>
                  <a:lnTo>
                    <a:pt x="4311" y="1598"/>
                  </a:lnTo>
                  <a:lnTo>
                    <a:pt x="4316" y="1593"/>
                  </a:lnTo>
                  <a:lnTo>
                    <a:pt x="4322" y="1587"/>
                  </a:lnTo>
                  <a:lnTo>
                    <a:pt x="4328" y="1583"/>
                  </a:lnTo>
                  <a:lnTo>
                    <a:pt x="4335" y="1579"/>
                  </a:lnTo>
                  <a:lnTo>
                    <a:pt x="4335" y="1573"/>
                  </a:lnTo>
                  <a:lnTo>
                    <a:pt x="4332" y="1566"/>
                  </a:lnTo>
                  <a:lnTo>
                    <a:pt x="4330" y="1561"/>
                  </a:lnTo>
                  <a:lnTo>
                    <a:pt x="4326" y="1555"/>
                  </a:lnTo>
                  <a:lnTo>
                    <a:pt x="4323" y="1551"/>
                  </a:lnTo>
                  <a:lnTo>
                    <a:pt x="4320" y="1546"/>
                  </a:lnTo>
                  <a:lnTo>
                    <a:pt x="4318" y="1542"/>
                  </a:lnTo>
                  <a:lnTo>
                    <a:pt x="4318" y="1537"/>
                  </a:lnTo>
                  <a:lnTo>
                    <a:pt x="4316" y="1526"/>
                  </a:lnTo>
                  <a:lnTo>
                    <a:pt x="4314" y="1517"/>
                  </a:lnTo>
                  <a:lnTo>
                    <a:pt x="4310" y="1509"/>
                  </a:lnTo>
                  <a:lnTo>
                    <a:pt x="4304" y="1501"/>
                  </a:lnTo>
                  <a:lnTo>
                    <a:pt x="4299" y="1494"/>
                  </a:lnTo>
                  <a:lnTo>
                    <a:pt x="4291" y="1488"/>
                  </a:lnTo>
                  <a:lnTo>
                    <a:pt x="4284" y="1482"/>
                  </a:lnTo>
                  <a:lnTo>
                    <a:pt x="4276" y="1477"/>
                  </a:lnTo>
                  <a:lnTo>
                    <a:pt x="4260" y="1468"/>
                  </a:lnTo>
                  <a:lnTo>
                    <a:pt x="4246" y="1458"/>
                  </a:lnTo>
                  <a:lnTo>
                    <a:pt x="4239" y="1453"/>
                  </a:lnTo>
                  <a:lnTo>
                    <a:pt x="4234" y="1448"/>
                  </a:lnTo>
                  <a:lnTo>
                    <a:pt x="4230" y="1441"/>
                  </a:lnTo>
                  <a:lnTo>
                    <a:pt x="4227" y="1434"/>
                  </a:lnTo>
                  <a:lnTo>
                    <a:pt x="4227" y="1406"/>
                  </a:lnTo>
                  <a:lnTo>
                    <a:pt x="4227" y="1372"/>
                  </a:lnTo>
                  <a:lnTo>
                    <a:pt x="4227" y="1354"/>
                  </a:lnTo>
                  <a:lnTo>
                    <a:pt x="4224" y="1337"/>
                  </a:lnTo>
                  <a:lnTo>
                    <a:pt x="4220" y="1321"/>
                  </a:lnTo>
                  <a:lnTo>
                    <a:pt x="4215" y="1309"/>
                  </a:lnTo>
                  <a:lnTo>
                    <a:pt x="4211" y="1304"/>
                  </a:lnTo>
                  <a:lnTo>
                    <a:pt x="4207" y="1300"/>
                  </a:lnTo>
                  <a:lnTo>
                    <a:pt x="4202" y="1296"/>
                  </a:lnTo>
                  <a:lnTo>
                    <a:pt x="4197" y="1293"/>
                  </a:lnTo>
                  <a:lnTo>
                    <a:pt x="4185" y="1289"/>
                  </a:lnTo>
                  <a:lnTo>
                    <a:pt x="4173" y="1284"/>
                  </a:lnTo>
                  <a:lnTo>
                    <a:pt x="4166" y="1282"/>
                  </a:lnTo>
                  <a:lnTo>
                    <a:pt x="4161" y="1278"/>
                  </a:lnTo>
                  <a:lnTo>
                    <a:pt x="4155" y="1276"/>
                  </a:lnTo>
                  <a:lnTo>
                    <a:pt x="4151" y="1272"/>
                  </a:lnTo>
                  <a:lnTo>
                    <a:pt x="4147" y="1266"/>
                  </a:lnTo>
                  <a:lnTo>
                    <a:pt x="4145" y="1260"/>
                  </a:lnTo>
                  <a:lnTo>
                    <a:pt x="4143" y="1252"/>
                  </a:lnTo>
                  <a:lnTo>
                    <a:pt x="4143" y="1242"/>
                  </a:lnTo>
                  <a:lnTo>
                    <a:pt x="4145" y="1234"/>
                  </a:lnTo>
                  <a:lnTo>
                    <a:pt x="4147" y="1226"/>
                  </a:lnTo>
                  <a:lnTo>
                    <a:pt x="4153" y="1218"/>
                  </a:lnTo>
                  <a:lnTo>
                    <a:pt x="4159" y="1210"/>
                  </a:lnTo>
                  <a:lnTo>
                    <a:pt x="4166" y="1202"/>
                  </a:lnTo>
                  <a:lnTo>
                    <a:pt x="4173" y="1197"/>
                  </a:lnTo>
                  <a:lnTo>
                    <a:pt x="4179" y="1192"/>
                  </a:lnTo>
                  <a:lnTo>
                    <a:pt x="4185" y="1188"/>
                  </a:lnTo>
                  <a:lnTo>
                    <a:pt x="4183" y="1182"/>
                  </a:lnTo>
                  <a:lnTo>
                    <a:pt x="4181" y="1177"/>
                  </a:lnTo>
                  <a:lnTo>
                    <a:pt x="4178" y="1172"/>
                  </a:lnTo>
                  <a:lnTo>
                    <a:pt x="4174" y="1168"/>
                  </a:lnTo>
                  <a:lnTo>
                    <a:pt x="4165" y="1162"/>
                  </a:lnTo>
                  <a:lnTo>
                    <a:pt x="4155" y="1157"/>
                  </a:lnTo>
                  <a:lnTo>
                    <a:pt x="4146" y="1152"/>
                  </a:lnTo>
                  <a:lnTo>
                    <a:pt x="4138" y="1145"/>
                  </a:lnTo>
                  <a:lnTo>
                    <a:pt x="4135" y="1140"/>
                  </a:lnTo>
                  <a:lnTo>
                    <a:pt x="4133" y="1136"/>
                  </a:lnTo>
                  <a:lnTo>
                    <a:pt x="4131" y="1129"/>
                  </a:lnTo>
                  <a:lnTo>
                    <a:pt x="4130" y="1121"/>
                  </a:lnTo>
                  <a:lnTo>
                    <a:pt x="4131" y="1110"/>
                  </a:lnTo>
                  <a:lnTo>
                    <a:pt x="4134" y="1100"/>
                  </a:lnTo>
                  <a:lnTo>
                    <a:pt x="4139" y="1090"/>
                  </a:lnTo>
                  <a:lnTo>
                    <a:pt x="4145" y="1082"/>
                  </a:lnTo>
                  <a:lnTo>
                    <a:pt x="4153" y="1076"/>
                  </a:lnTo>
                  <a:lnTo>
                    <a:pt x="4161" y="1069"/>
                  </a:lnTo>
                  <a:lnTo>
                    <a:pt x="4170" y="1062"/>
                  </a:lnTo>
                  <a:lnTo>
                    <a:pt x="4179" y="1057"/>
                  </a:lnTo>
                  <a:lnTo>
                    <a:pt x="4199" y="1045"/>
                  </a:lnTo>
                  <a:lnTo>
                    <a:pt x="4219" y="1033"/>
                  </a:lnTo>
                  <a:lnTo>
                    <a:pt x="4228" y="1026"/>
                  </a:lnTo>
                  <a:lnTo>
                    <a:pt x="4236" y="1020"/>
                  </a:lnTo>
                  <a:lnTo>
                    <a:pt x="4244" y="1010"/>
                  </a:lnTo>
                  <a:lnTo>
                    <a:pt x="4251" y="1001"/>
                  </a:lnTo>
                  <a:lnTo>
                    <a:pt x="4256" y="992"/>
                  </a:lnTo>
                  <a:lnTo>
                    <a:pt x="4259" y="982"/>
                  </a:lnTo>
                  <a:lnTo>
                    <a:pt x="4260" y="973"/>
                  </a:lnTo>
                  <a:lnTo>
                    <a:pt x="4262" y="965"/>
                  </a:lnTo>
                  <a:lnTo>
                    <a:pt x="4263" y="958"/>
                  </a:lnTo>
                  <a:lnTo>
                    <a:pt x="4266" y="952"/>
                  </a:lnTo>
                  <a:lnTo>
                    <a:pt x="4268" y="950"/>
                  </a:lnTo>
                  <a:lnTo>
                    <a:pt x="4272" y="948"/>
                  </a:lnTo>
                  <a:lnTo>
                    <a:pt x="4276" y="948"/>
                  </a:lnTo>
                  <a:lnTo>
                    <a:pt x="4280" y="946"/>
                  </a:lnTo>
                  <a:lnTo>
                    <a:pt x="4298" y="948"/>
                  </a:lnTo>
                  <a:lnTo>
                    <a:pt x="4312" y="949"/>
                  </a:lnTo>
                  <a:lnTo>
                    <a:pt x="4319" y="949"/>
                  </a:lnTo>
                  <a:lnTo>
                    <a:pt x="4324" y="949"/>
                  </a:lnTo>
                  <a:lnTo>
                    <a:pt x="4330" y="949"/>
                  </a:lnTo>
                  <a:lnTo>
                    <a:pt x="4335" y="946"/>
                  </a:lnTo>
                  <a:lnTo>
                    <a:pt x="4335" y="930"/>
                  </a:lnTo>
                  <a:lnTo>
                    <a:pt x="4335" y="916"/>
                  </a:lnTo>
                  <a:lnTo>
                    <a:pt x="4335" y="901"/>
                  </a:lnTo>
                  <a:lnTo>
                    <a:pt x="4335" y="881"/>
                  </a:lnTo>
                  <a:lnTo>
                    <a:pt x="4335" y="876"/>
                  </a:lnTo>
                  <a:lnTo>
                    <a:pt x="4336" y="871"/>
                  </a:lnTo>
                  <a:lnTo>
                    <a:pt x="4339" y="865"/>
                  </a:lnTo>
                  <a:lnTo>
                    <a:pt x="4340" y="861"/>
                  </a:lnTo>
                  <a:lnTo>
                    <a:pt x="4347" y="853"/>
                  </a:lnTo>
                  <a:lnTo>
                    <a:pt x="4354" y="845"/>
                  </a:lnTo>
                  <a:lnTo>
                    <a:pt x="4360" y="837"/>
                  </a:lnTo>
                  <a:lnTo>
                    <a:pt x="4366" y="828"/>
                  </a:lnTo>
                  <a:lnTo>
                    <a:pt x="4368" y="824"/>
                  </a:lnTo>
                  <a:lnTo>
                    <a:pt x="4370" y="819"/>
                  </a:lnTo>
                  <a:lnTo>
                    <a:pt x="4371" y="815"/>
                  </a:lnTo>
                  <a:lnTo>
                    <a:pt x="4371" y="809"/>
                  </a:lnTo>
                  <a:lnTo>
                    <a:pt x="4370" y="801"/>
                  </a:lnTo>
                  <a:lnTo>
                    <a:pt x="4366" y="795"/>
                  </a:lnTo>
                  <a:lnTo>
                    <a:pt x="4359" y="787"/>
                  </a:lnTo>
                  <a:lnTo>
                    <a:pt x="4352" y="780"/>
                  </a:lnTo>
                  <a:lnTo>
                    <a:pt x="4338" y="765"/>
                  </a:lnTo>
                  <a:lnTo>
                    <a:pt x="4330" y="755"/>
                  </a:lnTo>
                  <a:lnTo>
                    <a:pt x="4318" y="752"/>
                  </a:lnTo>
                  <a:lnTo>
                    <a:pt x="4308" y="748"/>
                  </a:lnTo>
                  <a:lnTo>
                    <a:pt x="4302" y="743"/>
                  </a:lnTo>
                  <a:lnTo>
                    <a:pt x="4296" y="735"/>
                  </a:lnTo>
                  <a:lnTo>
                    <a:pt x="4287" y="717"/>
                  </a:lnTo>
                  <a:lnTo>
                    <a:pt x="4280" y="699"/>
                  </a:lnTo>
                  <a:lnTo>
                    <a:pt x="4276" y="688"/>
                  </a:lnTo>
                  <a:lnTo>
                    <a:pt x="4271" y="679"/>
                  </a:lnTo>
                  <a:lnTo>
                    <a:pt x="4266" y="669"/>
                  </a:lnTo>
                  <a:lnTo>
                    <a:pt x="4259" y="663"/>
                  </a:lnTo>
                  <a:lnTo>
                    <a:pt x="4250" y="656"/>
                  </a:lnTo>
                  <a:lnTo>
                    <a:pt x="4239" y="651"/>
                  </a:lnTo>
                  <a:lnTo>
                    <a:pt x="4226" y="647"/>
                  </a:lnTo>
                  <a:lnTo>
                    <a:pt x="4208" y="647"/>
                  </a:lnTo>
                  <a:lnTo>
                    <a:pt x="4198" y="647"/>
                  </a:lnTo>
                  <a:lnTo>
                    <a:pt x="4187" y="649"/>
                  </a:lnTo>
                  <a:lnTo>
                    <a:pt x="4177" y="652"/>
                  </a:lnTo>
                  <a:lnTo>
                    <a:pt x="4167" y="655"/>
                  </a:lnTo>
                  <a:lnTo>
                    <a:pt x="4157" y="659"/>
                  </a:lnTo>
                  <a:lnTo>
                    <a:pt x="4146" y="661"/>
                  </a:lnTo>
                  <a:lnTo>
                    <a:pt x="4135" y="664"/>
                  </a:lnTo>
                  <a:lnTo>
                    <a:pt x="4125" y="664"/>
                  </a:lnTo>
                  <a:lnTo>
                    <a:pt x="4107" y="663"/>
                  </a:lnTo>
                  <a:lnTo>
                    <a:pt x="4090" y="659"/>
                  </a:lnTo>
                  <a:lnTo>
                    <a:pt x="4075" y="653"/>
                  </a:lnTo>
                  <a:lnTo>
                    <a:pt x="4062" y="647"/>
                  </a:lnTo>
                  <a:lnTo>
                    <a:pt x="4050" y="639"/>
                  </a:lnTo>
                  <a:lnTo>
                    <a:pt x="4042" y="631"/>
                  </a:lnTo>
                  <a:lnTo>
                    <a:pt x="4038" y="627"/>
                  </a:lnTo>
                  <a:lnTo>
                    <a:pt x="4037" y="623"/>
                  </a:lnTo>
                  <a:lnTo>
                    <a:pt x="4035" y="620"/>
                  </a:lnTo>
                  <a:lnTo>
                    <a:pt x="4034" y="616"/>
                  </a:lnTo>
                  <a:lnTo>
                    <a:pt x="4035" y="603"/>
                  </a:lnTo>
                  <a:lnTo>
                    <a:pt x="4035" y="588"/>
                  </a:lnTo>
                  <a:lnTo>
                    <a:pt x="4035" y="580"/>
                  </a:lnTo>
                  <a:lnTo>
                    <a:pt x="4034" y="573"/>
                  </a:lnTo>
                  <a:lnTo>
                    <a:pt x="4031" y="564"/>
                  </a:lnTo>
                  <a:lnTo>
                    <a:pt x="4029" y="556"/>
                  </a:lnTo>
                  <a:lnTo>
                    <a:pt x="4013" y="557"/>
                  </a:lnTo>
                  <a:lnTo>
                    <a:pt x="4001" y="557"/>
                  </a:lnTo>
                  <a:lnTo>
                    <a:pt x="3989" y="556"/>
                  </a:lnTo>
                  <a:lnTo>
                    <a:pt x="3979" y="552"/>
                  </a:lnTo>
                  <a:lnTo>
                    <a:pt x="3975" y="549"/>
                  </a:lnTo>
                  <a:lnTo>
                    <a:pt x="3971" y="545"/>
                  </a:lnTo>
                  <a:lnTo>
                    <a:pt x="3969" y="541"/>
                  </a:lnTo>
                  <a:lnTo>
                    <a:pt x="3966" y="536"/>
                  </a:lnTo>
                  <a:lnTo>
                    <a:pt x="3965" y="531"/>
                  </a:lnTo>
                  <a:lnTo>
                    <a:pt x="3963" y="524"/>
                  </a:lnTo>
                  <a:lnTo>
                    <a:pt x="3962" y="516"/>
                  </a:lnTo>
                  <a:lnTo>
                    <a:pt x="3962" y="508"/>
                  </a:lnTo>
                  <a:lnTo>
                    <a:pt x="3963" y="492"/>
                  </a:lnTo>
                  <a:lnTo>
                    <a:pt x="3965" y="477"/>
                  </a:lnTo>
                  <a:lnTo>
                    <a:pt x="3969" y="464"/>
                  </a:lnTo>
                  <a:lnTo>
                    <a:pt x="3974" y="452"/>
                  </a:lnTo>
                  <a:lnTo>
                    <a:pt x="3979" y="440"/>
                  </a:lnTo>
                  <a:lnTo>
                    <a:pt x="3986" y="428"/>
                  </a:lnTo>
                  <a:lnTo>
                    <a:pt x="3994" y="417"/>
                  </a:lnTo>
                  <a:lnTo>
                    <a:pt x="4001" y="407"/>
                  </a:lnTo>
                  <a:lnTo>
                    <a:pt x="4017" y="385"/>
                  </a:lnTo>
                  <a:lnTo>
                    <a:pt x="4033" y="364"/>
                  </a:lnTo>
                  <a:lnTo>
                    <a:pt x="4041" y="352"/>
                  </a:lnTo>
                  <a:lnTo>
                    <a:pt x="4047" y="340"/>
                  </a:lnTo>
                  <a:lnTo>
                    <a:pt x="4053" y="328"/>
                  </a:lnTo>
                  <a:lnTo>
                    <a:pt x="4058" y="315"/>
                  </a:lnTo>
                  <a:lnTo>
                    <a:pt x="4059" y="306"/>
                  </a:lnTo>
                  <a:lnTo>
                    <a:pt x="4059" y="298"/>
                  </a:lnTo>
                  <a:lnTo>
                    <a:pt x="4058" y="290"/>
                  </a:lnTo>
                  <a:lnTo>
                    <a:pt x="4057" y="282"/>
                  </a:lnTo>
                  <a:lnTo>
                    <a:pt x="4054" y="274"/>
                  </a:lnTo>
                  <a:lnTo>
                    <a:pt x="4054" y="266"/>
                  </a:lnTo>
                  <a:lnTo>
                    <a:pt x="4055" y="258"/>
                  </a:lnTo>
                  <a:lnTo>
                    <a:pt x="4058" y="248"/>
                  </a:lnTo>
                  <a:lnTo>
                    <a:pt x="4062" y="239"/>
                  </a:lnTo>
                  <a:lnTo>
                    <a:pt x="4067" y="231"/>
                  </a:lnTo>
                  <a:lnTo>
                    <a:pt x="4074" y="223"/>
                  </a:lnTo>
                  <a:lnTo>
                    <a:pt x="4082" y="215"/>
                  </a:lnTo>
                  <a:lnTo>
                    <a:pt x="4089" y="206"/>
                  </a:lnTo>
                  <a:lnTo>
                    <a:pt x="4095" y="194"/>
                  </a:lnTo>
                  <a:lnTo>
                    <a:pt x="4097" y="187"/>
                  </a:lnTo>
                  <a:lnTo>
                    <a:pt x="4099" y="179"/>
                  </a:lnTo>
                  <a:lnTo>
                    <a:pt x="4101" y="170"/>
                  </a:lnTo>
                  <a:lnTo>
                    <a:pt x="4101" y="159"/>
                  </a:lnTo>
                  <a:lnTo>
                    <a:pt x="4101" y="151"/>
                  </a:lnTo>
                  <a:lnTo>
                    <a:pt x="4099" y="144"/>
                  </a:lnTo>
                  <a:lnTo>
                    <a:pt x="4097" y="138"/>
                  </a:lnTo>
                  <a:lnTo>
                    <a:pt x="4094" y="131"/>
                  </a:lnTo>
                  <a:lnTo>
                    <a:pt x="4087" y="118"/>
                  </a:lnTo>
                  <a:lnTo>
                    <a:pt x="4077" y="104"/>
                  </a:lnTo>
                  <a:lnTo>
                    <a:pt x="4065" y="91"/>
                  </a:lnTo>
                  <a:lnTo>
                    <a:pt x="4051" y="79"/>
                  </a:lnTo>
                  <a:lnTo>
                    <a:pt x="4037" y="67"/>
                  </a:lnTo>
                  <a:lnTo>
                    <a:pt x="4019" y="56"/>
                  </a:lnTo>
                  <a:lnTo>
                    <a:pt x="4003" y="46"/>
                  </a:lnTo>
                  <a:lnTo>
                    <a:pt x="3986" y="36"/>
                  </a:lnTo>
                  <a:lnTo>
                    <a:pt x="3967" y="28"/>
                  </a:lnTo>
                  <a:lnTo>
                    <a:pt x="3950" y="22"/>
                  </a:lnTo>
                  <a:lnTo>
                    <a:pt x="3934" y="15"/>
                  </a:lnTo>
                  <a:lnTo>
                    <a:pt x="3918" y="11"/>
                  </a:lnTo>
                  <a:lnTo>
                    <a:pt x="3903" y="8"/>
                  </a:lnTo>
                  <a:lnTo>
                    <a:pt x="3890" y="8"/>
                  </a:lnTo>
                  <a:lnTo>
                    <a:pt x="3881" y="6"/>
                  </a:lnTo>
                  <a:lnTo>
                    <a:pt x="3873" y="3"/>
                  </a:lnTo>
                  <a:lnTo>
                    <a:pt x="3867" y="2"/>
                  </a:lnTo>
                  <a:lnTo>
                    <a:pt x="3861" y="0"/>
                  </a:lnTo>
                  <a:lnTo>
                    <a:pt x="3851" y="0"/>
                  </a:lnTo>
                  <a:lnTo>
                    <a:pt x="3842" y="2"/>
                  </a:lnTo>
                  <a:lnTo>
                    <a:pt x="3846" y="15"/>
                  </a:lnTo>
                  <a:lnTo>
                    <a:pt x="3850" y="30"/>
                  </a:lnTo>
                  <a:lnTo>
                    <a:pt x="3857" y="43"/>
                  </a:lnTo>
                  <a:lnTo>
                    <a:pt x="3863" y="56"/>
                  </a:lnTo>
                  <a:lnTo>
                    <a:pt x="3878" y="83"/>
                  </a:lnTo>
                  <a:lnTo>
                    <a:pt x="3895" y="108"/>
                  </a:lnTo>
                  <a:lnTo>
                    <a:pt x="3913" y="131"/>
                  </a:lnTo>
                  <a:lnTo>
                    <a:pt x="3930" y="152"/>
                  </a:lnTo>
                  <a:lnTo>
                    <a:pt x="3947" y="170"/>
                  </a:lnTo>
                  <a:lnTo>
                    <a:pt x="3962" y="183"/>
                  </a:lnTo>
                  <a:lnTo>
                    <a:pt x="3970" y="196"/>
                  </a:lnTo>
                  <a:lnTo>
                    <a:pt x="3975" y="208"/>
                  </a:lnTo>
                  <a:lnTo>
                    <a:pt x="3978" y="216"/>
                  </a:lnTo>
                  <a:lnTo>
                    <a:pt x="3979" y="223"/>
                  </a:lnTo>
                  <a:lnTo>
                    <a:pt x="3979" y="228"/>
                  </a:lnTo>
                  <a:lnTo>
                    <a:pt x="3978" y="230"/>
                  </a:lnTo>
                  <a:lnTo>
                    <a:pt x="3975" y="231"/>
                  </a:lnTo>
                  <a:lnTo>
                    <a:pt x="3970" y="230"/>
                  </a:lnTo>
                  <a:lnTo>
                    <a:pt x="3958" y="224"/>
                  </a:lnTo>
                  <a:lnTo>
                    <a:pt x="3941" y="214"/>
                  </a:lnTo>
                  <a:lnTo>
                    <a:pt x="3919" y="200"/>
                  </a:lnTo>
                  <a:lnTo>
                    <a:pt x="3895" y="184"/>
                  </a:lnTo>
                  <a:lnTo>
                    <a:pt x="3869" y="167"/>
                  </a:lnTo>
                  <a:lnTo>
                    <a:pt x="3842" y="151"/>
                  </a:lnTo>
                  <a:lnTo>
                    <a:pt x="3827" y="144"/>
                  </a:lnTo>
                  <a:lnTo>
                    <a:pt x="3814" y="138"/>
                  </a:lnTo>
                  <a:lnTo>
                    <a:pt x="3801" y="131"/>
                  </a:lnTo>
                  <a:lnTo>
                    <a:pt x="3786" y="127"/>
                  </a:lnTo>
                  <a:lnTo>
                    <a:pt x="3773" y="123"/>
                  </a:lnTo>
                  <a:lnTo>
                    <a:pt x="3761" y="120"/>
                  </a:lnTo>
                  <a:lnTo>
                    <a:pt x="3749" y="119"/>
                  </a:lnTo>
                  <a:lnTo>
                    <a:pt x="3737" y="119"/>
                  </a:lnTo>
                  <a:lnTo>
                    <a:pt x="3725" y="122"/>
                  </a:lnTo>
                  <a:lnTo>
                    <a:pt x="3715" y="126"/>
                  </a:lnTo>
                  <a:lnTo>
                    <a:pt x="3706" y="132"/>
                  </a:lnTo>
                  <a:lnTo>
                    <a:pt x="3697" y="140"/>
                  </a:lnTo>
                  <a:lnTo>
                    <a:pt x="3686" y="151"/>
                  </a:lnTo>
                  <a:lnTo>
                    <a:pt x="3677" y="159"/>
                  </a:lnTo>
                  <a:lnTo>
                    <a:pt x="3673" y="160"/>
                  </a:lnTo>
                  <a:lnTo>
                    <a:pt x="3670" y="162"/>
                  </a:lnTo>
                  <a:lnTo>
                    <a:pt x="3667" y="162"/>
                  </a:lnTo>
                  <a:lnTo>
                    <a:pt x="3665" y="162"/>
                  </a:lnTo>
                  <a:lnTo>
                    <a:pt x="3659" y="159"/>
                  </a:lnTo>
                  <a:lnTo>
                    <a:pt x="3654" y="154"/>
                  </a:lnTo>
                  <a:lnTo>
                    <a:pt x="3649" y="146"/>
                  </a:lnTo>
                  <a:lnTo>
                    <a:pt x="3642" y="136"/>
                  </a:lnTo>
                  <a:lnTo>
                    <a:pt x="3634" y="126"/>
                  </a:lnTo>
                  <a:lnTo>
                    <a:pt x="3625" y="114"/>
                  </a:lnTo>
                  <a:lnTo>
                    <a:pt x="3611" y="102"/>
                  </a:lnTo>
                  <a:lnTo>
                    <a:pt x="3597" y="90"/>
                  </a:lnTo>
                  <a:lnTo>
                    <a:pt x="3587" y="84"/>
                  </a:lnTo>
                  <a:lnTo>
                    <a:pt x="3577" y="78"/>
                  </a:lnTo>
                  <a:lnTo>
                    <a:pt x="3566" y="72"/>
                  </a:lnTo>
                  <a:lnTo>
                    <a:pt x="3554" y="67"/>
                  </a:lnTo>
                  <a:lnTo>
                    <a:pt x="3541" y="62"/>
                  </a:lnTo>
                  <a:lnTo>
                    <a:pt x="3526" y="58"/>
                  </a:lnTo>
                  <a:lnTo>
                    <a:pt x="3510" y="54"/>
                  </a:lnTo>
                  <a:lnTo>
                    <a:pt x="3493" y="50"/>
                  </a:lnTo>
                  <a:lnTo>
                    <a:pt x="3475" y="48"/>
                  </a:lnTo>
                  <a:lnTo>
                    <a:pt x="3459" y="47"/>
                  </a:lnTo>
                  <a:lnTo>
                    <a:pt x="3444" y="47"/>
                  </a:lnTo>
                  <a:lnTo>
                    <a:pt x="3428" y="50"/>
                  </a:lnTo>
                  <a:lnTo>
                    <a:pt x="3413" y="52"/>
                  </a:lnTo>
                  <a:lnTo>
                    <a:pt x="3397" y="56"/>
                  </a:lnTo>
                  <a:lnTo>
                    <a:pt x="3384" y="60"/>
                  </a:lnTo>
                  <a:lnTo>
                    <a:pt x="3369" y="67"/>
                  </a:lnTo>
                  <a:lnTo>
                    <a:pt x="3356" y="74"/>
                  </a:lnTo>
                  <a:lnTo>
                    <a:pt x="3342" y="82"/>
                  </a:lnTo>
                  <a:lnTo>
                    <a:pt x="3330" y="90"/>
                  </a:lnTo>
                  <a:lnTo>
                    <a:pt x="3318" y="99"/>
                  </a:lnTo>
                  <a:lnTo>
                    <a:pt x="3306" y="108"/>
                  </a:lnTo>
                  <a:lnTo>
                    <a:pt x="3294" y="118"/>
                  </a:lnTo>
                  <a:lnTo>
                    <a:pt x="3284" y="128"/>
                  </a:lnTo>
                  <a:lnTo>
                    <a:pt x="3274" y="139"/>
                  </a:lnTo>
                  <a:lnTo>
                    <a:pt x="3256" y="163"/>
                  </a:lnTo>
                  <a:lnTo>
                    <a:pt x="3238" y="186"/>
                  </a:lnTo>
                  <a:lnTo>
                    <a:pt x="3225" y="210"/>
                  </a:lnTo>
                  <a:lnTo>
                    <a:pt x="3213" y="234"/>
                  </a:lnTo>
                  <a:lnTo>
                    <a:pt x="3204" y="256"/>
                  </a:lnTo>
                  <a:lnTo>
                    <a:pt x="3197" y="278"/>
                  </a:lnTo>
                  <a:lnTo>
                    <a:pt x="3193" y="298"/>
                  </a:lnTo>
                  <a:lnTo>
                    <a:pt x="3192" y="315"/>
                  </a:lnTo>
                  <a:lnTo>
                    <a:pt x="3190" y="326"/>
                  </a:lnTo>
                  <a:lnTo>
                    <a:pt x="3190" y="341"/>
                  </a:lnTo>
                  <a:lnTo>
                    <a:pt x="3188" y="359"/>
                  </a:lnTo>
                  <a:lnTo>
                    <a:pt x="3185" y="379"/>
                  </a:lnTo>
                  <a:lnTo>
                    <a:pt x="3180" y="400"/>
                  </a:lnTo>
                  <a:lnTo>
                    <a:pt x="3173" y="423"/>
                  </a:lnTo>
                  <a:lnTo>
                    <a:pt x="3165" y="444"/>
                  </a:lnTo>
                  <a:lnTo>
                    <a:pt x="3156" y="465"/>
                  </a:lnTo>
                  <a:lnTo>
                    <a:pt x="3149" y="475"/>
                  </a:lnTo>
                  <a:lnTo>
                    <a:pt x="3142" y="485"/>
                  </a:lnTo>
                  <a:lnTo>
                    <a:pt x="3136" y="493"/>
                  </a:lnTo>
                  <a:lnTo>
                    <a:pt x="3128" y="501"/>
                  </a:lnTo>
                  <a:lnTo>
                    <a:pt x="3120" y="509"/>
                  </a:lnTo>
                  <a:lnTo>
                    <a:pt x="3110" y="515"/>
                  </a:lnTo>
                  <a:lnTo>
                    <a:pt x="3100" y="520"/>
                  </a:lnTo>
                  <a:lnTo>
                    <a:pt x="3089" y="525"/>
                  </a:lnTo>
                  <a:lnTo>
                    <a:pt x="3078" y="528"/>
                  </a:lnTo>
                  <a:lnTo>
                    <a:pt x="3066" y="529"/>
                  </a:lnTo>
                  <a:lnTo>
                    <a:pt x="3053" y="531"/>
                  </a:lnTo>
                  <a:lnTo>
                    <a:pt x="3040" y="529"/>
                  </a:lnTo>
                  <a:lnTo>
                    <a:pt x="3024" y="527"/>
                  </a:lnTo>
                  <a:lnTo>
                    <a:pt x="3009" y="521"/>
                  </a:lnTo>
                  <a:lnTo>
                    <a:pt x="2992" y="516"/>
                  </a:lnTo>
                  <a:lnTo>
                    <a:pt x="2974" y="508"/>
                  </a:lnTo>
                  <a:lnTo>
                    <a:pt x="2948" y="513"/>
                  </a:lnTo>
                  <a:lnTo>
                    <a:pt x="2922" y="521"/>
                  </a:lnTo>
                  <a:lnTo>
                    <a:pt x="2900" y="529"/>
                  </a:lnTo>
                  <a:lnTo>
                    <a:pt x="2878" y="539"/>
                  </a:lnTo>
                  <a:lnTo>
                    <a:pt x="2844" y="556"/>
                  </a:lnTo>
                  <a:lnTo>
                    <a:pt x="2816" y="573"/>
                  </a:lnTo>
                  <a:lnTo>
                    <a:pt x="2794" y="587"/>
                  </a:lnTo>
                  <a:lnTo>
                    <a:pt x="2781" y="593"/>
                  </a:lnTo>
                  <a:lnTo>
                    <a:pt x="2776" y="593"/>
                  </a:lnTo>
                  <a:lnTo>
                    <a:pt x="2772" y="592"/>
                  </a:lnTo>
                  <a:lnTo>
                    <a:pt x="2770" y="587"/>
                  </a:lnTo>
                  <a:lnTo>
                    <a:pt x="2769" y="580"/>
                  </a:lnTo>
                  <a:lnTo>
                    <a:pt x="2772" y="559"/>
                  </a:lnTo>
                  <a:lnTo>
                    <a:pt x="2776" y="536"/>
                  </a:lnTo>
                  <a:lnTo>
                    <a:pt x="2777" y="524"/>
                  </a:lnTo>
                  <a:lnTo>
                    <a:pt x="2778" y="512"/>
                  </a:lnTo>
                  <a:lnTo>
                    <a:pt x="2777" y="501"/>
                  </a:lnTo>
                  <a:lnTo>
                    <a:pt x="2774" y="492"/>
                  </a:lnTo>
                  <a:lnTo>
                    <a:pt x="2772" y="488"/>
                  </a:lnTo>
                  <a:lnTo>
                    <a:pt x="2769" y="484"/>
                  </a:lnTo>
                  <a:lnTo>
                    <a:pt x="2765" y="480"/>
                  </a:lnTo>
                  <a:lnTo>
                    <a:pt x="2761" y="477"/>
                  </a:lnTo>
                  <a:lnTo>
                    <a:pt x="2756" y="476"/>
                  </a:lnTo>
                  <a:lnTo>
                    <a:pt x="2749" y="475"/>
                  </a:lnTo>
                  <a:lnTo>
                    <a:pt x="2742" y="473"/>
                  </a:lnTo>
                  <a:lnTo>
                    <a:pt x="2734" y="473"/>
                  </a:lnTo>
                  <a:lnTo>
                    <a:pt x="2714" y="476"/>
                  </a:lnTo>
                  <a:lnTo>
                    <a:pt x="2690" y="483"/>
                  </a:lnTo>
                  <a:lnTo>
                    <a:pt x="2661" y="493"/>
                  </a:lnTo>
                  <a:lnTo>
                    <a:pt x="2625" y="508"/>
                  </a:lnTo>
                  <a:lnTo>
                    <a:pt x="2611" y="513"/>
                  </a:lnTo>
                  <a:lnTo>
                    <a:pt x="2597" y="520"/>
                  </a:lnTo>
                  <a:lnTo>
                    <a:pt x="2587" y="527"/>
                  </a:lnTo>
                  <a:lnTo>
                    <a:pt x="2577" y="535"/>
                  </a:lnTo>
                  <a:lnTo>
                    <a:pt x="2569" y="544"/>
                  </a:lnTo>
                  <a:lnTo>
                    <a:pt x="2563" y="553"/>
                  </a:lnTo>
                  <a:lnTo>
                    <a:pt x="2559" y="564"/>
                  </a:lnTo>
                  <a:lnTo>
                    <a:pt x="2555" y="575"/>
                  </a:lnTo>
                  <a:lnTo>
                    <a:pt x="2552" y="587"/>
                  </a:lnTo>
                  <a:lnTo>
                    <a:pt x="2551" y="599"/>
                  </a:lnTo>
                  <a:lnTo>
                    <a:pt x="2551" y="611"/>
                  </a:lnTo>
                  <a:lnTo>
                    <a:pt x="2551" y="623"/>
                  </a:lnTo>
                  <a:lnTo>
                    <a:pt x="2553" y="648"/>
                  </a:lnTo>
                  <a:lnTo>
                    <a:pt x="2557" y="673"/>
                  </a:lnTo>
                  <a:lnTo>
                    <a:pt x="2568" y="723"/>
                  </a:lnTo>
                  <a:lnTo>
                    <a:pt x="2576" y="767"/>
                  </a:lnTo>
                  <a:lnTo>
                    <a:pt x="2577" y="776"/>
                  </a:lnTo>
                  <a:lnTo>
                    <a:pt x="2576" y="785"/>
                  </a:lnTo>
                  <a:lnTo>
                    <a:pt x="2576" y="793"/>
                  </a:lnTo>
                  <a:lnTo>
                    <a:pt x="2573" y="801"/>
                  </a:lnTo>
                  <a:lnTo>
                    <a:pt x="2571" y="808"/>
                  </a:lnTo>
                  <a:lnTo>
                    <a:pt x="2565" y="813"/>
                  </a:lnTo>
                  <a:lnTo>
                    <a:pt x="2560" y="817"/>
                  </a:lnTo>
                  <a:lnTo>
                    <a:pt x="2553" y="821"/>
                  </a:lnTo>
                  <a:lnTo>
                    <a:pt x="2552" y="823"/>
                  </a:lnTo>
                  <a:lnTo>
                    <a:pt x="2551" y="823"/>
                  </a:lnTo>
                  <a:lnTo>
                    <a:pt x="2549" y="823"/>
                  </a:lnTo>
                  <a:lnTo>
                    <a:pt x="2549" y="820"/>
                  </a:lnTo>
                  <a:lnTo>
                    <a:pt x="2547" y="815"/>
                  </a:lnTo>
                  <a:lnTo>
                    <a:pt x="2544" y="805"/>
                  </a:lnTo>
                  <a:lnTo>
                    <a:pt x="2540" y="780"/>
                  </a:lnTo>
                  <a:lnTo>
                    <a:pt x="2536" y="749"/>
                  </a:lnTo>
                  <a:lnTo>
                    <a:pt x="2531" y="719"/>
                  </a:lnTo>
                  <a:lnTo>
                    <a:pt x="2524" y="695"/>
                  </a:lnTo>
                  <a:lnTo>
                    <a:pt x="2520" y="685"/>
                  </a:lnTo>
                  <a:lnTo>
                    <a:pt x="2515" y="680"/>
                  </a:lnTo>
                  <a:lnTo>
                    <a:pt x="2513" y="679"/>
                  </a:lnTo>
                  <a:lnTo>
                    <a:pt x="2511" y="679"/>
                  </a:lnTo>
                  <a:lnTo>
                    <a:pt x="2508" y="680"/>
                  </a:lnTo>
                  <a:lnTo>
                    <a:pt x="2505" y="683"/>
                  </a:lnTo>
                  <a:lnTo>
                    <a:pt x="2485" y="700"/>
                  </a:lnTo>
                  <a:lnTo>
                    <a:pt x="2465" y="716"/>
                  </a:lnTo>
                  <a:lnTo>
                    <a:pt x="2443" y="732"/>
                  </a:lnTo>
                  <a:lnTo>
                    <a:pt x="2420" y="748"/>
                  </a:lnTo>
                  <a:lnTo>
                    <a:pt x="2416" y="745"/>
                  </a:lnTo>
                  <a:lnTo>
                    <a:pt x="2413" y="743"/>
                  </a:lnTo>
                  <a:lnTo>
                    <a:pt x="2411" y="740"/>
                  </a:lnTo>
                  <a:lnTo>
                    <a:pt x="2409" y="737"/>
                  </a:lnTo>
                  <a:lnTo>
                    <a:pt x="2409" y="731"/>
                  </a:lnTo>
                  <a:lnTo>
                    <a:pt x="2412" y="724"/>
                  </a:lnTo>
                  <a:lnTo>
                    <a:pt x="2416" y="719"/>
                  </a:lnTo>
                  <a:lnTo>
                    <a:pt x="2423" y="712"/>
                  </a:lnTo>
                  <a:lnTo>
                    <a:pt x="2429" y="704"/>
                  </a:lnTo>
                  <a:lnTo>
                    <a:pt x="2437" y="697"/>
                  </a:lnTo>
                  <a:lnTo>
                    <a:pt x="2447" y="689"/>
                  </a:lnTo>
                  <a:lnTo>
                    <a:pt x="2453" y="681"/>
                  </a:lnTo>
                  <a:lnTo>
                    <a:pt x="2461" y="673"/>
                  </a:lnTo>
                  <a:lnTo>
                    <a:pt x="2467" y="665"/>
                  </a:lnTo>
                  <a:lnTo>
                    <a:pt x="2471" y="656"/>
                  </a:lnTo>
                  <a:lnTo>
                    <a:pt x="2473" y="648"/>
                  </a:lnTo>
                  <a:lnTo>
                    <a:pt x="2473" y="643"/>
                  </a:lnTo>
                  <a:lnTo>
                    <a:pt x="2472" y="637"/>
                  </a:lnTo>
                  <a:lnTo>
                    <a:pt x="2471" y="633"/>
                  </a:lnTo>
                  <a:lnTo>
                    <a:pt x="2469" y="628"/>
                  </a:lnTo>
                  <a:lnTo>
                    <a:pt x="2457" y="631"/>
                  </a:lnTo>
                  <a:lnTo>
                    <a:pt x="2447" y="635"/>
                  </a:lnTo>
                  <a:lnTo>
                    <a:pt x="2436" y="639"/>
                  </a:lnTo>
                  <a:lnTo>
                    <a:pt x="2425" y="644"/>
                  </a:lnTo>
                  <a:lnTo>
                    <a:pt x="2403" y="656"/>
                  </a:lnTo>
                  <a:lnTo>
                    <a:pt x="2380" y="669"/>
                  </a:lnTo>
                  <a:lnTo>
                    <a:pt x="2335" y="703"/>
                  </a:lnTo>
                  <a:lnTo>
                    <a:pt x="2288" y="736"/>
                  </a:lnTo>
                  <a:lnTo>
                    <a:pt x="2264" y="753"/>
                  </a:lnTo>
                  <a:lnTo>
                    <a:pt x="2240" y="768"/>
                  </a:lnTo>
                  <a:lnTo>
                    <a:pt x="2216" y="783"/>
                  </a:lnTo>
                  <a:lnTo>
                    <a:pt x="2191" y="795"/>
                  </a:lnTo>
                  <a:lnTo>
                    <a:pt x="2179" y="799"/>
                  </a:lnTo>
                  <a:lnTo>
                    <a:pt x="2165" y="803"/>
                  </a:lnTo>
                  <a:lnTo>
                    <a:pt x="2153" y="807"/>
                  </a:lnTo>
                  <a:lnTo>
                    <a:pt x="2140" y="809"/>
                  </a:lnTo>
                  <a:lnTo>
                    <a:pt x="2128" y="811"/>
                  </a:lnTo>
                  <a:lnTo>
                    <a:pt x="2115" y="811"/>
                  </a:lnTo>
                  <a:lnTo>
                    <a:pt x="2103" y="811"/>
                  </a:lnTo>
                  <a:lnTo>
                    <a:pt x="2089" y="809"/>
                  </a:lnTo>
                  <a:lnTo>
                    <a:pt x="2112" y="828"/>
                  </a:lnTo>
                  <a:lnTo>
                    <a:pt x="2128" y="845"/>
                  </a:lnTo>
                  <a:lnTo>
                    <a:pt x="2135" y="853"/>
                  </a:lnTo>
                  <a:lnTo>
                    <a:pt x="2140" y="860"/>
                  </a:lnTo>
                  <a:lnTo>
                    <a:pt x="2144" y="867"/>
                  </a:lnTo>
                  <a:lnTo>
                    <a:pt x="2147" y="873"/>
                  </a:lnTo>
                  <a:lnTo>
                    <a:pt x="2148" y="879"/>
                  </a:lnTo>
                  <a:lnTo>
                    <a:pt x="2149" y="884"/>
                  </a:lnTo>
                  <a:lnTo>
                    <a:pt x="2148" y="889"/>
                  </a:lnTo>
                  <a:lnTo>
                    <a:pt x="2148" y="895"/>
                  </a:lnTo>
                  <a:lnTo>
                    <a:pt x="2143" y="904"/>
                  </a:lnTo>
                  <a:lnTo>
                    <a:pt x="2136" y="915"/>
                  </a:lnTo>
                  <a:lnTo>
                    <a:pt x="2119" y="936"/>
                  </a:lnTo>
                  <a:lnTo>
                    <a:pt x="2099" y="964"/>
                  </a:lnTo>
                  <a:lnTo>
                    <a:pt x="2089" y="982"/>
                  </a:lnTo>
                  <a:lnTo>
                    <a:pt x="2081" y="1002"/>
                  </a:lnTo>
                  <a:lnTo>
                    <a:pt x="2077" y="1014"/>
                  </a:lnTo>
                  <a:lnTo>
                    <a:pt x="2075" y="1028"/>
                  </a:lnTo>
                  <a:lnTo>
                    <a:pt x="2072" y="1041"/>
                  </a:lnTo>
                  <a:lnTo>
                    <a:pt x="2071" y="1056"/>
                  </a:lnTo>
                  <a:lnTo>
                    <a:pt x="2081" y="1056"/>
                  </a:lnTo>
                  <a:lnTo>
                    <a:pt x="2091" y="1054"/>
                  </a:lnTo>
                  <a:lnTo>
                    <a:pt x="2100" y="1053"/>
                  </a:lnTo>
                  <a:lnTo>
                    <a:pt x="2107" y="1050"/>
                  </a:lnTo>
                  <a:lnTo>
                    <a:pt x="2120" y="1045"/>
                  </a:lnTo>
                  <a:lnTo>
                    <a:pt x="2132" y="1037"/>
                  </a:lnTo>
                  <a:lnTo>
                    <a:pt x="2148" y="1020"/>
                  </a:lnTo>
                  <a:lnTo>
                    <a:pt x="2157" y="1008"/>
                  </a:lnTo>
                  <a:lnTo>
                    <a:pt x="2160" y="1005"/>
                  </a:lnTo>
                  <a:lnTo>
                    <a:pt x="2161" y="1004"/>
                  </a:lnTo>
                  <a:lnTo>
                    <a:pt x="2164" y="1004"/>
                  </a:lnTo>
                  <a:lnTo>
                    <a:pt x="2165" y="1004"/>
                  </a:lnTo>
                  <a:lnTo>
                    <a:pt x="2169" y="1009"/>
                  </a:lnTo>
                  <a:lnTo>
                    <a:pt x="2173" y="1018"/>
                  </a:lnTo>
                  <a:lnTo>
                    <a:pt x="2185" y="1056"/>
                  </a:lnTo>
                  <a:lnTo>
                    <a:pt x="2204" y="1121"/>
                  </a:lnTo>
                  <a:lnTo>
                    <a:pt x="2228" y="1130"/>
                  </a:lnTo>
                  <a:lnTo>
                    <a:pt x="2248" y="1140"/>
                  </a:lnTo>
                  <a:lnTo>
                    <a:pt x="2263" y="1149"/>
                  </a:lnTo>
                  <a:lnTo>
                    <a:pt x="2275" y="1158"/>
                  </a:lnTo>
                  <a:lnTo>
                    <a:pt x="2279" y="1162"/>
                  </a:lnTo>
                  <a:lnTo>
                    <a:pt x="2281" y="1168"/>
                  </a:lnTo>
                  <a:lnTo>
                    <a:pt x="2283" y="1172"/>
                  </a:lnTo>
                  <a:lnTo>
                    <a:pt x="2284" y="1176"/>
                  </a:lnTo>
                  <a:lnTo>
                    <a:pt x="2284" y="1180"/>
                  </a:lnTo>
                  <a:lnTo>
                    <a:pt x="2284" y="1182"/>
                  </a:lnTo>
                  <a:lnTo>
                    <a:pt x="2281" y="1186"/>
                  </a:lnTo>
                  <a:lnTo>
                    <a:pt x="2280" y="1189"/>
                  </a:lnTo>
                  <a:lnTo>
                    <a:pt x="2273" y="1196"/>
                  </a:lnTo>
                  <a:lnTo>
                    <a:pt x="2263" y="1200"/>
                  </a:lnTo>
                  <a:lnTo>
                    <a:pt x="2251" y="1202"/>
                  </a:lnTo>
                  <a:lnTo>
                    <a:pt x="2236" y="1205"/>
                  </a:lnTo>
                  <a:lnTo>
                    <a:pt x="2220" y="1205"/>
                  </a:lnTo>
                  <a:lnTo>
                    <a:pt x="2203" y="1204"/>
                  </a:lnTo>
                  <a:lnTo>
                    <a:pt x="2183" y="1200"/>
                  </a:lnTo>
                  <a:lnTo>
                    <a:pt x="2161" y="1194"/>
                  </a:lnTo>
                  <a:lnTo>
                    <a:pt x="2153" y="1201"/>
                  </a:lnTo>
                  <a:lnTo>
                    <a:pt x="2148" y="1209"/>
                  </a:lnTo>
                  <a:lnTo>
                    <a:pt x="2144" y="1217"/>
                  </a:lnTo>
                  <a:lnTo>
                    <a:pt x="2141" y="1225"/>
                  </a:lnTo>
                  <a:lnTo>
                    <a:pt x="2140" y="1232"/>
                  </a:lnTo>
                  <a:lnTo>
                    <a:pt x="2140" y="1240"/>
                  </a:lnTo>
                  <a:lnTo>
                    <a:pt x="2141" y="1248"/>
                  </a:lnTo>
                  <a:lnTo>
                    <a:pt x="2144" y="1256"/>
                  </a:lnTo>
                  <a:lnTo>
                    <a:pt x="2151" y="1270"/>
                  </a:lnTo>
                  <a:lnTo>
                    <a:pt x="2159" y="1285"/>
                  </a:lnTo>
                  <a:lnTo>
                    <a:pt x="2169" y="1298"/>
                  </a:lnTo>
                  <a:lnTo>
                    <a:pt x="2179" y="1310"/>
                  </a:lnTo>
                  <a:lnTo>
                    <a:pt x="2187" y="1321"/>
                  </a:lnTo>
                  <a:lnTo>
                    <a:pt x="2193" y="1329"/>
                  </a:lnTo>
                  <a:lnTo>
                    <a:pt x="2196" y="1333"/>
                  </a:lnTo>
                  <a:lnTo>
                    <a:pt x="2196" y="1336"/>
                  </a:lnTo>
                  <a:lnTo>
                    <a:pt x="2196" y="1338"/>
                  </a:lnTo>
                  <a:lnTo>
                    <a:pt x="2195" y="1340"/>
                  </a:lnTo>
                  <a:lnTo>
                    <a:pt x="2192" y="1341"/>
                  </a:lnTo>
                  <a:lnTo>
                    <a:pt x="2187" y="1341"/>
                  </a:lnTo>
                  <a:lnTo>
                    <a:pt x="2181" y="1341"/>
                  </a:lnTo>
                  <a:lnTo>
                    <a:pt x="2173" y="1340"/>
                  </a:lnTo>
                  <a:lnTo>
                    <a:pt x="2151" y="1334"/>
                  </a:lnTo>
                  <a:lnTo>
                    <a:pt x="2119" y="1326"/>
                  </a:lnTo>
                  <a:lnTo>
                    <a:pt x="2064" y="1325"/>
                  </a:lnTo>
                  <a:lnTo>
                    <a:pt x="2028" y="1324"/>
                  </a:lnTo>
                  <a:lnTo>
                    <a:pt x="2015" y="1325"/>
                  </a:lnTo>
                  <a:lnTo>
                    <a:pt x="2005" y="1325"/>
                  </a:lnTo>
                  <a:lnTo>
                    <a:pt x="1996" y="1328"/>
                  </a:lnTo>
                  <a:lnTo>
                    <a:pt x="1989" y="1332"/>
                  </a:lnTo>
                  <a:lnTo>
                    <a:pt x="1984" y="1337"/>
                  </a:lnTo>
                  <a:lnTo>
                    <a:pt x="1979" y="1345"/>
                  </a:lnTo>
                  <a:lnTo>
                    <a:pt x="1972" y="1356"/>
                  </a:lnTo>
                  <a:lnTo>
                    <a:pt x="1965" y="1369"/>
                  </a:lnTo>
                  <a:lnTo>
                    <a:pt x="1945" y="1406"/>
                  </a:lnTo>
                  <a:lnTo>
                    <a:pt x="1915" y="1458"/>
                  </a:lnTo>
                  <a:lnTo>
                    <a:pt x="1906" y="1466"/>
                  </a:lnTo>
                  <a:lnTo>
                    <a:pt x="1898" y="1472"/>
                  </a:lnTo>
                  <a:lnTo>
                    <a:pt x="1888" y="1477"/>
                  </a:lnTo>
                  <a:lnTo>
                    <a:pt x="1880" y="1480"/>
                  </a:lnTo>
                  <a:lnTo>
                    <a:pt x="1872" y="1482"/>
                  </a:lnTo>
                  <a:lnTo>
                    <a:pt x="1864" y="1484"/>
                  </a:lnTo>
                  <a:lnTo>
                    <a:pt x="1856" y="1485"/>
                  </a:lnTo>
                  <a:lnTo>
                    <a:pt x="1850" y="1485"/>
                  </a:lnTo>
                  <a:lnTo>
                    <a:pt x="1836" y="1482"/>
                  </a:lnTo>
                  <a:lnTo>
                    <a:pt x="1823" y="1477"/>
                  </a:lnTo>
                  <a:lnTo>
                    <a:pt x="1811" y="1472"/>
                  </a:lnTo>
                  <a:lnTo>
                    <a:pt x="1800" y="1465"/>
                  </a:lnTo>
                  <a:lnTo>
                    <a:pt x="1782" y="1453"/>
                  </a:lnTo>
                  <a:lnTo>
                    <a:pt x="1770" y="1445"/>
                  </a:lnTo>
                  <a:lnTo>
                    <a:pt x="1767" y="1445"/>
                  </a:lnTo>
                  <a:lnTo>
                    <a:pt x="1764" y="1446"/>
                  </a:lnTo>
                  <a:lnTo>
                    <a:pt x="1763" y="1448"/>
                  </a:lnTo>
                  <a:lnTo>
                    <a:pt x="1760" y="1450"/>
                  </a:lnTo>
                  <a:lnTo>
                    <a:pt x="1759" y="1458"/>
                  </a:lnTo>
                  <a:lnTo>
                    <a:pt x="1758" y="1472"/>
                  </a:lnTo>
                  <a:lnTo>
                    <a:pt x="1760" y="1486"/>
                  </a:lnTo>
                  <a:lnTo>
                    <a:pt x="1764" y="1505"/>
                  </a:lnTo>
                  <a:lnTo>
                    <a:pt x="1771" y="1527"/>
                  </a:lnTo>
                  <a:lnTo>
                    <a:pt x="1779" y="1550"/>
                  </a:lnTo>
                  <a:lnTo>
                    <a:pt x="1796" y="1601"/>
                  </a:lnTo>
                  <a:lnTo>
                    <a:pt x="1811" y="1651"/>
                  </a:lnTo>
                  <a:lnTo>
                    <a:pt x="1815" y="1675"/>
                  </a:lnTo>
                  <a:lnTo>
                    <a:pt x="1816" y="1697"/>
                  </a:lnTo>
                  <a:lnTo>
                    <a:pt x="1816" y="1706"/>
                  </a:lnTo>
                  <a:lnTo>
                    <a:pt x="1815" y="1715"/>
                  </a:lnTo>
                  <a:lnTo>
                    <a:pt x="1812" y="1723"/>
                  </a:lnTo>
                  <a:lnTo>
                    <a:pt x="1808" y="1730"/>
                  </a:lnTo>
                  <a:lnTo>
                    <a:pt x="1804" y="1735"/>
                  </a:lnTo>
                  <a:lnTo>
                    <a:pt x="1798" y="1741"/>
                  </a:lnTo>
                  <a:lnTo>
                    <a:pt x="1791" y="1745"/>
                  </a:lnTo>
                  <a:lnTo>
                    <a:pt x="1782" y="1747"/>
                  </a:lnTo>
                  <a:lnTo>
                    <a:pt x="1771" y="1747"/>
                  </a:lnTo>
                  <a:lnTo>
                    <a:pt x="1758" y="1747"/>
                  </a:lnTo>
                  <a:lnTo>
                    <a:pt x="1744" y="1746"/>
                  </a:lnTo>
                  <a:lnTo>
                    <a:pt x="1728" y="1742"/>
                  </a:lnTo>
                  <a:lnTo>
                    <a:pt x="1706" y="1735"/>
                  </a:lnTo>
                  <a:lnTo>
                    <a:pt x="1684" y="1729"/>
                  </a:lnTo>
                  <a:lnTo>
                    <a:pt x="1664" y="1721"/>
                  </a:lnTo>
                  <a:lnTo>
                    <a:pt x="1646" y="1713"/>
                  </a:lnTo>
                  <a:lnTo>
                    <a:pt x="1627" y="1703"/>
                  </a:lnTo>
                  <a:lnTo>
                    <a:pt x="1610" y="1693"/>
                  </a:lnTo>
                  <a:lnTo>
                    <a:pt x="1595" y="1681"/>
                  </a:lnTo>
                  <a:lnTo>
                    <a:pt x="1580" y="1667"/>
                  </a:lnTo>
                  <a:lnTo>
                    <a:pt x="1567" y="1653"/>
                  </a:lnTo>
                  <a:lnTo>
                    <a:pt x="1556" y="1637"/>
                  </a:lnTo>
                  <a:lnTo>
                    <a:pt x="1547" y="1619"/>
                  </a:lnTo>
                  <a:lnTo>
                    <a:pt x="1538" y="1601"/>
                  </a:lnTo>
                  <a:lnTo>
                    <a:pt x="1532" y="1579"/>
                  </a:lnTo>
                  <a:lnTo>
                    <a:pt x="1527" y="1557"/>
                  </a:lnTo>
                  <a:lnTo>
                    <a:pt x="1524" y="1533"/>
                  </a:lnTo>
                  <a:lnTo>
                    <a:pt x="1523" y="1507"/>
                  </a:lnTo>
                  <a:lnTo>
                    <a:pt x="1520" y="1500"/>
                  </a:lnTo>
                  <a:lnTo>
                    <a:pt x="1515" y="1493"/>
                  </a:lnTo>
                  <a:lnTo>
                    <a:pt x="1508" y="1488"/>
                  </a:lnTo>
                  <a:lnTo>
                    <a:pt x="1499" y="1485"/>
                  </a:lnTo>
                  <a:lnTo>
                    <a:pt x="1480" y="1480"/>
                  </a:lnTo>
                  <a:lnTo>
                    <a:pt x="1460" y="1476"/>
                  </a:lnTo>
                  <a:lnTo>
                    <a:pt x="1450" y="1473"/>
                  </a:lnTo>
                  <a:lnTo>
                    <a:pt x="1440" y="1470"/>
                  </a:lnTo>
                  <a:lnTo>
                    <a:pt x="1432" y="1465"/>
                  </a:lnTo>
                  <a:lnTo>
                    <a:pt x="1424" y="1460"/>
                  </a:lnTo>
                  <a:lnTo>
                    <a:pt x="1419" y="1453"/>
                  </a:lnTo>
                  <a:lnTo>
                    <a:pt x="1415" y="1442"/>
                  </a:lnTo>
                  <a:lnTo>
                    <a:pt x="1414" y="1432"/>
                  </a:lnTo>
                  <a:lnTo>
                    <a:pt x="1415" y="1417"/>
                  </a:lnTo>
                  <a:lnTo>
                    <a:pt x="1406" y="1406"/>
                  </a:lnTo>
                  <a:lnTo>
                    <a:pt x="1399" y="1396"/>
                  </a:lnTo>
                  <a:lnTo>
                    <a:pt x="1394" y="1385"/>
                  </a:lnTo>
                  <a:lnTo>
                    <a:pt x="1390" y="1373"/>
                  </a:lnTo>
                  <a:lnTo>
                    <a:pt x="1386" y="1362"/>
                  </a:lnTo>
                  <a:lnTo>
                    <a:pt x="1382" y="1353"/>
                  </a:lnTo>
                  <a:lnTo>
                    <a:pt x="1378" y="1342"/>
                  </a:lnTo>
                  <a:lnTo>
                    <a:pt x="1371" y="1333"/>
                  </a:lnTo>
                  <a:lnTo>
                    <a:pt x="1362" y="1325"/>
                  </a:lnTo>
                  <a:lnTo>
                    <a:pt x="1350" y="1318"/>
                  </a:lnTo>
                  <a:lnTo>
                    <a:pt x="1335" y="1312"/>
                  </a:lnTo>
                  <a:lnTo>
                    <a:pt x="1316" y="1308"/>
                  </a:lnTo>
                  <a:lnTo>
                    <a:pt x="1292" y="1305"/>
                  </a:lnTo>
                  <a:lnTo>
                    <a:pt x="1263" y="1304"/>
                  </a:lnTo>
                  <a:lnTo>
                    <a:pt x="1227" y="1305"/>
                  </a:lnTo>
                  <a:lnTo>
                    <a:pt x="1186" y="1309"/>
                  </a:lnTo>
                  <a:lnTo>
                    <a:pt x="1184" y="1320"/>
                  </a:lnTo>
                  <a:lnTo>
                    <a:pt x="1182" y="1330"/>
                  </a:lnTo>
                  <a:lnTo>
                    <a:pt x="1178" y="1340"/>
                  </a:lnTo>
                  <a:lnTo>
                    <a:pt x="1174" y="1346"/>
                  </a:lnTo>
                  <a:lnTo>
                    <a:pt x="1168" y="1353"/>
                  </a:lnTo>
                  <a:lnTo>
                    <a:pt x="1162" y="1358"/>
                  </a:lnTo>
                  <a:lnTo>
                    <a:pt x="1155" y="1364"/>
                  </a:lnTo>
                  <a:lnTo>
                    <a:pt x="1147" y="1366"/>
                  </a:lnTo>
                  <a:lnTo>
                    <a:pt x="1139" y="1369"/>
                  </a:lnTo>
                  <a:lnTo>
                    <a:pt x="1130" y="1372"/>
                  </a:lnTo>
                  <a:lnTo>
                    <a:pt x="1121" y="1373"/>
                  </a:lnTo>
                  <a:lnTo>
                    <a:pt x="1111" y="1373"/>
                  </a:lnTo>
                  <a:lnTo>
                    <a:pt x="1091" y="1373"/>
                  </a:lnTo>
                  <a:lnTo>
                    <a:pt x="1070" y="1372"/>
                  </a:lnTo>
                  <a:lnTo>
                    <a:pt x="1047" y="1370"/>
                  </a:lnTo>
                  <a:lnTo>
                    <a:pt x="1026" y="1368"/>
                  </a:lnTo>
                  <a:lnTo>
                    <a:pt x="1005" y="1368"/>
                  </a:lnTo>
                  <a:lnTo>
                    <a:pt x="983" y="1368"/>
                  </a:lnTo>
                  <a:lnTo>
                    <a:pt x="974" y="1369"/>
                  </a:lnTo>
                  <a:lnTo>
                    <a:pt x="965" y="1370"/>
                  </a:lnTo>
                  <a:lnTo>
                    <a:pt x="955" y="1373"/>
                  </a:lnTo>
                  <a:lnTo>
                    <a:pt x="947" y="1376"/>
                  </a:lnTo>
                  <a:lnTo>
                    <a:pt x="939" y="1380"/>
                  </a:lnTo>
                  <a:lnTo>
                    <a:pt x="933" y="1385"/>
                  </a:lnTo>
                  <a:lnTo>
                    <a:pt x="926" y="1392"/>
                  </a:lnTo>
                  <a:lnTo>
                    <a:pt x="921" y="1398"/>
                  </a:lnTo>
                  <a:lnTo>
                    <a:pt x="918" y="1401"/>
                  </a:lnTo>
                  <a:lnTo>
                    <a:pt x="915" y="1404"/>
                  </a:lnTo>
                  <a:lnTo>
                    <a:pt x="913" y="1408"/>
                  </a:lnTo>
                  <a:lnTo>
                    <a:pt x="911" y="1410"/>
                  </a:lnTo>
                  <a:lnTo>
                    <a:pt x="910" y="1418"/>
                  </a:lnTo>
                  <a:lnTo>
                    <a:pt x="911" y="1428"/>
                  </a:lnTo>
                  <a:lnTo>
                    <a:pt x="914" y="1437"/>
                  </a:lnTo>
                  <a:lnTo>
                    <a:pt x="918" y="1448"/>
                  </a:lnTo>
                  <a:lnTo>
                    <a:pt x="925" y="1458"/>
                  </a:lnTo>
                  <a:lnTo>
                    <a:pt x="931" y="1469"/>
                  </a:lnTo>
                  <a:lnTo>
                    <a:pt x="961" y="1511"/>
                  </a:lnTo>
                  <a:lnTo>
                    <a:pt x="982" y="1543"/>
                  </a:lnTo>
                  <a:lnTo>
                    <a:pt x="986" y="1554"/>
                  </a:lnTo>
                  <a:lnTo>
                    <a:pt x="989" y="1565"/>
                  </a:lnTo>
                  <a:lnTo>
                    <a:pt x="991" y="1574"/>
                  </a:lnTo>
                  <a:lnTo>
                    <a:pt x="991" y="1582"/>
                  </a:lnTo>
                  <a:lnTo>
                    <a:pt x="991" y="1590"/>
                  </a:lnTo>
                  <a:lnTo>
                    <a:pt x="990" y="1598"/>
                  </a:lnTo>
                  <a:lnTo>
                    <a:pt x="987" y="1605"/>
                  </a:lnTo>
                  <a:lnTo>
                    <a:pt x="983" y="1610"/>
                  </a:lnTo>
                  <a:lnTo>
                    <a:pt x="979" y="1617"/>
                  </a:lnTo>
                  <a:lnTo>
                    <a:pt x="974" y="1622"/>
                  </a:lnTo>
                  <a:lnTo>
                    <a:pt x="969" y="1626"/>
                  </a:lnTo>
                  <a:lnTo>
                    <a:pt x="962" y="1630"/>
                  </a:lnTo>
                  <a:lnTo>
                    <a:pt x="946" y="1638"/>
                  </a:lnTo>
                  <a:lnTo>
                    <a:pt x="929" y="1645"/>
                  </a:lnTo>
                  <a:lnTo>
                    <a:pt x="889" y="1655"/>
                  </a:lnTo>
                  <a:lnTo>
                    <a:pt x="845" y="1665"/>
                  </a:lnTo>
                  <a:lnTo>
                    <a:pt x="822" y="1669"/>
                  </a:lnTo>
                  <a:lnTo>
                    <a:pt x="799" y="1674"/>
                  </a:lnTo>
                  <a:lnTo>
                    <a:pt x="778" y="1681"/>
                  </a:lnTo>
                  <a:lnTo>
                    <a:pt x="758" y="1687"/>
                  </a:lnTo>
                  <a:lnTo>
                    <a:pt x="742" y="1694"/>
                  </a:lnTo>
                  <a:lnTo>
                    <a:pt x="727" y="1699"/>
                  </a:lnTo>
                  <a:lnTo>
                    <a:pt x="714" y="1702"/>
                  </a:lnTo>
                  <a:lnTo>
                    <a:pt x="702" y="1705"/>
                  </a:lnTo>
                  <a:lnTo>
                    <a:pt x="691" y="1706"/>
                  </a:lnTo>
                  <a:lnTo>
                    <a:pt x="681" y="1705"/>
                  </a:lnTo>
                  <a:lnTo>
                    <a:pt x="673" y="1703"/>
                  </a:lnTo>
                  <a:lnTo>
                    <a:pt x="665" y="1702"/>
                  </a:lnTo>
                  <a:lnTo>
                    <a:pt x="658" y="1698"/>
                  </a:lnTo>
                  <a:lnTo>
                    <a:pt x="651" y="1694"/>
                  </a:lnTo>
                  <a:lnTo>
                    <a:pt x="646" y="1689"/>
                  </a:lnTo>
                  <a:lnTo>
                    <a:pt x="642" y="1683"/>
                  </a:lnTo>
                  <a:lnTo>
                    <a:pt x="635" y="1671"/>
                  </a:lnTo>
                  <a:lnTo>
                    <a:pt x="630" y="1658"/>
                  </a:lnTo>
                  <a:lnTo>
                    <a:pt x="623" y="1630"/>
                  </a:lnTo>
                  <a:lnTo>
                    <a:pt x="619" y="1607"/>
                  </a:lnTo>
                  <a:lnTo>
                    <a:pt x="617" y="1602"/>
                  </a:lnTo>
                  <a:lnTo>
                    <a:pt x="615" y="1599"/>
                  </a:lnTo>
                  <a:lnTo>
                    <a:pt x="614" y="1595"/>
                  </a:lnTo>
                  <a:lnTo>
                    <a:pt x="611" y="1594"/>
                  </a:lnTo>
                  <a:lnTo>
                    <a:pt x="609" y="1593"/>
                  </a:lnTo>
                  <a:lnTo>
                    <a:pt x="605" y="1593"/>
                  </a:lnTo>
                  <a:lnTo>
                    <a:pt x="601" y="1594"/>
                  </a:lnTo>
                  <a:lnTo>
                    <a:pt x="595" y="1597"/>
                  </a:lnTo>
                  <a:lnTo>
                    <a:pt x="403" y="1639"/>
                  </a:lnTo>
                  <a:lnTo>
                    <a:pt x="388" y="1653"/>
                  </a:lnTo>
                  <a:lnTo>
                    <a:pt x="368" y="1667"/>
                  </a:lnTo>
                  <a:lnTo>
                    <a:pt x="346" y="1683"/>
                  </a:lnTo>
                  <a:lnTo>
                    <a:pt x="324" y="1697"/>
                  </a:lnTo>
                  <a:lnTo>
                    <a:pt x="313" y="1702"/>
                  </a:lnTo>
                  <a:lnTo>
                    <a:pt x="301" y="1707"/>
                  </a:lnTo>
                  <a:lnTo>
                    <a:pt x="292" y="1710"/>
                  </a:lnTo>
                  <a:lnTo>
                    <a:pt x="281" y="1713"/>
                  </a:lnTo>
                  <a:lnTo>
                    <a:pt x="273" y="1713"/>
                  </a:lnTo>
                  <a:lnTo>
                    <a:pt x="265" y="1710"/>
                  </a:lnTo>
                  <a:lnTo>
                    <a:pt x="261" y="1709"/>
                  </a:lnTo>
                  <a:lnTo>
                    <a:pt x="258" y="1706"/>
                  </a:lnTo>
                  <a:lnTo>
                    <a:pt x="256" y="1703"/>
                  </a:lnTo>
                  <a:lnTo>
                    <a:pt x="253" y="1699"/>
                  </a:lnTo>
                  <a:lnTo>
                    <a:pt x="245" y="1687"/>
                  </a:lnTo>
                  <a:lnTo>
                    <a:pt x="240" y="1679"/>
                  </a:lnTo>
                  <a:lnTo>
                    <a:pt x="233" y="1675"/>
                  </a:lnTo>
                  <a:lnTo>
                    <a:pt x="229" y="1674"/>
                  </a:lnTo>
                  <a:lnTo>
                    <a:pt x="224" y="1675"/>
                  </a:lnTo>
                  <a:lnTo>
                    <a:pt x="218" y="1679"/>
                  </a:lnTo>
                  <a:lnTo>
                    <a:pt x="213" y="1685"/>
                  </a:lnTo>
                  <a:lnTo>
                    <a:pt x="206" y="1690"/>
                  </a:lnTo>
                  <a:lnTo>
                    <a:pt x="198" y="1698"/>
                  </a:lnTo>
                  <a:lnTo>
                    <a:pt x="190" y="1705"/>
                  </a:lnTo>
                  <a:lnTo>
                    <a:pt x="180" y="1711"/>
                  </a:lnTo>
                  <a:lnTo>
                    <a:pt x="168" y="1717"/>
                  </a:lnTo>
                  <a:lnTo>
                    <a:pt x="154" y="1721"/>
                  </a:lnTo>
                  <a:lnTo>
                    <a:pt x="137" y="1722"/>
                  </a:lnTo>
                  <a:lnTo>
                    <a:pt x="128" y="1722"/>
                  </a:lnTo>
                  <a:lnTo>
                    <a:pt x="118" y="1722"/>
                  </a:lnTo>
                  <a:lnTo>
                    <a:pt x="108" y="1721"/>
                  </a:lnTo>
                  <a:lnTo>
                    <a:pt x="96" y="1718"/>
                  </a:lnTo>
                  <a:lnTo>
                    <a:pt x="96" y="1734"/>
                  </a:lnTo>
                  <a:lnTo>
                    <a:pt x="94" y="1747"/>
                  </a:lnTo>
                  <a:lnTo>
                    <a:pt x="93" y="1757"/>
                  </a:lnTo>
                  <a:lnTo>
                    <a:pt x="90" y="1765"/>
                  </a:lnTo>
                  <a:lnTo>
                    <a:pt x="86" y="1778"/>
                  </a:lnTo>
                  <a:lnTo>
                    <a:pt x="84" y="1790"/>
                  </a:lnTo>
                  <a:lnTo>
                    <a:pt x="84" y="1799"/>
                  </a:lnTo>
                  <a:lnTo>
                    <a:pt x="81" y="1807"/>
                  </a:lnTo>
                  <a:lnTo>
                    <a:pt x="78" y="1817"/>
                  </a:lnTo>
                  <a:lnTo>
                    <a:pt x="73" y="1826"/>
                  </a:lnTo>
                  <a:lnTo>
                    <a:pt x="64" y="1847"/>
                  </a:lnTo>
                  <a:lnTo>
                    <a:pt x="54" y="1874"/>
                  </a:lnTo>
                  <a:lnTo>
                    <a:pt x="66" y="1879"/>
                  </a:lnTo>
                  <a:lnTo>
                    <a:pt x="77" y="1883"/>
                  </a:lnTo>
                  <a:lnTo>
                    <a:pt x="85" y="1889"/>
                  </a:lnTo>
                  <a:lnTo>
                    <a:pt x="92" y="1895"/>
                  </a:lnTo>
                  <a:lnTo>
                    <a:pt x="97" y="1901"/>
                  </a:lnTo>
                  <a:lnTo>
                    <a:pt x="101" y="1907"/>
                  </a:lnTo>
                  <a:lnTo>
                    <a:pt x="104" y="1914"/>
                  </a:lnTo>
                  <a:lnTo>
                    <a:pt x="106" y="1921"/>
                  </a:lnTo>
                  <a:lnTo>
                    <a:pt x="110" y="1937"/>
                  </a:lnTo>
                  <a:lnTo>
                    <a:pt x="116" y="1954"/>
                  </a:lnTo>
                  <a:lnTo>
                    <a:pt x="118" y="1963"/>
                  </a:lnTo>
                  <a:lnTo>
                    <a:pt x="121" y="1973"/>
                  </a:lnTo>
                  <a:lnTo>
                    <a:pt x="126" y="1983"/>
                  </a:lnTo>
                  <a:lnTo>
                    <a:pt x="133" y="1995"/>
                  </a:lnTo>
                  <a:lnTo>
                    <a:pt x="140" y="2007"/>
                  </a:lnTo>
                  <a:lnTo>
                    <a:pt x="146" y="2019"/>
                  </a:lnTo>
                  <a:lnTo>
                    <a:pt x="154" y="2030"/>
                  </a:lnTo>
                  <a:lnTo>
                    <a:pt x="164" y="2039"/>
                  </a:lnTo>
                  <a:lnTo>
                    <a:pt x="181" y="2057"/>
                  </a:lnTo>
                  <a:lnTo>
                    <a:pt x="200" y="2071"/>
                  </a:lnTo>
                  <a:lnTo>
                    <a:pt x="220" y="2086"/>
                  </a:lnTo>
                  <a:lnTo>
                    <a:pt x="240" y="2102"/>
                  </a:lnTo>
                  <a:lnTo>
                    <a:pt x="249" y="2110"/>
                  </a:lnTo>
                  <a:lnTo>
                    <a:pt x="258" y="2119"/>
                  </a:lnTo>
                  <a:lnTo>
                    <a:pt x="268" y="2128"/>
                  </a:lnTo>
                  <a:lnTo>
                    <a:pt x="277" y="2139"/>
                  </a:lnTo>
                  <a:lnTo>
                    <a:pt x="284" y="2147"/>
                  </a:lnTo>
                  <a:lnTo>
                    <a:pt x="288" y="2155"/>
                  </a:lnTo>
                  <a:lnTo>
                    <a:pt x="292" y="2164"/>
                  </a:lnTo>
                  <a:lnTo>
                    <a:pt x="294" y="2174"/>
                  </a:lnTo>
                  <a:lnTo>
                    <a:pt x="298" y="2192"/>
                  </a:lnTo>
                  <a:lnTo>
                    <a:pt x="300" y="2212"/>
                  </a:lnTo>
                  <a:lnTo>
                    <a:pt x="302" y="2232"/>
                  </a:lnTo>
                  <a:lnTo>
                    <a:pt x="305" y="2252"/>
                  </a:lnTo>
                  <a:lnTo>
                    <a:pt x="308" y="2262"/>
                  </a:lnTo>
                  <a:lnTo>
                    <a:pt x="310" y="2271"/>
                  </a:lnTo>
                  <a:lnTo>
                    <a:pt x="314" y="2280"/>
                  </a:lnTo>
                  <a:lnTo>
                    <a:pt x="320" y="2290"/>
                  </a:lnTo>
                  <a:lnTo>
                    <a:pt x="328" y="2298"/>
                  </a:lnTo>
                  <a:lnTo>
                    <a:pt x="338" y="2306"/>
                  </a:lnTo>
                  <a:lnTo>
                    <a:pt x="350" y="2312"/>
                  </a:lnTo>
                  <a:lnTo>
                    <a:pt x="362" y="2320"/>
                  </a:lnTo>
                  <a:lnTo>
                    <a:pt x="373" y="2328"/>
                  </a:lnTo>
                  <a:lnTo>
                    <a:pt x="382" y="2339"/>
                  </a:lnTo>
                  <a:lnTo>
                    <a:pt x="386" y="2344"/>
                  </a:lnTo>
                  <a:lnTo>
                    <a:pt x="389" y="2352"/>
                  </a:lnTo>
                  <a:lnTo>
                    <a:pt x="390" y="2359"/>
                  </a:lnTo>
                  <a:lnTo>
                    <a:pt x="392" y="2368"/>
                  </a:lnTo>
                  <a:lnTo>
                    <a:pt x="390" y="2379"/>
                  </a:lnTo>
                  <a:lnTo>
                    <a:pt x="388" y="2388"/>
                  </a:lnTo>
                  <a:lnTo>
                    <a:pt x="384" y="2398"/>
                  </a:lnTo>
                  <a:lnTo>
                    <a:pt x="378" y="2406"/>
                  </a:lnTo>
                  <a:lnTo>
                    <a:pt x="373" y="2412"/>
                  </a:lnTo>
                  <a:lnTo>
                    <a:pt x="365" y="2419"/>
                  </a:lnTo>
                  <a:lnTo>
                    <a:pt x="357" y="2424"/>
                  </a:lnTo>
                  <a:lnTo>
                    <a:pt x="349" y="2430"/>
                  </a:lnTo>
                  <a:lnTo>
                    <a:pt x="332" y="2439"/>
                  </a:lnTo>
                  <a:lnTo>
                    <a:pt x="316" y="2447"/>
                  </a:lnTo>
                  <a:lnTo>
                    <a:pt x="300" y="2456"/>
                  </a:lnTo>
                  <a:lnTo>
                    <a:pt x="289" y="2464"/>
                  </a:lnTo>
                  <a:lnTo>
                    <a:pt x="205" y="2681"/>
                  </a:lnTo>
                  <a:lnTo>
                    <a:pt x="206" y="2692"/>
                  </a:lnTo>
                  <a:lnTo>
                    <a:pt x="209" y="2701"/>
                  </a:lnTo>
                  <a:lnTo>
                    <a:pt x="214" y="2711"/>
                  </a:lnTo>
                  <a:lnTo>
                    <a:pt x="220" y="2720"/>
                  </a:lnTo>
                  <a:lnTo>
                    <a:pt x="225" y="2729"/>
                  </a:lnTo>
                  <a:lnTo>
                    <a:pt x="230" y="2739"/>
                  </a:lnTo>
                  <a:lnTo>
                    <a:pt x="233" y="2748"/>
                  </a:lnTo>
                  <a:lnTo>
                    <a:pt x="234" y="2759"/>
                  </a:lnTo>
                  <a:lnTo>
                    <a:pt x="234" y="2769"/>
                  </a:lnTo>
                  <a:lnTo>
                    <a:pt x="233" y="2777"/>
                  </a:lnTo>
                  <a:lnTo>
                    <a:pt x="229" y="2784"/>
                  </a:lnTo>
                  <a:lnTo>
                    <a:pt x="225" y="2789"/>
                  </a:lnTo>
                  <a:lnTo>
                    <a:pt x="221" y="2792"/>
                  </a:lnTo>
                  <a:lnTo>
                    <a:pt x="216" y="2795"/>
                  </a:lnTo>
                  <a:lnTo>
                    <a:pt x="209" y="2796"/>
                  </a:lnTo>
                  <a:lnTo>
                    <a:pt x="202" y="2796"/>
                  </a:lnTo>
                  <a:lnTo>
                    <a:pt x="188" y="2796"/>
                  </a:lnTo>
                  <a:lnTo>
                    <a:pt x="172" y="2796"/>
                  </a:lnTo>
                  <a:lnTo>
                    <a:pt x="162" y="2796"/>
                  </a:lnTo>
                  <a:lnTo>
                    <a:pt x="154" y="2797"/>
                  </a:lnTo>
                  <a:lnTo>
                    <a:pt x="146" y="2799"/>
                  </a:lnTo>
                  <a:lnTo>
                    <a:pt x="138" y="2801"/>
                  </a:lnTo>
                  <a:lnTo>
                    <a:pt x="132" y="2804"/>
                  </a:lnTo>
                  <a:lnTo>
                    <a:pt x="124" y="2809"/>
                  </a:lnTo>
                  <a:lnTo>
                    <a:pt x="117" y="2816"/>
                  </a:lnTo>
                  <a:lnTo>
                    <a:pt x="109" y="2824"/>
                  </a:lnTo>
                  <a:lnTo>
                    <a:pt x="93" y="2843"/>
                  </a:lnTo>
                  <a:lnTo>
                    <a:pt x="76" y="2863"/>
                  </a:lnTo>
                  <a:lnTo>
                    <a:pt x="58" y="2884"/>
                  </a:lnTo>
                  <a:lnTo>
                    <a:pt x="40" y="2905"/>
                  </a:lnTo>
                  <a:lnTo>
                    <a:pt x="29" y="2913"/>
                  </a:lnTo>
                  <a:lnTo>
                    <a:pt x="20" y="2921"/>
                  </a:lnTo>
                  <a:lnTo>
                    <a:pt x="10" y="2928"/>
                  </a:lnTo>
                  <a:lnTo>
                    <a:pt x="0" y="2933"/>
                  </a:lnTo>
                  <a:lnTo>
                    <a:pt x="17" y="2964"/>
                  </a:lnTo>
                  <a:lnTo>
                    <a:pt x="34" y="2993"/>
                  </a:lnTo>
                  <a:lnTo>
                    <a:pt x="52" y="3024"/>
                  </a:lnTo>
                  <a:lnTo>
                    <a:pt x="68" y="3056"/>
                  </a:lnTo>
                  <a:lnTo>
                    <a:pt x="84" y="3088"/>
                  </a:lnTo>
                  <a:lnTo>
                    <a:pt x="97" y="3120"/>
                  </a:lnTo>
                  <a:lnTo>
                    <a:pt x="110" y="3153"/>
                  </a:lnTo>
                  <a:lnTo>
                    <a:pt x="124" y="3187"/>
                  </a:lnTo>
                  <a:lnTo>
                    <a:pt x="134" y="3221"/>
                  </a:lnTo>
                  <a:lnTo>
                    <a:pt x="145" y="3256"/>
                  </a:lnTo>
                  <a:lnTo>
                    <a:pt x="153" y="3290"/>
                  </a:lnTo>
                  <a:lnTo>
                    <a:pt x="161" y="3326"/>
                  </a:lnTo>
                  <a:lnTo>
                    <a:pt x="166" y="3364"/>
                  </a:lnTo>
                  <a:lnTo>
                    <a:pt x="170" y="3400"/>
                  </a:lnTo>
                  <a:lnTo>
                    <a:pt x="173" y="3437"/>
                  </a:lnTo>
                  <a:lnTo>
                    <a:pt x="174" y="3476"/>
                  </a:lnTo>
                  <a:lnTo>
                    <a:pt x="173" y="3486"/>
                  </a:lnTo>
                  <a:lnTo>
                    <a:pt x="172" y="3496"/>
                  </a:lnTo>
                  <a:lnTo>
                    <a:pt x="168" y="3504"/>
                  </a:lnTo>
                  <a:lnTo>
                    <a:pt x="162" y="3510"/>
                  </a:lnTo>
                  <a:lnTo>
                    <a:pt x="149" y="3522"/>
                  </a:lnTo>
                  <a:lnTo>
                    <a:pt x="134" y="3533"/>
                  </a:lnTo>
                  <a:lnTo>
                    <a:pt x="118" y="3544"/>
                  </a:lnTo>
                  <a:lnTo>
                    <a:pt x="104" y="3556"/>
                  </a:lnTo>
                  <a:lnTo>
                    <a:pt x="97" y="3562"/>
                  </a:lnTo>
                  <a:lnTo>
                    <a:pt x="92" y="3570"/>
                  </a:lnTo>
                  <a:lnTo>
                    <a:pt x="88" y="3580"/>
                  </a:lnTo>
                  <a:lnTo>
                    <a:pt x="84" y="3590"/>
                  </a:lnTo>
                  <a:lnTo>
                    <a:pt x="113" y="3596"/>
                  </a:lnTo>
                  <a:lnTo>
                    <a:pt x="144" y="3602"/>
                  </a:lnTo>
                  <a:lnTo>
                    <a:pt x="157" y="3608"/>
                  </a:lnTo>
                  <a:lnTo>
                    <a:pt x="168" y="3614"/>
                  </a:lnTo>
                  <a:lnTo>
                    <a:pt x="173" y="3618"/>
                  </a:lnTo>
                  <a:lnTo>
                    <a:pt x="176" y="3622"/>
                  </a:lnTo>
                  <a:lnTo>
                    <a:pt x="178" y="3628"/>
                  </a:lnTo>
                  <a:lnTo>
                    <a:pt x="181" y="3633"/>
                  </a:lnTo>
                  <a:lnTo>
                    <a:pt x="182" y="3640"/>
                  </a:lnTo>
                  <a:lnTo>
                    <a:pt x="184" y="3646"/>
                  </a:lnTo>
                  <a:lnTo>
                    <a:pt x="184" y="3652"/>
                  </a:lnTo>
                  <a:lnTo>
                    <a:pt x="182" y="3658"/>
                  </a:lnTo>
                  <a:lnTo>
                    <a:pt x="181" y="3672"/>
                  </a:lnTo>
                  <a:lnTo>
                    <a:pt x="177" y="3685"/>
                  </a:lnTo>
                  <a:lnTo>
                    <a:pt x="174" y="3697"/>
                  </a:lnTo>
                  <a:lnTo>
                    <a:pt x="172" y="3712"/>
                  </a:lnTo>
                  <a:lnTo>
                    <a:pt x="172" y="3718"/>
                  </a:lnTo>
                  <a:lnTo>
                    <a:pt x="172" y="3725"/>
                  </a:lnTo>
                  <a:lnTo>
                    <a:pt x="173" y="3733"/>
                  </a:lnTo>
                  <a:lnTo>
                    <a:pt x="174" y="3741"/>
                  </a:lnTo>
                  <a:lnTo>
                    <a:pt x="178" y="3756"/>
                  </a:lnTo>
                  <a:lnTo>
                    <a:pt x="182" y="3769"/>
                  </a:lnTo>
                  <a:lnTo>
                    <a:pt x="189" y="3781"/>
                  </a:lnTo>
                  <a:lnTo>
                    <a:pt x="197" y="3794"/>
                  </a:lnTo>
                  <a:lnTo>
                    <a:pt x="216" y="3817"/>
                  </a:lnTo>
                  <a:lnTo>
                    <a:pt x="236" y="3839"/>
                  </a:lnTo>
                  <a:lnTo>
                    <a:pt x="246" y="3851"/>
                  </a:lnTo>
                  <a:lnTo>
                    <a:pt x="256" y="3862"/>
                  </a:lnTo>
                  <a:lnTo>
                    <a:pt x="265" y="3874"/>
                  </a:lnTo>
                  <a:lnTo>
                    <a:pt x="273" y="3886"/>
                  </a:lnTo>
                  <a:lnTo>
                    <a:pt x="280" y="3898"/>
                  </a:lnTo>
                  <a:lnTo>
                    <a:pt x="285" y="3911"/>
                  </a:lnTo>
                  <a:lnTo>
                    <a:pt x="288" y="3925"/>
                  </a:lnTo>
                  <a:lnTo>
                    <a:pt x="289" y="3939"/>
                  </a:lnTo>
                  <a:lnTo>
                    <a:pt x="289" y="3945"/>
                  </a:lnTo>
                  <a:lnTo>
                    <a:pt x="286" y="3950"/>
                  </a:lnTo>
                  <a:lnTo>
                    <a:pt x="284" y="3955"/>
                  </a:lnTo>
                  <a:lnTo>
                    <a:pt x="281" y="3961"/>
                  </a:lnTo>
                  <a:lnTo>
                    <a:pt x="272" y="3973"/>
                  </a:lnTo>
                  <a:lnTo>
                    <a:pt x="262" y="3985"/>
                  </a:lnTo>
                  <a:lnTo>
                    <a:pt x="252" y="3998"/>
                  </a:lnTo>
                  <a:lnTo>
                    <a:pt x="244" y="4013"/>
                  </a:lnTo>
                  <a:lnTo>
                    <a:pt x="240" y="4021"/>
                  </a:lnTo>
                  <a:lnTo>
                    <a:pt x="237" y="4029"/>
                  </a:lnTo>
                  <a:lnTo>
                    <a:pt x="236" y="4038"/>
                  </a:lnTo>
                  <a:lnTo>
                    <a:pt x="234" y="4047"/>
                  </a:lnTo>
                  <a:lnTo>
                    <a:pt x="234" y="4083"/>
                  </a:lnTo>
                  <a:lnTo>
                    <a:pt x="234" y="4103"/>
                  </a:lnTo>
                  <a:lnTo>
                    <a:pt x="234" y="4131"/>
                  </a:lnTo>
                  <a:lnTo>
                    <a:pt x="234" y="4186"/>
                  </a:lnTo>
                  <a:lnTo>
                    <a:pt x="248" y="4190"/>
                  </a:lnTo>
                  <a:lnTo>
                    <a:pt x="262" y="4191"/>
                  </a:lnTo>
                  <a:lnTo>
                    <a:pt x="276" y="4191"/>
                  </a:lnTo>
                  <a:lnTo>
                    <a:pt x="289" y="4191"/>
                  </a:lnTo>
                  <a:lnTo>
                    <a:pt x="316" y="4187"/>
                  </a:lnTo>
                  <a:lnTo>
                    <a:pt x="344" y="4186"/>
                  </a:lnTo>
                  <a:lnTo>
                    <a:pt x="352" y="4187"/>
                  </a:lnTo>
                  <a:lnTo>
                    <a:pt x="360" y="4189"/>
                  </a:lnTo>
                  <a:lnTo>
                    <a:pt x="368" y="4191"/>
                  </a:lnTo>
                  <a:lnTo>
                    <a:pt x="374" y="4194"/>
                  </a:lnTo>
                  <a:lnTo>
                    <a:pt x="392" y="4202"/>
                  </a:lnTo>
                  <a:lnTo>
                    <a:pt x="415" y="4210"/>
                  </a:lnTo>
                  <a:lnTo>
                    <a:pt x="427" y="4213"/>
                  </a:lnTo>
                  <a:lnTo>
                    <a:pt x="439" y="4214"/>
                  </a:lnTo>
                  <a:lnTo>
                    <a:pt x="451" y="4215"/>
                  </a:lnTo>
                  <a:lnTo>
                    <a:pt x="465" y="4215"/>
                  </a:lnTo>
                  <a:lnTo>
                    <a:pt x="491" y="4214"/>
                  </a:lnTo>
                  <a:lnTo>
                    <a:pt x="517" y="4214"/>
                  </a:lnTo>
                  <a:lnTo>
                    <a:pt x="527" y="4214"/>
                  </a:lnTo>
                  <a:lnTo>
                    <a:pt x="538" y="4215"/>
                  </a:lnTo>
                  <a:lnTo>
                    <a:pt x="547" y="4217"/>
                  </a:lnTo>
                  <a:lnTo>
                    <a:pt x="555" y="4221"/>
                  </a:lnTo>
                  <a:lnTo>
                    <a:pt x="562" y="4226"/>
                  </a:lnTo>
                  <a:lnTo>
                    <a:pt x="567" y="4233"/>
                  </a:lnTo>
                  <a:lnTo>
                    <a:pt x="571" y="4242"/>
                  </a:lnTo>
                  <a:lnTo>
                    <a:pt x="571" y="4253"/>
                  </a:lnTo>
                  <a:lnTo>
                    <a:pt x="571" y="4265"/>
                  </a:lnTo>
                  <a:lnTo>
                    <a:pt x="567" y="4275"/>
                  </a:lnTo>
                  <a:lnTo>
                    <a:pt x="563" y="4283"/>
                  </a:lnTo>
                  <a:lnTo>
                    <a:pt x="559" y="4291"/>
                  </a:lnTo>
                  <a:lnTo>
                    <a:pt x="554" y="4298"/>
                  </a:lnTo>
                  <a:lnTo>
                    <a:pt x="549" y="4306"/>
                  </a:lnTo>
                  <a:lnTo>
                    <a:pt x="545" y="4314"/>
                  </a:lnTo>
                  <a:lnTo>
                    <a:pt x="542" y="4325"/>
                  </a:lnTo>
                  <a:lnTo>
                    <a:pt x="571" y="4330"/>
                  </a:lnTo>
                  <a:lnTo>
                    <a:pt x="598" y="4337"/>
                  </a:lnTo>
                  <a:lnTo>
                    <a:pt x="609" y="4341"/>
                  </a:lnTo>
                  <a:lnTo>
                    <a:pt x="621" y="4345"/>
                  </a:lnTo>
                  <a:lnTo>
                    <a:pt x="630" y="4350"/>
                  </a:lnTo>
                  <a:lnTo>
                    <a:pt x="639" y="4355"/>
                  </a:lnTo>
                  <a:lnTo>
                    <a:pt x="649" y="4362"/>
                  </a:lnTo>
                  <a:lnTo>
                    <a:pt x="657" y="4369"/>
                  </a:lnTo>
                  <a:lnTo>
                    <a:pt x="663" y="4377"/>
                  </a:lnTo>
                  <a:lnTo>
                    <a:pt x="670" y="4385"/>
                  </a:lnTo>
                  <a:lnTo>
                    <a:pt x="677" y="4394"/>
                  </a:lnTo>
                  <a:lnTo>
                    <a:pt x="682" y="4405"/>
                  </a:lnTo>
                  <a:lnTo>
                    <a:pt x="687" y="4415"/>
                  </a:lnTo>
                  <a:lnTo>
                    <a:pt x="693" y="4427"/>
                  </a:lnTo>
                  <a:lnTo>
                    <a:pt x="698" y="4436"/>
                  </a:lnTo>
                  <a:lnTo>
                    <a:pt x="702" y="4444"/>
                  </a:lnTo>
                  <a:lnTo>
                    <a:pt x="705" y="4454"/>
                  </a:lnTo>
                  <a:lnTo>
                    <a:pt x="707" y="4462"/>
                  </a:lnTo>
                  <a:lnTo>
                    <a:pt x="711" y="4479"/>
                  </a:lnTo>
                  <a:lnTo>
                    <a:pt x="714" y="4496"/>
                  </a:lnTo>
                  <a:lnTo>
                    <a:pt x="715" y="4515"/>
                  </a:lnTo>
                  <a:lnTo>
                    <a:pt x="719" y="4532"/>
                  </a:lnTo>
                  <a:lnTo>
                    <a:pt x="722" y="4542"/>
                  </a:lnTo>
                  <a:lnTo>
                    <a:pt x="725" y="4552"/>
                  </a:lnTo>
                  <a:lnTo>
                    <a:pt x="729" y="4562"/>
                  </a:lnTo>
                  <a:lnTo>
                    <a:pt x="734" y="4571"/>
                  </a:lnTo>
                  <a:lnTo>
                    <a:pt x="738" y="4576"/>
                  </a:lnTo>
                  <a:lnTo>
                    <a:pt x="743" y="4582"/>
                  </a:lnTo>
                  <a:lnTo>
                    <a:pt x="750" y="4584"/>
                  </a:lnTo>
                  <a:lnTo>
                    <a:pt x="757" y="4588"/>
                  </a:lnTo>
                  <a:lnTo>
                    <a:pt x="771" y="4594"/>
                  </a:lnTo>
                  <a:lnTo>
                    <a:pt x="786" y="4599"/>
                  </a:lnTo>
                  <a:lnTo>
                    <a:pt x="794" y="4602"/>
                  </a:lnTo>
                  <a:lnTo>
                    <a:pt x="801" y="4606"/>
                  </a:lnTo>
                  <a:lnTo>
                    <a:pt x="807" y="4610"/>
                  </a:lnTo>
                  <a:lnTo>
                    <a:pt x="813" y="4614"/>
                  </a:lnTo>
                  <a:lnTo>
                    <a:pt x="818" y="4619"/>
                  </a:lnTo>
                  <a:lnTo>
                    <a:pt x="822" y="4627"/>
                  </a:lnTo>
                  <a:lnTo>
                    <a:pt x="823" y="4635"/>
                  </a:lnTo>
                  <a:lnTo>
                    <a:pt x="825" y="4644"/>
                  </a:lnTo>
                  <a:lnTo>
                    <a:pt x="825" y="4672"/>
                  </a:lnTo>
                  <a:lnTo>
                    <a:pt x="825" y="4691"/>
                  </a:lnTo>
                  <a:lnTo>
                    <a:pt x="825" y="4702"/>
                  </a:lnTo>
                  <a:lnTo>
                    <a:pt x="825" y="4710"/>
                  </a:lnTo>
                  <a:lnTo>
                    <a:pt x="826" y="4726"/>
                  </a:lnTo>
                  <a:lnTo>
                    <a:pt x="827" y="4740"/>
                  </a:lnTo>
                  <a:lnTo>
                    <a:pt x="831" y="4754"/>
                  </a:lnTo>
                  <a:lnTo>
                    <a:pt x="835" y="4767"/>
                  </a:lnTo>
                  <a:lnTo>
                    <a:pt x="842" y="4779"/>
                  </a:lnTo>
                  <a:lnTo>
                    <a:pt x="849" y="4791"/>
                  </a:lnTo>
                  <a:lnTo>
                    <a:pt x="857" y="4803"/>
                  </a:lnTo>
                  <a:lnTo>
                    <a:pt x="866" y="4814"/>
                  </a:lnTo>
                  <a:lnTo>
                    <a:pt x="877" y="4823"/>
                  </a:lnTo>
                  <a:lnTo>
                    <a:pt x="889" y="4834"/>
                  </a:lnTo>
                  <a:lnTo>
                    <a:pt x="901" y="4843"/>
                  </a:lnTo>
                  <a:lnTo>
                    <a:pt x="914" y="4851"/>
                  </a:lnTo>
                  <a:lnTo>
                    <a:pt x="943" y="4868"/>
                  </a:lnTo>
                  <a:lnTo>
                    <a:pt x="975" y="4884"/>
                  </a:lnTo>
                  <a:lnTo>
                    <a:pt x="973" y="4902"/>
                  </a:lnTo>
                  <a:lnTo>
                    <a:pt x="969" y="4918"/>
                  </a:lnTo>
                  <a:lnTo>
                    <a:pt x="963" y="4934"/>
                  </a:lnTo>
                  <a:lnTo>
                    <a:pt x="958" y="4948"/>
                  </a:lnTo>
                  <a:lnTo>
                    <a:pt x="953" y="4964"/>
                  </a:lnTo>
                  <a:lnTo>
                    <a:pt x="949" y="4980"/>
                  </a:lnTo>
                  <a:lnTo>
                    <a:pt x="946" y="4998"/>
                  </a:lnTo>
                  <a:lnTo>
                    <a:pt x="945" y="5017"/>
                  </a:lnTo>
                  <a:lnTo>
                    <a:pt x="945" y="5059"/>
                  </a:lnTo>
                  <a:lnTo>
                    <a:pt x="945" y="5096"/>
                  </a:lnTo>
                  <a:lnTo>
                    <a:pt x="945" y="5129"/>
                  </a:lnTo>
                  <a:lnTo>
                    <a:pt x="945" y="5161"/>
                  </a:lnTo>
                  <a:lnTo>
                    <a:pt x="945" y="5192"/>
                  </a:lnTo>
                  <a:lnTo>
                    <a:pt x="945" y="5224"/>
                  </a:lnTo>
                  <a:lnTo>
                    <a:pt x="945" y="5260"/>
                  </a:lnTo>
                  <a:lnTo>
                    <a:pt x="945" y="5300"/>
                  </a:lnTo>
                  <a:lnTo>
                    <a:pt x="946" y="5316"/>
                  </a:lnTo>
                  <a:lnTo>
                    <a:pt x="946" y="5333"/>
                  </a:lnTo>
                  <a:lnTo>
                    <a:pt x="947" y="5341"/>
                  </a:lnTo>
                  <a:lnTo>
                    <a:pt x="949" y="5349"/>
                  </a:lnTo>
                  <a:lnTo>
                    <a:pt x="951" y="5357"/>
                  </a:lnTo>
                  <a:lnTo>
                    <a:pt x="954" y="5364"/>
                  </a:lnTo>
                  <a:lnTo>
                    <a:pt x="958" y="5371"/>
                  </a:lnTo>
                  <a:lnTo>
                    <a:pt x="963" y="5377"/>
                  </a:lnTo>
                  <a:lnTo>
                    <a:pt x="969" y="5383"/>
                  </a:lnTo>
                  <a:lnTo>
                    <a:pt x="975" y="5388"/>
                  </a:lnTo>
                  <a:lnTo>
                    <a:pt x="985" y="5391"/>
                  </a:lnTo>
                  <a:lnTo>
                    <a:pt x="994" y="5395"/>
                  </a:lnTo>
                  <a:lnTo>
                    <a:pt x="1005" y="5396"/>
                  </a:lnTo>
                  <a:lnTo>
                    <a:pt x="1018" y="5396"/>
                  </a:lnTo>
                  <a:lnTo>
                    <a:pt x="1029" y="5396"/>
                  </a:lnTo>
                  <a:lnTo>
                    <a:pt x="1041" y="5395"/>
                  </a:lnTo>
                  <a:lnTo>
                    <a:pt x="1051" y="5392"/>
                  </a:lnTo>
                  <a:lnTo>
                    <a:pt x="1061" y="5389"/>
                  </a:lnTo>
                  <a:lnTo>
                    <a:pt x="1071" y="5385"/>
                  </a:lnTo>
                  <a:lnTo>
                    <a:pt x="1081" y="5380"/>
                  </a:lnTo>
                  <a:lnTo>
                    <a:pt x="1089" y="5375"/>
                  </a:lnTo>
                  <a:lnTo>
                    <a:pt x="1098" y="5369"/>
                  </a:lnTo>
                  <a:lnTo>
                    <a:pt x="1114" y="5356"/>
                  </a:lnTo>
                  <a:lnTo>
                    <a:pt x="1130" y="5341"/>
                  </a:lnTo>
                  <a:lnTo>
                    <a:pt x="1145" y="5325"/>
                  </a:lnTo>
                  <a:lnTo>
                    <a:pt x="1159" y="5309"/>
                  </a:lnTo>
                  <a:lnTo>
                    <a:pt x="1172" y="5293"/>
                  </a:lnTo>
                  <a:lnTo>
                    <a:pt x="1187" y="5277"/>
                  </a:lnTo>
                  <a:lnTo>
                    <a:pt x="1200" y="5263"/>
                  </a:lnTo>
                  <a:lnTo>
                    <a:pt x="1215" y="5249"/>
                  </a:lnTo>
                  <a:lnTo>
                    <a:pt x="1231" y="5237"/>
                  </a:lnTo>
                  <a:lnTo>
                    <a:pt x="1247" y="5229"/>
                  </a:lnTo>
                  <a:lnTo>
                    <a:pt x="1255" y="5227"/>
                  </a:lnTo>
                  <a:lnTo>
                    <a:pt x="1264" y="5224"/>
                  </a:lnTo>
                  <a:lnTo>
                    <a:pt x="1272" y="5223"/>
                  </a:lnTo>
                  <a:lnTo>
                    <a:pt x="1282" y="5221"/>
                  </a:lnTo>
                  <a:lnTo>
                    <a:pt x="1288" y="5223"/>
                  </a:lnTo>
                  <a:lnTo>
                    <a:pt x="1292" y="5224"/>
                  </a:lnTo>
                  <a:lnTo>
                    <a:pt x="1298" y="5228"/>
                  </a:lnTo>
                  <a:lnTo>
                    <a:pt x="1303" y="5232"/>
                  </a:lnTo>
                  <a:lnTo>
                    <a:pt x="1312" y="5243"/>
                  </a:lnTo>
                  <a:lnTo>
                    <a:pt x="1322" y="5255"/>
                  </a:lnTo>
                  <a:lnTo>
                    <a:pt x="1332" y="5267"/>
                  </a:lnTo>
                  <a:lnTo>
                    <a:pt x="1344" y="5277"/>
                  </a:lnTo>
                  <a:lnTo>
                    <a:pt x="1352" y="5281"/>
                  </a:lnTo>
                  <a:lnTo>
                    <a:pt x="1360" y="5285"/>
                  </a:lnTo>
                  <a:lnTo>
                    <a:pt x="1368" y="5287"/>
                  </a:lnTo>
                  <a:lnTo>
                    <a:pt x="1379" y="5288"/>
                  </a:lnTo>
                  <a:lnTo>
                    <a:pt x="1382" y="5273"/>
                  </a:lnTo>
                  <a:lnTo>
                    <a:pt x="1386" y="5259"/>
                  </a:lnTo>
                  <a:lnTo>
                    <a:pt x="1391" y="5244"/>
                  </a:lnTo>
                  <a:lnTo>
                    <a:pt x="1398" y="5231"/>
                  </a:lnTo>
                  <a:lnTo>
                    <a:pt x="1414" y="5207"/>
                  </a:lnTo>
                  <a:lnTo>
                    <a:pt x="1431" y="5181"/>
                  </a:lnTo>
                  <a:lnTo>
                    <a:pt x="1450" y="5157"/>
                  </a:lnTo>
                  <a:lnTo>
                    <a:pt x="1467" y="5131"/>
                  </a:lnTo>
                  <a:lnTo>
                    <a:pt x="1475" y="5117"/>
                  </a:lnTo>
                  <a:lnTo>
                    <a:pt x="1482" y="5103"/>
                  </a:lnTo>
                  <a:lnTo>
                    <a:pt x="1488" y="5088"/>
                  </a:lnTo>
                  <a:lnTo>
                    <a:pt x="1494" y="5071"/>
                  </a:lnTo>
                  <a:lnTo>
                    <a:pt x="1500" y="5041"/>
                  </a:lnTo>
                  <a:lnTo>
                    <a:pt x="1506" y="5013"/>
                  </a:lnTo>
                  <a:lnTo>
                    <a:pt x="1508" y="4987"/>
                  </a:lnTo>
                  <a:lnTo>
                    <a:pt x="1512" y="4963"/>
                  </a:lnTo>
                  <a:lnTo>
                    <a:pt x="1515" y="4939"/>
                  </a:lnTo>
                  <a:lnTo>
                    <a:pt x="1518" y="4918"/>
                  </a:lnTo>
                  <a:lnTo>
                    <a:pt x="1522" y="4899"/>
                  </a:lnTo>
                  <a:lnTo>
                    <a:pt x="1527" y="4880"/>
                  </a:lnTo>
                  <a:lnTo>
                    <a:pt x="1530" y="4872"/>
                  </a:lnTo>
                  <a:lnTo>
                    <a:pt x="1534" y="4866"/>
                  </a:lnTo>
                  <a:lnTo>
                    <a:pt x="1538" y="4858"/>
                  </a:lnTo>
                  <a:lnTo>
                    <a:pt x="1543" y="4851"/>
                  </a:lnTo>
                  <a:lnTo>
                    <a:pt x="1548" y="4846"/>
                  </a:lnTo>
                  <a:lnTo>
                    <a:pt x="1555" y="4840"/>
                  </a:lnTo>
                  <a:lnTo>
                    <a:pt x="1562" y="4835"/>
                  </a:lnTo>
                  <a:lnTo>
                    <a:pt x="1570" y="4830"/>
                  </a:lnTo>
                  <a:lnTo>
                    <a:pt x="1579" y="4826"/>
                  </a:lnTo>
                  <a:lnTo>
                    <a:pt x="1590" y="4823"/>
                  </a:lnTo>
                  <a:lnTo>
                    <a:pt x="1600" y="4819"/>
                  </a:lnTo>
                  <a:lnTo>
                    <a:pt x="1612" y="4816"/>
                  </a:lnTo>
                  <a:lnTo>
                    <a:pt x="1640" y="4814"/>
                  </a:lnTo>
                  <a:lnTo>
                    <a:pt x="1674" y="4812"/>
                  </a:lnTo>
                  <a:lnTo>
                    <a:pt x="1686" y="4812"/>
                  </a:lnTo>
                  <a:lnTo>
                    <a:pt x="1696" y="4814"/>
                  </a:lnTo>
                  <a:lnTo>
                    <a:pt x="1707" y="4816"/>
                  </a:lnTo>
                  <a:lnTo>
                    <a:pt x="1716" y="4819"/>
                  </a:lnTo>
                  <a:lnTo>
                    <a:pt x="1724" y="4823"/>
                  </a:lnTo>
                  <a:lnTo>
                    <a:pt x="1732" y="4827"/>
                  </a:lnTo>
                  <a:lnTo>
                    <a:pt x="1740" y="4832"/>
                  </a:lnTo>
                  <a:lnTo>
                    <a:pt x="1747" y="4838"/>
                  </a:lnTo>
                  <a:lnTo>
                    <a:pt x="1759" y="4850"/>
                  </a:lnTo>
                  <a:lnTo>
                    <a:pt x="1768" y="4864"/>
                  </a:lnTo>
                  <a:lnTo>
                    <a:pt x="1778" y="4879"/>
                  </a:lnTo>
                  <a:lnTo>
                    <a:pt x="1786" y="4894"/>
                  </a:lnTo>
                  <a:lnTo>
                    <a:pt x="1794" y="4908"/>
                  </a:lnTo>
                  <a:lnTo>
                    <a:pt x="1803" y="4923"/>
                  </a:lnTo>
                  <a:lnTo>
                    <a:pt x="1812" y="4938"/>
                  </a:lnTo>
                  <a:lnTo>
                    <a:pt x="1822" y="4950"/>
                  </a:lnTo>
                  <a:lnTo>
                    <a:pt x="1828" y="4955"/>
                  </a:lnTo>
                  <a:lnTo>
                    <a:pt x="1834" y="4960"/>
                  </a:lnTo>
                  <a:lnTo>
                    <a:pt x="1840" y="4964"/>
                  </a:lnTo>
                  <a:lnTo>
                    <a:pt x="1848" y="4968"/>
                  </a:lnTo>
                  <a:lnTo>
                    <a:pt x="1856" y="4971"/>
                  </a:lnTo>
                  <a:lnTo>
                    <a:pt x="1864" y="4974"/>
                  </a:lnTo>
                  <a:lnTo>
                    <a:pt x="1875" y="4975"/>
                  </a:lnTo>
                  <a:lnTo>
                    <a:pt x="1884" y="4975"/>
                  </a:lnTo>
                  <a:lnTo>
                    <a:pt x="1899" y="4974"/>
                  </a:lnTo>
                  <a:lnTo>
                    <a:pt x="1910" y="4972"/>
                  </a:lnTo>
                  <a:lnTo>
                    <a:pt x="1919" y="4967"/>
                  </a:lnTo>
                  <a:lnTo>
                    <a:pt x="1925" y="4962"/>
                  </a:lnTo>
                  <a:lnTo>
                    <a:pt x="1929" y="4954"/>
                  </a:lnTo>
                  <a:lnTo>
                    <a:pt x="1933" y="4944"/>
                  </a:lnTo>
                  <a:lnTo>
                    <a:pt x="1936" y="4934"/>
                  </a:lnTo>
                  <a:lnTo>
                    <a:pt x="1939" y="4920"/>
                  </a:lnTo>
                  <a:lnTo>
                    <a:pt x="1999" y="4920"/>
                  </a:lnTo>
                  <a:lnTo>
                    <a:pt x="2007" y="4927"/>
                  </a:lnTo>
                  <a:lnTo>
                    <a:pt x="2012" y="4932"/>
                  </a:lnTo>
                  <a:lnTo>
                    <a:pt x="2017" y="4939"/>
                  </a:lnTo>
                  <a:lnTo>
                    <a:pt x="2023" y="4944"/>
                  </a:lnTo>
                  <a:lnTo>
                    <a:pt x="2029" y="4958"/>
                  </a:lnTo>
                  <a:lnTo>
                    <a:pt x="2035" y="4972"/>
                  </a:lnTo>
                  <a:lnTo>
                    <a:pt x="2043" y="5004"/>
                  </a:lnTo>
                  <a:lnTo>
                    <a:pt x="2053" y="5041"/>
                  </a:lnTo>
                  <a:lnTo>
                    <a:pt x="2057" y="5049"/>
                  </a:lnTo>
                  <a:lnTo>
                    <a:pt x="2063" y="5056"/>
                  </a:lnTo>
                  <a:lnTo>
                    <a:pt x="2069" y="5064"/>
                  </a:lnTo>
                  <a:lnTo>
                    <a:pt x="2076" y="5072"/>
                  </a:lnTo>
                  <a:lnTo>
                    <a:pt x="2093" y="5085"/>
                  </a:lnTo>
                  <a:lnTo>
                    <a:pt x="2112" y="5100"/>
                  </a:lnTo>
                  <a:lnTo>
                    <a:pt x="2131" y="5113"/>
                  </a:lnTo>
                  <a:lnTo>
                    <a:pt x="2149" y="5125"/>
                  </a:lnTo>
                  <a:lnTo>
                    <a:pt x="2167" y="5137"/>
                  </a:lnTo>
                  <a:lnTo>
                    <a:pt x="2180" y="5149"/>
                  </a:lnTo>
                  <a:lnTo>
                    <a:pt x="2188" y="5157"/>
                  </a:lnTo>
                  <a:lnTo>
                    <a:pt x="2196" y="5167"/>
                  </a:lnTo>
                  <a:lnTo>
                    <a:pt x="2204" y="5176"/>
                  </a:lnTo>
                  <a:lnTo>
                    <a:pt x="2211" y="5185"/>
                  </a:lnTo>
                  <a:lnTo>
                    <a:pt x="2224" y="5205"/>
                  </a:lnTo>
                  <a:lnTo>
                    <a:pt x="2236" y="5228"/>
                  </a:lnTo>
                  <a:lnTo>
                    <a:pt x="2259" y="5272"/>
                  </a:lnTo>
                  <a:lnTo>
                    <a:pt x="2280" y="5316"/>
                  </a:lnTo>
                  <a:lnTo>
                    <a:pt x="2293" y="5337"/>
                  </a:lnTo>
                  <a:lnTo>
                    <a:pt x="2307" y="5357"/>
                  </a:lnTo>
                  <a:lnTo>
                    <a:pt x="2315" y="5367"/>
                  </a:lnTo>
                  <a:lnTo>
                    <a:pt x="2323" y="5375"/>
                  </a:lnTo>
                  <a:lnTo>
                    <a:pt x="2331" y="5383"/>
                  </a:lnTo>
                  <a:lnTo>
                    <a:pt x="2340" y="5391"/>
                  </a:lnTo>
                  <a:lnTo>
                    <a:pt x="2351" y="5397"/>
                  </a:lnTo>
                  <a:lnTo>
                    <a:pt x="2361" y="5403"/>
                  </a:lnTo>
                  <a:lnTo>
                    <a:pt x="2373" y="5408"/>
                  </a:lnTo>
                  <a:lnTo>
                    <a:pt x="2385" y="5412"/>
                  </a:lnTo>
                  <a:lnTo>
                    <a:pt x="2399" y="5416"/>
                  </a:lnTo>
                  <a:lnTo>
                    <a:pt x="2413" y="5419"/>
                  </a:lnTo>
                  <a:lnTo>
                    <a:pt x="2428" y="5420"/>
                  </a:lnTo>
                  <a:lnTo>
                    <a:pt x="2444" y="5420"/>
                  </a:lnTo>
                  <a:lnTo>
                    <a:pt x="2455" y="5407"/>
                  </a:lnTo>
                  <a:lnTo>
                    <a:pt x="2465" y="5393"/>
                  </a:lnTo>
                  <a:lnTo>
                    <a:pt x="2477" y="5380"/>
                  </a:lnTo>
                  <a:lnTo>
                    <a:pt x="2492" y="5368"/>
                  </a:lnTo>
                  <a:lnTo>
                    <a:pt x="2500" y="5363"/>
                  </a:lnTo>
                  <a:lnTo>
                    <a:pt x="2508" y="5357"/>
                  </a:lnTo>
                  <a:lnTo>
                    <a:pt x="2517" y="5353"/>
                  </a:lnTo>
                  <a:lnTo>
                    <a:pt x="2527" y="5349"/>
                  </a:lnTo>
                  <a:lnTo>
                    <a:pt x="2537" y="5347"/>
                  </a:lnTo>
                  <a:lnTo>
                    <a:pt x="2548" y="5344"/>
                  </a:lnTo>
                  <a:lnTo>
                    <a:pt x="2559" y="5343"/>
                  </a:lnTo>
                  <a:lnTo>
                    <a:pt x="2571" y="5343"/>
                  </a:lnTo>
                  <a:lnTo>
                    <a:pt x="2615" y="5343"/>
                  </a:lnTo>
                  <a:lnTo>
                    <a:pt x="2649" y="5343"/>
                  </a:lnTo>
                  <a:lnTo>
                    <a:pt x="2676" y="5343"/>
                  </a:lnTo>
                  <a:lnTo>
                    <a:pt x="2700" y="5343"/>
                  </a:lnTo>
                  <a:lnTo>
                    <a:pt x="2721" y="5343"/>
                  </a:lnTo>
                  <a:lnTo>
                    <a:pt x="2745" y="5343"/>
                  </a:lnTo>
                  <a:lnTo>
                    <a:pt x="2772" y="5343"/>
                  </a:lnTo>
                  <a:lnTo>
                    <a:pt x="2806" y="5343"/>
                  </a:lnTo>
                  <a:lnTo>
                    <a:pt x="2821" y="5341"/>
                  </a:lnTo>
                  <a:lnTo>
                    <a:pt x="2837" y="5337"/>
                  </a:lnTo>
                  <a:lnTo>
                    <a:pt x="2852" y="5333"/>
                  </a:lnTo>
                  <a:lnTo>
                    <a:pt x="2868" y="5327"/>
                  </a:lnTo>
                  <a:lnTo>
                    <a:pt x="2884" y="5321"/>
                  </a:lnTo>
                  <a:lnTo>
                    <a:pt x="2901" y="5317"/>
                  </a:lnTo>
                  <a:lnTo>
                    <a:pt x="2918" y="5313"/>
                  </a:lnTo>
                  <a:lnTo>
                    <a:pt x="2938" y="5312"/>
                  </a:lnTo>
                  <a:lnTo>
                    <a:pt x="2949" y="5313"/>
                  </a:lnTo>
                  <a:lnTo>
                    <a:pt x="2960" y="5315"/>
                  </a:lnTo>
                  <a:lnTo>
                    <a:pt x="2968" y="5319"/>
                  </a:lnTo>
                  <a:lnTo>
                    <a:pt x="2977" y="5323"/>
                  </a:lnTo>
                  <a:lnTo>
                    <a:pt x="2993" y="5333"/>
                  </a:lnTo>
                  <a:lnTo>
                    <a:pt x="3009" y="5345"/>
                  </a:lnTo>
                  <a:lnTo>
                    <a:pt x="3025" y="5357"/>
                  </a:lnTo>
                  <a:lnTo>
                    <a:pt x="3044" y="5368"/>
                  </a:lnTo>
                  <a:lnTo>
                    <a:pt x="3053" y="5372"/>
                  </a:lnTo>
                  <a:lnTo>
                    <a:pt x="3064" y="5376"/>
                  </a:lnTo>
                  <a:lnTo>
                    <a:pt x="3076" y="5377"/>
                  </a:lnTo>
                  <a:lnTo>
                    <a:pt x="3089" y="5379"/>
                  </a:lnTo>
                  <a:lnTo>
                    <a:pt x="3104" y="5377"/>
                  </a:lnTo>
                  <a:lnTo>
                    <a:pt x="3117" y="5376"/>
                  </a:lnTo>
                  <a:lnTo>
                    <a:pt x="3129" y="5373"/>
                  </a:lnTo>
                  <a:lnTo>
                    <a:pt x="3142" y="5369"/>
                  </a:lnTo>
                  <a:lnTo>
                    <a:pt x="3166" y="5361"/>
                  </a:lnTo>
                  <a:lnTo>
                    <a:pt x="3190" y="5351"/>
                  </a:lnTo>
                  <a:lnTo>
                    <a:pt x="3214" y="5341"/>
                  </a:lnTo>
                  <a:lnTo>
                    <a:pt x="3240" y="5332"/>
                  </a:lnTo>
                  <a:lnTo>
                    <a:pt x="3253" y="5329"/>
                  </a:lnTo>
                  <a:lnTo>
                    <a:pt x="3268" y="5327"/>
                  </a:lnTo>
                  <a:lnTo>
                    <a:pt x="3284" y="5325"/>
                  </a:lnTo>
                  <a:lnTo>
                    <a:pt x="3300" y="5324"/>
                  </a:lnTo>
                  <a:lnTo>
                    <a:pt x="3314" y="5324"/>
                  </a:lnTo>
                  <a:lnTo>
                    <a:pt x="3329" y="5321"/>
                  </a:lnTo>
                  <a:lnTo>
                    <a:pt x="3342" y="5317"/>
                  </a:lnTo>
                  <a:lnTo>
                    <a:pt x="3356" y="5313"/>
                  </a:lnTo>
                  <a:lnTo>
                    <a:pt x="3368" y="5308"/>
                  </a:lnTo>
                  <a:lnTo>
                    <a:pt x="3378" y="5301"/>
                  </a:lnTo>
                  <a:lnTo>
                    <a:pt x="3390" y="5293"/>
                  </a:lnTo>
                  <a:lnTo>
                    <a:pt x="3400" y="5285"/>
                  </a:lnTo>
                  <a:lnTo>
                    <a:pt x="3436" y="5251"/>
                  </a:lnTo>
                  <a:lnTo>
                    <a:pt x="3469" y="5216"/>
                  </a:lnTo>
                  <a:lnTo>
                    <a:pt x="3474" y="5211"/>
                  </a:lnTo>
                  <a:lnTo>
                    <a:pt x="3481" y="5207"/>
                  </a:lnTo>
                  <a:lnTo>
                    <a:pt x="3489" y="5203"/>
                  </a:lnTo>
                  <a:lnTo>
                    <a:pt x="3497" y="5200"/>
                  </a:lnTo>
                  <a:lnTo>
                    <a:pt x="3515" y="5195"/>
                  </a:lnTo>
                  <a:lnTo>
                    <a:pt x="3535" y="5192"/>
                  </a:lnTo>
                  <a:lnTo>
                    <a:pt x="3555" y="5188"/>
                  </a:lnTo>
                  <a:lnTo>
                    <a:pt x="3574" y="5184"/>
                  </a:lnTo>
                  <a:lnTo>
                    <a:pt x="3583" y="5180"/>
                  </a:lnTo>
                  <a:lnTo>
                    <a:pt x="3591" y="5177"/>
                  </a:lnTo>
                  <a:lnTo>
                    <a:pt x="3599" y="5173"/>
                  </a:lnTo>
                  <a:lnTo>
                    <a:pt x="3606" y="5168"/>
                  </a:lnTo>
                  <a:lnTo>
                    <a:pt x="3625" y="5155"/>
                  </a:lnTo>
                  <a:lnTo>
                    <a:pt x="3641" y="5141"/>
                  </a:lnTo>
                  <a:lnTo>
                    <a:pt x="3655" y="5128"/>
                  </a:lnTo>
                  <a:lnTo>
                    <a:pt x="3670" y="5113"/>
                  </a:lnTo>
                  <a:lnTo>
                    <a:pt x="3694" y="5085"/>
                  </a:lnTo>
                  <a:lnTo>
                    <a:pt x="3717" y="5056"/>
                  </a:lnTo>
                  <a:lnTo>
                    <a:pt x="3727" y="5043"/>
                  </a:lnTo>
                  <a:lnTo>
                    <a:pt x="3739" y="5028"/>
                  </a:lnTo>
                  <a:lnTo>
                    <a:pt x="3753" y="5016"/>
                  </a:lnTo>
                  <a:lnTo>
                    <a:pt x="3766" y="5003"/>
                  </a:lnTo>
                  <a:lnTo>
                    <a:pt x="3781" y="4992"/>
                  </a:lnTo>
                  <a:lnTo>
                    <a:pt x="3797" y="4982"/>
                  </a:lnTo>
                  <a:lnTo>
                    <a:pt x="3815" y="4971"/>
                  </a:lnTo>
                  <a:lnTo>
                    <a:pt x="3835" y="4963"/>
                  </a:lnTo>
                  <a:lnTo>
                    <a:pt x="3831" y="4930"/>
                  </a:lnTo>
                  <a:lnTo>
                    <a:pt x="3827" y="4896"/>
                  </a:lnTo>
                  <a:lnTo>
                    <a:pt x="3825" y="4864"/>
                  </a:lnTo>
                  <a:lnTo>
                    <a:pt x="3822" y="4834"/>
                  </a:lnTo>
                  <a:lnTo>
                    <a:pt x="3819" y="4803"/>
                  </a:lnTo>
                  <a:lnTo>
                    <a:pt x="3818" y="4775"/>
                  </a:lnTo>
                  <a:lnTo>
                    <a:pt x="3818" y="4748"/>
                  </a:lnTo>
                  <a:lnTo>
                    <a:pt x="3818" y="4722"/>
                  </a:lnTo>
                  <a:lnTo>
                    <a:pt x="3817" y="4715"/>
                  </a:lnTo>
                  <a:lnTo>
                    <a:pt x="3815" y="4707"/>
                  </a:lnTo>
                  <a:lnTo>
                    <a:pt x="3814" y="4702"/>
                  </a:lnTo>
                  <a:lnTo>
                    <a:pt x="3811" y="4695"/>
                  </a:lnTo>
                  <a:lnTo>
                    <a:pt x="3807" y="4690"/>
                  </a:lnTo>
                  <a:lnTo>
                    <a:pt x="3805" y="4686"/>
                  </a:lnTo>
                  <a:lnTo>
                    <a:pt x="3799" y="4682"/>
                  </a:lnTo>
                  <a:lnTo>
                    <a:pt x="3795" y="4678"/>
                  </a:lnTo>
                  <a:lnTo>
                    <a:pt x="3783" y="4671"/>
                  </a:lnTo>
                  <a:lnTo>
                    <a:pt x="3771" y="4666"/>
                  </a:lnTo>
                  <a:lnTo>
                    <a:pt x="3758" y="4660"/>
                  </a:lnTo>
                  <a:lnTo>
                    <a:pt x="3745" y="4656"/>
                  </a:lnTo>
                  <a:lnTo>
                    <a:pt x="3718" y="4650"/>
                  </a:lnTo>
                  <a:lnTo>
                    <a:pt x="3695" y="4642"/>
                  </a:lnTo>
                  <a:lnTo>
                    <a:pt x="3686" y="4636"/>
                  </a:lnTo>
                  <a:lnTo>
                    <a:pt x="3679" y="4631"/>
                  </a:lnTo>
                  <a:lnTo>
                    <a:pt x="3677" y="4627"/>
                  </a:lnTo>
                  <a:lnTo>
                    <a:pt x="3674" y="4623"/>
                  </a:lnTo>
                  <a:lnTo>
                    <a:pt x="3673" y="4619"/>
                  </a:lnTo>
                  <a:lnTo>
                    <a:pt x="3673" y="4614"/>
                  </a:lnTo>
                  <a:lnTo>
                    <a:pt x="3674" y="4606"/>
                  </a:lnTo>
                  <a:lnTo>
                    <a:pt x="3675" y="4598"/>
                  </a:lnTo>
                  <a:lnTo>
                    <a:pt x="3679" y="4591"/>
                  </a:lnTo>
                  <a:lnTo>
                    <a:pt x="3683" y="4584"/>
                  </a:lnTo>
                  <a:lnTo>
                    <a:pt x="3693" y="4572"/>
                  </a:lnTo>
                  <a:lnTo>
                    <a:pt x="3703" y="4559"/>
                  </a:lnTo>
                  <a:lnTo>
                    <a:pt x="3703" y="4470"/>
                  </a:lnTo>
                  <a:lnTo>
                    <a:pt x="3658" y="4462"/>
                  </a:lnTo>
                  <a:lnTo>
                    <a:pt x="3626" y="4455"/>
                  </a:lnTo>
                  <a:lnTo>
                    <a:pt x="3613" y="4450"/>
                  </a:lnTo>
                  <a:lnTo>
                    <a:pt x="3601" y="4442"/>
                  </a:lnTo>
                  <a:lnTo>
                    <a:pt x="3589" y="4431"/>
                  </a:lnTo>
                  <a:lnTo>
                    <a:pt x="3577" y="4415"/>
                  </a:lnTo>
                  <a:lnTo>
                    <a:pt x="3594" y="4402"/>
                  </a:lnTo>
                  <a:lnTo>
                    <a:pt x="3614" y="4386"/>
                  </a:lnTo>
                  <a:lnTo>
                    <a:pt x="3622" y="4377"/>
                  </a:lnTo>
                  <a:lnTo>
                    <a:pt x="3630" y="4367"/>
                  </a:lnTo>
                  <a:lnTo>
                    <a:pt x="3633" y="4362"/>
                  </a:lnTo>
                  <a:lnTo>
                    <a:pt x="3635" y="4355"/>
                  </a:lnTo>
                  <a:lnTo>
                    <a:pt x="3637" y="4350"/>
                  </a:lnTo>
                  <a:lnTo>
                    <a:pt x="3637" y="4343"/>
                  </a:lnTo>
                  <a:lnTo>
                    <a:pt x="3635" y="4321"/>
                  </a:lnTo>
                  <a:lnTo>
                    <a:pt x="3631" y="4299"/>
                  </a:lnTo>
                  <a:lnTo>
                    <a:pt x="3627" y="4278"/>
                  </a:lnTo>
                  <a:lnTo>
                    <a:pt x="3622" y="4258"/>
                  </a:lnTo>
                  <a:lnTo>
                    <a:pt x="3617" y="4237"/>
                  </a:lnTo>
                  <a:lnTo>
                    <a:pt x="3611" y="4215"/>
                  </a:lnTo>
                  <a:lnTo>
                    <a:pt x="3607" y="4193"/>
                  </a:lnTo>
                  <a:lnTo>
                    <a:pt x="3606" y="4169"/>
                  </a:lnTo>
                  <a:lnTo>
                    <a:pt x="3607" y="4149"/>
                  </a:lnTo>
                  <a:lnTo>
                    <a:pt x="3609" y="4131"/>
                  </a:lnTo>
                  <a:lnTo>
                    <a:pt x="3611" y="4115"/>
                  </a:lnTo>
                  <a:lnTo>
                    <a:pt x="3615" y="4101"/>
                  </a:lnTo>
                  <a:lnTo>
                    <a:pt x="3619" y="4087"/>
                  </a:lnTo>
                  <a:lnTo>
                    <a:pt x="3625" y="4075"/>
                  </a:lnTo>
                  <a:lnTo>
                    <a:pt x="3631" y="4063"/>
                  </a:lnTo>
                  <a:lnTo>
                    <a:pt x="3638" y="4054"/>
                  </a:lnTo>
                  <a:lnTo>
                    <a:pt x="3645" y="4045"/>
                  </a:lnTo>
                  <a:lnTo>
                    <a:pt x="3653" y="4037"/>
                  </a:lnTo>
                  <a:lnTo>
                    <a:pt x="3661" y="4030"/>
                  </a:lnTo>
                  <a:lnTo>
                    <a:pt x="3670" y="4023"/>
                  </a:lnTo>
                  <a:lnTo>
                    <a:pt x="3687" y="4011"/>
                  </a:lnTo>
                  <a:lnTo>
                    <a:pt x="3706" y="4001"/>
                  </a:lnTo>
                  <a:lnTo>
                    <a:pt x="3725" y="3991"/>
                  </a:lnTo>
                  <a:lnTo>
                    <a:pt x="3742" y="3981"/>
                  </a:lnTo>
                  <a:lnTo>
                    <a:pt x="3751" y="3975"/>
                  </a:lnTo>
                  <a:lnTo>
                    <a:pt x="3759" y="3969"/>
                  </a:lnTo>
                  <a:lnTo>
                    <a:pt x="3767" y="3962"/>
                  </a:lnTo>
                  <a:lnTo>
                    <a:pt x="3774" y="3955"/>
                  </a:lnTo>
                  <a:lnTo>
                    <a:pt x="3781" y="3947"/>
                  </a:lnTo>
                  <a:lnTo>
                    <a:pt x="3787" y="3938"/>
                  </a:lnTo>
                  <a:lnTo>
                    <a:pt x="3793" y="3929"/>
                  </a:lnTo>
                  <a:lnTo>
                    <a:pt x="3797" y="3917"/>
                  </a:lnTo>
                  <a:lnTo>
                    <a:pt x="3801" y="3905"/>
                  </a:lnTo>
                  <a:lnTo>
                    <a:pt x="3803" y="3891"/>
                  </a:lnTo>
                  <a:lnTo>
                    <a:pt x="3805" y="3877"/>
                  </a:lnTo>
                  <a:lnTo>
                    <a:pt x="3806" y="3861"/>
                  </a:lnTo>
                  <a:lnTo>
                    <a:pt x="3806" y="3850"/>
                  </a:lnTo>
                  <a:lnTo>
                    <a:pt x="3809" y="3841"/>
                  </a:lnTo>
                  <a:lnTo>
                    <a:pt x="3811" y="3833"/>
                  </a:lnTo>
                  <a:lnTo>
                    <a:pt x="3817" y="3828"/>
                  </a:lnTo>
                  <a:lnTo>
                    <a:pt x="3822" y="3824"/>
                  </a:lnTo>
                  <a:lnTo>
                    <a:pt x="3829" y="3820"/>
                  </a:lnTo>
                  <a:lnTo>
                    <a:pt x="3835" y="3817"/>
                  </a:lnTo>
                  <a:lnTo>
                    <a:pt x="3843" y="3816"/>
                  </a:lnTo>
                  <a:lnTo>
                    <a:pt x="3861" y="3814"/>
                  </a:lnTo>
                  <a:lnTo>
                    <a:pt x="3879" y="3814"/>
                  </a:lnTo>
                  <a:lnTo>
                    <a:pt x="3889" y="3813"/>
                  </a:lnTo>
                  <a:lnTo>
                    <a:pt x="3897" y="3812"/>
                  </a:lnTo>
                  <a:lnTo>
                    <a:pt x="3906" y="3810"/>
                  </a:lnTo>
                  <a:lnTo>
                    <a:pt x="3914" y="3808"/>
                  </a:lnTo>
                  <a:lnTo>
                    <a:pt x="3925" y="3802"/>
                  </a:lnTo>
                  <a:lnTo>
                    <a:pt x="3935" y="3796"/>
                  </a:lnTo>
                  <a:lnTo>
                    <a:pt x="3943" y="3789"/>
                  </a:lnTo>
                  <a:lnTo>
                    <a:pt x="3950" y="3782"/>
                  </a:lnTo>
                  <a:lnTo>
                    <a:pt x="3955" y="3773"/>
                  </a:lnTo>
                  <a:lnTo>
                    <a:pt x="3961" y="3765"/>
                  </a:lnTo>
                  <a:lnTo>
                    <a:pt x="3963" y="3756"/>
                  </a:lnTo>
                  <a:lnTo>
                    <a:pt x="3966" y="3745"/>
                  </a:lnTo>
                  <a:lnTo>
                    <a:pt x="3969" y="3724"/>
                  </a:lnTo>
                  <a:lnTo>
                    <a:pt x="3969" y="3702"/>
                  </a:lnTo>
                  <a:lnTo>
                    <a:pt x="3969" y="3680"/>
                  </a:lnTo>
                  <a:lnTo>
                    <a:pt x="3969" y="3657"/>
                  </a:lnTo>
                  <a:lnTo>
                    <a:pt x="3969" y="3652"/>
                  </a:lnTo>
                  <a:lnTo>
                    <a:pt x="3970" y="3646"/>
                  </a:lnTo>
                  <a:lnTo>
                    <a:pt x="3971" y="3642"/>
                  </a:lnTo>
                  <a:lnTo>
                    <a:pt x="3974" y="3638"/>
                  </a:lnTo>
                  <a:lnTo>
                    <a:pt x="3982" y="3633"/>
                  </a:lnTo>
                  <a:lnTo>
                    <a:pt x="3989" y="3628"/>
                  </a:lnTo>
                  <a:lnTo>
                    <a:pt x="3997" y="3622"/>
                  </a:lnTo>
                  <a:lnTo>
                    <a:pt x="4003" y="3617"/>
                  </a:lnTo>
                  <a:lnTo>
                    <a:pt x="4006" y="3613"/>
                  </a:lnTo>
                  <a:lnTo>
                    <a:pt x="4009" y="3610"/>
                  </a:lnTo>
                  <a:lnTo>
                    <a:pt x="4010" y="3606"/>
                  </a:lnTo>
                  <a:lnTo>
                    <a:pt x="4010" y="3602"/>
                  </a:lnTo>
                  <a:lnTo>
                    <a:pt x="4010" y="3589"/>
                  </a:lnTo>
                  <a:lnTo>
                    <a:pt x="4009" y="3577"/>
                  </a:lnTo>
                  <a:lnTo>
                    <a:pt x="4006" y="3565"/>
                  </a:lnTo>
                  <a:lnTo>
                    <a:pt x="4002" y="3553"/>
                  </a:lnTo>
                  <a:lnTo>
                    <a:pt x="3998" y="3542"/>
                  </a:lnTo>
                  <a:lnTo>
                    <a:pt x="3993" y="3533"/>
                  </a:lnTo>
                  <a:lnTo>
                    <a:pt x="3986" y="3522"/>
                  </a:lnTo>
                  <a:lnTo>
                    <a:pt x="3981" y="3514"/>
                  </a:lnTo>
                  <a:lnTo>
                    <a:pt x="3966" y="3496"/>
                  </a:lnTo>
                  <a:lnTo>
                    <a:pt x="3949" y="3480"/>
                  </a:lnTo>
                  <a:lnTo>
                    <a:pt x="3931" y="3465"/>
                  </a:lnTo>
                  <a:lnTo>
                    <a:pt x="3914" y="3449"/>
                  </a:lnTo>
                  <a:lnTo>
                    <a:pt x="3895" y="3434"/>
                  </a:lnTo>
                  <a:lnTo>
                    <a:pt x="3878" y="3420"/>
                  </a:lnTo>
                  <a:lnTo>
                    <a:pt x="3862" y="3404"/>
                  </a:lnTo>
                  <a:lnTo>
                    <a:pt x="3847" y="3386"/>
                  </a:lnTo>
                  <a:lnTo>
                    <a:pt x="3841" y="3377"/>
                  </a:lnTo>
                  <a:lnTo>
                    <a:pt x="3835" y="3368"/>
                  </a:lnTo>
                  <a:lnTo>
                    <a:pt x="3830" y="3358"/>
                  </a:lnTo>
                  <a:lnTo>
                    <a:pt x="3826" y="3348"/>
                  </a:lnTo>
                  <a:lnTo>
                    <a:pt x="3822" y="3337"/>
                  </a:lnTo>
                  <a:lnTo>
                    <a:pt x="3819" y="3326"/>
                  </a:lnTo>
                  <a:lnTo>
                    <a:pt x="3818" y="3314"/>
                  </a:lnTo>
                  <a:lnTo>
                    <a:pt x="3818" y="3301"/>
                  </a:lnTo>
                  <a:lnTo>
                    <a:pt x="3818" y="3289"/>
                  </a:lnTo>
                  <a:lnTo>
                    <a:pt x="3819" y="3278"/>
                  </a:lnTo>
                  <a:lnTo>
                    <a:pt x="3821" y="3273"/>
                  </a:lnTo>
                  <a:lnTo>
                    <a:pt x="3819" y="3268"/>
                  </a:lnTo>
                  <a:lnTo>
                    <a:pt x="3819" y="3264"/>
                  </a:lnTo>
                  <a:lnTo>
                    <a:pt x="3818" y="3258"/>
                  </a:lnTo>
                  <a:lnTo>
                    <a:pt x="3831" y="3225"/>
                  </a:lnTo>
                  <a:lnTo>
                    <a:pt x="3845" y="3195"/>
                  </a:lnTo>
                  <a:lnTo>
                    <a:pt x="3851" y="3180"/>
                  </a:lnTo>
                  <a:lnTo>
                    <a:pt x="3855" y="3164"/>
                  </a:lnTo>
                  <a:lnTo>
                    <a:pt x="3858" y="3145"/>
                  </a:lnTo>
                  <a:lnTo>
                    <a:pt x="3859" y="3127"/>
                  </a:lnTo>
                  <a:lnTo>
                    <a:pt x="3859" y="3112"/>
                  </a:lnTo>
                  <a:lnTo>
                    <a:pt x="3857" y="3097"/>
                  </a:lnTo>
                  <a:lnTo>
                    <a:pt x="3853" y="3083"/>
                  </a:lnTo>
                  <a:lnTo>
                    <a:pt x="3849" y="3067"/>
                  </a:lnTo>
                  <a:lnTo>
                    <a:pt x="3837" y="3033"/>
                  </a:lnTo>
                  <a:lnTo>
                    <a:pt x="3823" y="3000"/>
                  </a:lnTo>
                  <a:lnTo>
                    <a:pt x="3810" y="2968"/>
                  </a:lnTo>
                  <a:lnTo>
                    <a:pt x="3798" y="2939"/>
                  </a:lnTo>
                  <a:lnTo>
                    <a:pt x="3794" y="2925"/>
                  </a:lnTo>
                  <a:lnTo>
                    <a:pt x="3790" y="2913"/>
                  </a:lnTo>
                  <a:lnTo>
                    <a:pt x="3789" y="2901"/>
                  </a:lnTo>
                  <a:lnTo>
                    <a:pt x="3787" y="2892"/>
                  </a:lnTo>
                  <a:lnTo>
                    <a:pt x="3787" y="2884"/>
                  </a:lnTo>
                  <a:lnTo>
                    <a:pt x="3790" y="2877"/>
                  </a:lnTo>
                  <a:lnTo>
                    <a:pt x="3791" y="2871"/>
                  </a:lnTo>
                  <a:lnTo>
                    <a:pt x="3795" y="2865"/>
                  </a:lnTo>
                  <a:lnTo>
                    <a:pt x="3799" y="2860"/>
                  </a:lnTo>
                  <a:lnTo>
                    <a:pt x="3805" y="2856"/>
                  </a:lnTo>
                  <a:lnTo>
                    <a:pt x="3810" y="2852"/>
                  </a:lnTo>
                  <a:lnTo>
                    <a:pt x="3815" y="2849"/>
                  </a:lnTo>
                  <a:lnTo>
                    <a:pt x="3829" y="2844"/>
                  </a:lnTo>
                  <a:lnTo>
                    <a:pt x="3843" y="2840"/>
                  </a:lnTo>
                  <a:lnTo>
                    <a:pt x="3858" y="2839"/>
                  </a:lnTo>
                  <a:lnTo>
                    <a:pt x="3871" y="2837"/>
                  </a:lnTo>
                  <a:lnTo>
                    <a:pt x="3899" y="2837"/>
                  </a:lnTo>
                  <a:lnTo>
                    <a:pt x="3921" y="2837"/>
                  </a:lnTo>
                  <a:lnTo>
                    <a:pt x="3938" y="2837"/>
                  </a:lnTo>
                  <a:lnTo>
                    <a:pt x="3955" y="2837"/>
                  </a:lnTo>
                  <a:lnTo>
                    <a:pt x="3966" y="2841"/>
                  </a:lnTo>
                  <a:lnTo>
                    <a:pt x="3987" y="2847"/>
                  </a:lnTo>
                  <a:lnTo>
                    <a:pt x="3999" y="2849"/>
                  </a:lnTo>
                  <a:lnTo>
                    <a:pt x="4013" y="2851"/>
                  </a:lnTo>
                  <a:lnTo>
                    <a:pt x="4019" y="2849"/>
                  </a:lnTo>
                  <a:lnTo>
                    <a:pt x="4026" y="2848"/>
                  </a:lnTo>
                  <a:lnTo>
                    <a:pt x="4034" y="2847"/>
                  </a:lnTo>
                  <a:lnTo>
                    <a:pt x="4041" y="2844"/>
                  </a:lnTo>
                  <a:lnTo>
                    <a:pt x="4049" y="2839"/>
                  </a:lnTo>
                  <a:lnTo>
                    <a:pt x="4057" y="2831"/>
                  </a:lnTo>
                  <a:lnTo>
                    <a:pt x="4063" y="2823"/>
                  </a:lnTo>
                  <a:lnTo>
                    <a:pt x="4069" y="2813"/>
                  </a:lnTo>
                  <a:lnTo>
                    <a:pt x="4079" y="2793"/>
                  </a:lnTo>
                  <a:lnTo>
                    <a:pt x="4091" y="2771"/>
                  </a:lnTo>
                  <a:lnTo>
                    <a:pt x="4098" y="2761"/>
                  </a:lnTo>
                  <a:lnTo>
                    <a:pt x="4106" y="2751"/>
                  </a:lnTo>
                  <a:lnTo>
                    <a:pt x="4114" y="2741"/>
                  </a:lnTo>
                  <a:lnTo>
                    <a:pt x="4123" y="2733"/>
                  </a:lnTo>
                  <a:lnTo>
                    <a:pt x="4134" y="2727"/>
                  </a:lnTo>
                  <a:lnTo>
                    <a:pt x="4147" y="2721"/>
                  </a:lnTo>
                  <a:lnTo>
                    <a:pt x="4162" y="2719"/>
                  </a:lnTo>
                  <a:lnTo>
                    <a:pt x="4179" y="2717"/>
                  </a:lnTo>
                  <a:lnTo>
                    <a:pt x="4194" y="2717"/>
                  </a:lnTo>
                  <a:lnTo>
                    <a:pt x="4203" y="2720"/>
                  </a:lnTo>
                  <a:lnTo>
                    <a:pt x="4210" y="2721"/>
                  </a:lnTo>
                  <a:lnTo>
                    <a:pt x="4214" y="2724"/>
                  </a:lnTo>
                  <a:lnTo>
                    <a:pt x="4216" y="2725"/>
                  </a:lnTo>
                  <a:lnTo>
                    <a:pt x="4220" y="2724"/>
                  </a:lnTo>
                  <a:lnTo>
                    <a:pt x="4228" y="2723"/>
                  </a:lnTo>
                  <a:lnTo>
                    <a:pt x="4239" y="2717"/>
                  </a:lnTo>
                  <a:lnTo>
                    <a:pt x="4244" y="2713"/>
                  </a:lnTo>
                  <a:lnTo>
                    <a:pt x="4248" y="2709"/>
                  </a:lnTo>
                  <a:lnTo>
                    <a:pt x="4251" y="2703"/>
                  </a:lnTo>
                  <a:lnTo>
                    <a:pt x="4252" y="2695"/>
                  </a:lnTo>
                  <a:lnTo>
                    <a:pt x="4254" y="2677"/>
                  </a:lnTo>
                  <a:lnTo>
                    <a:pt x="4254" y="2659"/>
                  </a:lnTo>
                  <a:lnTo>
                    <a:pt x="4251" y="2624"/>
                  </a:lnTo>
                  <a:lnTo>
                    <a:pt x="4251" y="2608"/>
                  </a:lnTo>
                  <a:lnTo>
                    <a:pt x="4208" y="260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7" name="Freeform 98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791200" y="1792288"/>
              <a:ext cx="211138" cy="185737"/>
            </a:xfrm>
            <a:custGeom>
              <a:avLst/>
              <a:gdLst/>
              <a:ahLst/>
              <a:cxnLst>
                <a:cxn ang="0">
                  <a:pos x="487" y="116"/>
                </a:cxn>
                <a:cxn ang="0">
                  <a:pos x="471" y="66"/>
                </a:cxn>
                <a:cxn ang="0">
                  <a:pos x="454" y="46"/>
                </a:cxn>
                <a:cxn ang="0">
                  <a:pos x="436" y="6"/>
                </a:cxn>
                <a:cxn ang="0">
                  <a:pos x="396" y="0"/>
                </a:cxn>
                <a:cxn ang="0">
                  <a:pos x="315" y="12"/>
                </a:cxn>
                <a:cxn ang="0">
                  <a:pos x="278" y="47"/>
                </a:cxn>
                <a:cxn ang="0">
                  <a:pos x="244" y="60"/>
                </a:cxn>
                <a:cxn ang="0">
                  <a:pos x="215" y="56"/>
                </a:cxn>
                <a:cxn ang="0">
                  <a:pos x="187" y="50"/>
                </a:cxn>
                <a:cxn ang="0">
                  <a:pos x="172" y="63"/>
                </a:cxn>
                <a:cxn ang="0">
                  <a:pos x="171" y="98"/>
                </a:cxn>
                <a:cxn ang="0">
                  <a:pos x="192" y="147"/>
                </a:cxn>
                <a:cxn ang="0">
                  <a:pos x="218" y="187"/>
                </a:cxn>
                <a:cxn ang="0">
                  <a:pos x="188" y="183"/>
                </a:cxn>
                <a:cxn ang="0">
                  <a:pos x="163" y="175"/>
                </a:cxn>
                <a:cxn ang="0">
                  <a:pos x="118" y="171"/>
                </a:cxn>
                <a:cxn ang="0">
                  <a:pos x="64" y="155"/>
                </a:cxn>
                <a:cxn ang="0">
                  <a:pos x="30" y="154"/>
                </a:cxn>
                <a:cxn ang="0">
                  <a:pos x="12" y="190"/>
                </a:cxn>
                <a:cxn ang="0">
                  <a:pos x="0" y="242"/>
                </a:cxn>
                <a:cxn ang="0">
                  <a:pos x="12" y="268"/>
                </a:cxn>
                <a:cxn ang="0">
                  <a:pos x="24" y="295"/>
                </a:cxn>
                <a:cxn ang="0">
                  <a:pos x="15" y="339"/>
                </a:cxn>
                <a:cxn ang="0">
                  <a:pos x="26" y="355"/>
                </a:cxn>
                <a:cxn ang="0">
                  <a:pos x="54" y="364"/>
                </a:cxn>
                <a:cxn ang="0">
                  <a:pos x="79" y="384"/>
                </a:cxn>
                <a:cxn ang="0">
                  <a:pos x="86" y="421"/>
                </a:cxn>
                <a:cxn ang="0">
                  <a:pos x="112" y="451"/>
                </a:cxn>
                <a:cxn ang="0">
                  <a:pos x="146" y="467"/>
                </a:cxn>
                <a:cxn ang="0">
                  <a:pos x="223" y="476"/>
                </a:cxn>
                <a:cxn ang="0">
                  <a:pos x="243" y="492"/>
                </a:cxn>
                <a:cxn ang="0">
                  <a:pos x="290" y="491"/>
                </a:cxn>
                <a:cxn ang="0">
                  <a:pos x="302" y="468"/>
                </a:cxn>
                <a:cxn ang="0">
                  <a:pos x="299" y="423"/>
                </a:cxn>
                <a:cxn ang="0">
                  <a:pos x="304" y="385"/>
                </a:cxn>
                <a:cxn ang="0">
                  <a:pos x="331" y="372"/>
                </a:cxn>
                <a:cxn ang="0">
                  <a:pos x="359" y="327"/>
                </a:cxn>
                <a:cxn ang="0">
                  <a:pos x="387" y="281"/>
                </a:cxn>
                <a:cxn ang="0">
                  <a:pos x="444" y="264"/>
                </a:cxn>
                <a:cxn ang="0">
                  <a:pos x="470" y="243"/>
                </a:cxn>
                <a:cxn ang="0">
                  <a:pos x="468" y="211"/>
                </a:cxn>
                <a:cxn ang="0">
                  <a:pos x="458" y="199"/>
                </a:cxn>
                <a:cxn ang="0">
                  <a:pos x="424" y="204"/>
                </a:cxn>
                <a:cxn ang="0">
                  <a:pos x="376" y="206"/>
                </a:cxn>
                <a:cxn ang="0">
                  <a:pos x="340" y="186"/>
                </a:cxn>
                <a:cxn ang="0">
                  <a:pos x="311" y="158"/>
                </a:cxn>
                <a:cxn ang="0">
                  <a:pos x="296" y="127"/>
                </a:cxn>
                <a:cxn ang="0">
                  <a:pos x="296" y="87"/>
                </a:cxn>
                <a:cxn ang="0">
                  <a:pos x="330" y="96"/>
                </a:cxn>
                <a:cxn ang="0">
                  <a:pos x="355" y="155"/>
                </a:cxn>
                <a:cxn ang="0">
                  <a:pos x="380" y="175"/>
                </a:cxn>
                <a:cxn ang="0">
                  <a:pos x="422" y="180"/>
                </a:cxn>
                <a:cxn ang="0">
                  <a:pos x="467" y="163"/>
                </a:cxn>
              </a:cxnLst>
              <a:rect l="0" t="0" r="r" b="b"/>
              <a:pathLst>
                <a:path w="490" h="493">
                  <a:moveTo>
                    <a:pt x="488" y="139"/>
                  </a:moveTo>
                  <a:lnTo>
                    <a:pt x="490" y="135"/>
                  </a:lnTo>
                  <a:lnTo>
                    <a:pt x="490" y="127"/>
                  </a:lnTo>
                  <a:lnTo>
                    <a:pt x="487" y="116"/>
                  </a:lnTo>
                  <a:lnTo>
                    <a:pt x="484" y="104"/>
                  </a:lnTo>
                  <a:lnTo>
                    <a:pt x="479" y="82"/>
                  </a:lnTo>
                  <a:lnTo>
                    <a:pt x="476" y="67"/>
                  </a:lnTo>
                  <a:lnTo>
                    <a:pt x="471" y="66"/>
                  </a:lnTo>
                  <a:lnTo>
                    <a:pt x="467" y="63"/>
                  </a:lnTo>
                  <a:lnTo>
                    <a:pt x="463" y="60"/>
                  </a:lnTo>
                  <a:lnTo>
                    <a:pt x="460" y="56"/>
                  </a:lnTo>
                  <a:lnTo>
                    <a:pt x="454" y="46"/>
                  </a:lnTo>
                  <a:lnTo>
                    <a:pt x="450" y="34"/>
                  </a:lnTo>
                  <a:lnTo>
                    <a:pt x="444" y="22"/>
                  </a:lnTo>
                  <a:lnTo>
                    <a:pt x="439" y="11"/>
                  </a:lnTo>
                  <a:lnTo>
                    <a:pt x="436" y="6"/>
                  </a:lnTo>
                  <a:lnTo>
                    <a:pt x="432" y="3"/>
                  </a:lnTo>
                  <a:lnTo>
                    <a:pt x="427" y="0"/>
                  </a:lnTo>
                  <a:lnTo>
                    <a:pt x="423" y="0"/>
                  </a:lnTo>
                  <a:lnTo>
                    <a:pt x="396" y="0"/>
                  </a:lnTo>
                  <a:lnTo>
                    <a:pt x="372" y="0"/>
                  </a:lnTo>
                  <a:lnTo>
                    <a:pt x="348" y="3"/>
                  </a:lnTo>
                  <a:lnTo>
                    <a:pt x="326" y="6"/>
                  </a:lnTo>
                  <a:lnTo>
                    <a:pt x="315" y="12"/>
                  </a:lnTo>
                  <a:lnTo>
                    <a:pt x="306" y="20"/>
                  </a:lnTo>
                  <a:lnTo>
                    <a:pt x="296" y="28"/>
                  </a:lnTo>
                  <a:lnTo>
                    <a:pt x="287" y="38"/>
                  </a:lnTo>
                  <a:lnTo>
                    <a:pt x="278" y="47"/>
                  </a:lnTo>
                  <a:lnTo>
                    <a:pt x="266" y="54"/>
                  </a:lnTo>
                  <a:lnTo>
                    <a:pt x="259" y="56"/>
                  </a:lnTo>
                  <a:lnTo>
                    <a:pt x="252" y="59"/>
                  </a:lnTo>
                  <a:lnTo>
                    <a:pt x="244" y="60"/>
                  </a:lnTo>
                  <a:lnTo>
                    <a:pt x="236" y="60"/>
                  </a:lnTo>
                  <a:lnTo>
                    <a:pt x="227" y="60"/>
                  </a:lnTo>
                  <a:lnTo>
                    <a:pt x="220" y="59"/>
                  </a:lnTo>
                  <a:lnTo>
                    <a:pt x="215" y="56"/>
                  </a:lnTo>
                  <a:lnTo>
                    <a:pt x="210" y="55"/>
                  </a:lnTo>
                  <a:lnTo>
                    <a:pt x="202" y="50"/>
                  </a:lnTo>
                  <a:lnTo>
                    <a:pt x="194" y="48"/>
                  </a:lnTo>
                  <a:lnTo>
                    <a:pt x="187" y="50"/>
                  </a:lnTo>
                  <a:lnTo>
                    <a:pt x="182" y="51"/>
                  </a:lnTo>
                  <a:lnTo>
                    <a:pt x="178" y="55"/>
                  </a:lnTo>
                  <a:lnTo>
                    <a:pt x="175" y="59"/>
                  </a:lnTo>
                  <a:lnTo>
                    <a:pt x="172" y="63"/>
                  </a:lnTo>
                  <a:lnTo>
                    <a:pt x="171" y="68"/>
                  </a:lnTo>
                  <a:lnTo>
                    <a:pt x="170" y="74"/>
                  </a:lnTo>
                  <a:lnTo>
                    <a:pt x="170" y="79"/>
                  </a:lnTo>
                  <a:lnTo>
                    <a:pt x="171" y="98"/>
                  </a:lnTo>
                  <a:lnTo>
                    <a:pt x="174" y="112"/>
                  </a:lnTo>
                  <a:lnTo>
                    <a:pt x="178" y="126"/>
                  </a:lnTo>
                  <a:lnTo>
                    <a:pt x="184" y="138"/>
                  </a:lnTo>
                  <a:lnTo>
                    <a:pt x="192" y="147"/>
                  </a:lnTo>
                  <a:lnTo>
                    <a:pt x="200" y="155"/>
                  </a:lnTo>
                  <a:lnTo>
                    <a:pt x="208" y="162"/>
                  </a:lnTo>
                  <a:lnTo>
                    <a:pt x="218" y="168"/>
                  </a:lnTo>
                  <a:lnTo>
                    <a:pt x="218" y="187"/>
                  </a:lnTo>
                  <a:lnTo>
                    <a:pt x="210" y="188"/>
                  </a:lnTo>
                  <a:lnTo>
                    <a:pt x="202" y="187"/>
                  </a:lnTo>
                  <a:lnTo>
                    <a:pt x="195" y="186"/>
                  </a:lnTo>
                  <a:lnTo>
                    <a:pt x="188" y="183"/>
                  </a:lnTo>
                  <a:lnTo>
                    <a:pt x="182" y="180"/>
                  </a:lnTo>
                  <a:lnTo>
                    <a:pt x="176" y="178"/>
                  </a:lnTo>
                  <a:lnTo>
                    <a:pt x="170" y="175"/>
                  </a:lnTo>
                  <a:lnTo>
                    <a:pt x="163" y="175"/>
                  </a:lnTo>
                  <a:lnTo>
                    <a:pt x="155" y="175"/>
                  </a:lnTo>
                  <a:lnTo>
                    <a:pt x="146" y="175"/>
                  </a:lnTo>
                  <a:lnTo>
                    <a:pt x="132" y="174"/>
                  </a:lnTo>
                  <a:lnTo>
                    <a:pt x="118" y="171"/>
                  </a:lnTo>
                  <a:lnTo>
                    <a:pt x="104" y="167"/>
                  </a:lnTo>
                  <a:lnTo>
                    <a:pt x="91" y="163"/>
                  </a:lnTo>
                  <a:lnTo>
                    <a:pt x="78" y="159"/>
                  </a:lnTo>
                  <a:lnTo>
                    <a:pt x="64" y="155"/>
                  </a:lnTo>
                  <a:lnTo>
                    <a:pt x="51" y="152"/>
                  </a:lnTo>
                  <a:lnTo>
                    <a:pt x="36" y="151"/>
                  </a:lnTo>
                  <a:lnTo>
                    <a:pt x="34" y="151"/>
                  </a:lnTo>
                  <a:lnTo>
                    <a:pt x="30" y="154"/>
                  </a:lnTo>
                  <a:lnTo>
                    <a:pt x="27" y="158"/>
                  </a:lnTo>
                  <a:lnTo>
                    <a:pt x="23" y="163"/>
                  </a:lnTo>
                  <a:lnTo>
                    <a:pt x="18" y="175"/>
                  </a:lnTo>
                  <a:lnTo>
                    <a:pt x="12" y="190"/>
                  </a:lnTo>
                  <a:lnTo>
                    <a:pt x="7" y="204"/>
                  </a:lnTo>
                  <a:lnTo>
                    <a:pt x="4" y="219"/>
                  </a:lnTo>
                  <a:lnTo>
                    <a:pt x="2" y="232"/>
                  </a:lnTo>
                  <a:lnTo>
                    <a:pt x="0" y="242"/>
                  </a:lnTo>
                  <a:lnTo>
                    <a:pt x="2" y="249"/>
                  </a:lnTo>
                  <a:lnTo>
                    <a:pt x="4" y="256"/>
                  </a:lnTo>
                  <a:lnTo>
                    <a:pt x="8" y="263"/>
                  </a:lnTo>
                  <a:lnTo>
                    <a:pt x="12" y="268"/>
                  </a:lnTo>
                  <a:lnTo>
                    <a:pt x="18" y="273"/>
                  </a:lnTo>
                  <a:lnTo>
                    <a:pt x="22" y="280"/>
                  </a:lnTo>
                  <a:lnTo>
                    <a:pt x="24" y="287"/>
                  </a:lnTo>
                  <a:lnTo>
                    <a:pt x="24" y="295"/>
                  </a:lnTo>
                  <a:lnTo>
                    <a:pt x="19" y="311"/>
                  </a:lnTo>
                  <a:lnTo>
                    <a:pt x="12" y="325"/>
                  </a:lnTo>
                  <a:lnTo>
                    <a:pt x="14" y="332"/>
                  </a:lnTo>
                  <a:lnTo>
                    <a:pt x="15" y="339"/>
                  </a:lnTo>
                  <a:lnTo>
                    <a:pt x="16" y="344"/>
                  </a:lnTo>
                  <a:lnTo>
                    <a:pt x="19" y="348"/>
                  </a:lnTo>
                  <a:lnTo>
                    <a:pt x="22" y="352"/>
                  </a:lnTo>
                  <a:lnTo>
                    <a:pt x="26" y="355"/>
                  </a:lnTo>
                  <a:lnTo>
                    <a:pt x="30" y="356"/>
                  </a:lnTo>
                  <a:lnTo>
                    <a:pt x="34" y="359"/>
                  </a:lnTo>
                  <a:lnTo>
                    <a:pt x="43" y="361"/>
                  </a:lnTo>
                  <a:lnTo>
                    <a:pt x="54" y="364"/>
                  </a:lnTo>
                  <a:lnTo>
                    <a:pt x="63" y="368"/>
                  </a:lnTo>
                  <a:lnTo>
                    <a:pt x="74" y="373"/>
                  </a:lnTo>
                  <a:lnTo>
                    <a:pt x="76" y="379"/>
                  </a:lnTo>
                  <a:lnTo>
                    <a:pt x="79" y="384"/>
                  </a:lnTo>
                  <a:lnTo>
                    <a:pt x="80" y="391"/>
                  </a:lnTo>
                  <a:lnTo>
                    <a:pt x="82" y="397"/>
                  </a:lnTo>
                  <a:lnTo>
                    <a:pt x="83" y="411"/>
                  </a:lnTo>
                  <a:lnTo>
                    <a:pt x="86" y="421"/>
                  </a:lnTo>
                  <a:lnTo>
                    <a:pt x="91" y="431"/>
                  </a:lnTo>
                  <a:lnTo>
                    <a:pt x="98" y="437"/>
                  </a:lnTo>
                  <a:lnTo>
                    <a:pt x="104" y="444"/>
                  </a:lnTo>
                  <a:lnTo>
                    <a:pt x="112" y="451"/>
                  </a:lnTo>
                  <a:lnTo>
                    <a:pt x="119" y="456"/>
                  </a:lnTo>
                  <a:lnTo>
                    <a:pt x="128" y="460"/>
                  </a:lnTo>
                  <a:lnTo>
                    <a:pt x="136" y="464"/>
                  </a:lnTo>
                  <a:lnTo>
                    <a:pt x="146" y="467"/>
                  </a:lnTo>
                  <a:lnTo>
                    <a:pt x="164" y="471"/>
                  </a:lnTo>
                  <a:lnTo>
                    <a:pt x="183" y="475"/>
                  </a:lnTo>
                  <a:lnTo>
                    <a:pt x="203" y="476"/>
                  </a:lnTo>
                  <a:lnTo>
                    <a:pt x="223" y="476"/>
                  </a:lnTo>
                  <a:lnTo>
                    <a:pt x="227" y="481"/>
                  </a:lnTo>
                  <a:lnTo>
                    <a:pt x="231" y="487"/>
                  </a:lnTo>
                  <a:lnTo>
                    <a:pt x="236" y="489"/>
                  </a:lnTo>
                  <a:lnTo>
                    <a:pt x="243" y="492"/>
                  </a:lnTo>
                  <a:lnTo>
                    <a:pt x="258" y="493"/>
                  </a:lnTo>
                  <a:lnTo>
                    <a:pt x="272" y="493"/>
                  </a:lnTo>
                  <a:lnTo>
                    <a:pt x="282" y="493"/>
                  </a:lnTo>
                  <a:lnTo>
                    <a:pt x="290" y="491"/>
                  </a:lnTo>
                  <a:lnTo>
                    <a:pt x="295" y="487"/>
                  </a:lnTo>
                  <a:lnTo>
                    <a:pt x="298" y="481"/>
                  </a:lnTo>
                  <a:lnTo>
                    <a:pt x="300" y="476"/>
                  </a:lnTo>
                  <a:lnTo>
                    <a:pt x="302" y="468"/>
                  </a:lnTo>
                  <a:lnTo>
                    <a:pt x="302" y="460"/>
                  </a:lnTo>
                  <a:lnTo>
                    <a:pt x="302" y="452"/>
                  </a:lnTo>
                  <a:lnTo>
                    <a:pt x="300" y="436"/>
                  </a:lnTo>
                  <a:lnTo>
                    <a:pt x="299" y="423"/>
                  </a:lnTo>
                  <a:lnTo>
                    <a:pt x="296" y="413"/>
                  </a:lnTo>
                  <a:lnTo>
                    <a:pt x="296" y="404"/>
                  </a:lnTo>
                  <a:lnTo>
                    <a:pt x="296" y="385"/>
                  </a:lnTo>
                  <a:lnTo>
                    <a:pt x="304" y="385"/>
                  </a:lnTo>
                  <a:lnTo>
                    <a:pt x="312" y="383"/>
                  </a:lnTo>
                  <a:lnTo>
                    <a:pt x="319" y="380"/>
                  </a:lnTo>
                  <a:lnTo>
                    <a:pt x="326" y="376"/>
                  </a:lnTo>
                  <a:lnTo>
                    <a:pt x="331" y="372"/>
                  </a:lnTo>
                  <a:lnTo>
                    <a:pt x="336" y="367"/>
                  </a:lnTo>
                  <a:lnTo>
                    <a:pt x="342" y="361"/>
                  </a:lnTo>
                  <a:lnTo>
                    <a:pt x="346" y="355"/>
                  </a:lnTo>
                  <a:lnTo>
                    <a:pt x="359" y="327"/>
                  </a:lnTo>
                  <a:lnTo>
                    <a:pt x="368" y="301"/>
                  </a:lnTo>
                  <a:lnTo>
                    <a:pt x="374" y="293"/>
                  </a:lnTo>
                  <a:lnTo>
                    <a:pt x="379" y="287"/>
                  </a:lnTo>
                  <a:lnTo>
                    <a:pt x="387" y="281"/>
                  </a:lnTo>
                  <a:lnTo>
                    <a:pt x="395" y="277"/>
                  </a:lnTo>
                  <a:lnTo>
                    <a:pt x="411" y="272"/>
                  </a:lnTo>
                  <a:lnTo>
                    <a:pt x="428" y="268"/>
                  </a:lnTo>
                  <a:lnTo>
                    <a:pt x="444" y="264"/>
                  </a:lnTo>
                  <a:lnTo>
                    <a:pt x="458" y="259"/>
                  </a:lnTo>
                  <a:lnTo>
                    <a:pt x="463" y="255"/>
                  </a:lnTo>
                  <a:lnTo>
                    <a:pt x="467" y="249"/>
                  </a:lnTo>
                  <a:lnTo>
                    <a:pt x="470" y="243"/>
                  </a:lnTo>
                  <a:lnTo>
                    <a:pt x="471" y="235"/>
                  </a:lnTo>
                  <a:lnTo>
                    <a:pt x="470" y="223"/>
                  </a:lnTo>
                  <a:lnTo>
                    <a:pt x="468" y="215"/>
                  </a:lnTo>
                  <a:lnTo>
                    <a:pt x="468" y="211"/>
                  </a:lnTo>
                  <a:lnTo>
                    <a:pt x="468" y="207"/>
                  </a:lnTo>
                  <a:lnTo>
                    <a:pt x="468" y="203"/>
                  </a:lnTo>
                  <a:lnTo>
                    <a:pt x="471" y="199"/>
                  </a:lnTo>
                  <a:lnTo>
                    <a:pt x="458" y="199"/>
                  </a:lnTo>
                  <a:lnTo>
                    <a:pt x="451" y="199"/>
                  </a:lnTo>
                  <a:lnTo>
                    <a:pt x="447" y="199"/>
                  </a:lnTo>
                  <a:lnTo>
                    <a:pt x="440" y="199"/>
                  </a:lnTo>
                  <a:lnTo>
                    <a:pt x="424" y="204"/>
                  </a:lnTo>
                  <a:lnTo>
                    <a:pt x="404" y="211"/>
                  </a:lnTo>
                  <a:lnTo>
                    <a:pt x="395" y="211"/>
                  </a:lnTo>
                  <a:lnTo>
                    <a:pt x="386" y="208"/>
                  </a:lnTo>
                  <a:lnTo>
                    <a:pt x="376" y="206"/>
                  </a:lnTo>
                  <a:lnTo>
                    <a:pt x="367" y="202"/>
                  </a:lnTo>
                  <a:lnTo>
                    <a:pt x="358" y="198"/>
                  </a:lnTo>
                  <a:lnTo>
                    <a:pt x="348" y="192"/>
                  </a:lnTo>
                  <a:lnTo>
                    <a:pt x="340" y="186"/>
                  </a:lnTo>
                  <a:lnTo>
                    <a:pt x="332" y="179"/>
                  </a:lnTo>
                  <a:lnTo>
                    <a:pt x="324" y="172"/>
                  </a:lnTo>
                  <a:lnTo>
                    <a:pt x="318" y="166"/>
                  </a:lnTo>
                  <a:lnTo>
                    <a:pt x="311" y="158"/>
                  </a:lnTo>
                  <a:lnTo>
                    <a:pt x="306" y="150"/>
                  </a:lnTo>
                  <a:lnTo>
                    <a:pt x="302" y="143"/>
                  </a:lnTo>
                  <a:lnTo>
                    <a:pt x="299" y="135"/>
                  </a:lnTo>
                  <a:lnTo>
                    <a:pt x="296" y="127"/>
                  </a:lnTo>
                  <a:lnTo>
                    <a:pt x="296" y="120"/>
                  </a:lnTo>
                  <a:lnTo>
                    <a:pt x="296" y="106"/>
                  </a:lnTo>
                  <a:lnTo>
                    <a:pt x="296" y="95"/>
                  </a:lnTo>
                  <a:lnTo>
                    <a:pt x="296" y="87"/>
                  </a:lnTo>
                  <a:lnTo>
                    <a:pt x="296" y="79"/>
                  </a:lnTo>
                  <a:lnTo>
                    <a:pt x="314" y="79"/>
                  </a:lnTo>
                  <a:lnTo>
                    <a:pt x="326" y="79"/>
                  </a:lnTo>
                  <a:lnTo>
                    <a:pt x="330" y="96"/>
                  </a:lnTo>
                  <a:lnTo>
                    <a:pt x="334" y="115"/>
                  </a:lnTo>
                  <a:lnTo>
                    <a:pt x="340" y="132"/>
                  </a:lnTo>
                  <a:lnTo>
                    <a:pt x="350" y="148"/>
                  </a:lnTo>
                  <a:lnTo>
                    <a:pt x="355" y="155"/>
                  </a:lnTo>
                  <a:lnTo>
                    <a:pt x="360" y="162"/>
                  </a:lnTo>
                  <a:lnTo>
                    <a:pt x="366" y="167"/>
                  </a:lnTo>
                  <a:lnTo>
                    <a:pt x="372" y="172"/>
                  </a:lnTo>
                  <a:lnTo>
                    <a:pt x="380" y="175"/>
                  </a:lnTo>
                  <a:lnTo>
                    <a:pt x="387" y="179"/>
                  </a:lnTo>
                  <a:lnTo>
                    <a:pt x="395" y="180"/>
                  </a:lnTo>
                  <a:lnTo>
                    <a:pt x="404" y="180"/>
                  </a:lnTo>
                  <a:lnTo>
                    <a:pt x="422" y="180"/>
                  </a:lnTo>
                  <a:lnTo>
                    <a:pt x="435" y="178"/>
                  </a:lnTo>
                  <a:lnTo>
                    <a:pt x="447" y="174"/>
                  </a:lnTo>
                  <a:lnTo>
                    <a:pt x="458" y="168"/>
                  </a:lnTo>
                  <a:lnTo>
                    <a:pt x="467" y="163"/>
                  </a:lnTo>
                  <a:lnTo>
                    <a:pt x="475" y="155"/>
                  </a:lnTo>
                  <a:lnTo>
                    <a:pt x="482" y="147"/>
                  </a:lnTo>
                  <a:lnTo>
                    <a:pt x="488" y="13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8" name="Freeform 99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6010275" y="1720850"/>
              <a:ext cx="138113" cy="80963"/>
            </a:xfrm>
            <a:custGeom>
              <a:avLst/>
              <a:gdLst/>
              <a:ahLst/>
              <a:cxnLst>
                <a:cxn ang="0">
                  <a:pos x="242" y="168"/>
                </a:cxn>
                <a:cxn ang="0">
                  <a:pos x="258" y="160"/>
                </a:cxn>
                <a:cxn ang="0">
                  <a:pos x="273" y="145"/>
                </a:cxn>
                <a:cxn ang="0">
                  <a:pos x="286" y="127"/>
                </a:cxn>
                <a:cxn ang="0">
                  <a:pos x="304" y="95"/>
                </a:cxn>
                <a:cxn ang="0">
                  <a:pos x="317" y="52"/>
                </a:cxn>
                <a:cxn ang="0">
                  <a:pos x="318" y="24"/>
                </a:cxn>
                <a:cxn ang="0">
                  <a:pos x="301" y="7"/>
                </a:cxn>
                <a:cxn ang="0">
                  <a:pos x="264" y="4"/>
                </a:cxn>
                <a:cxn ang="0">
                  <a:pos x="214" y="17"/>
                </a:cxn>
                <a:cxn ang="0">
                  <a:pos x="193" y="27"/>
                </a:cxn>
                <a:cxn ang="0">
                  <a:pos x="184" y="33"/>
                </a:cxn>
                <a:cxn ang="0">
                  <a:pos x="172" y="51"/>
                </a:cxn>
                <a:cxn ang="0">
                  <a:pos x="161" y="72"/>
                </a:cxn>
                <a:cxn ang="0">
                  <a:pos x="154" y="81"/>
                </a:cxn>
                <a:cxn ang="0">
                  <a:pos x="132" y="85"/>
                </a:cxn>
                <a:cxn ang="0">
                  <a:pos x="129" y="73"/>
                </a:cxn>
                <a:cxn ang="0">
                  <a:pos x="121" y="65"/>
                </a:cxn>
                <a:cxn ang="0">
                  <a:pos x="112" y="61"/>
                </a:cxn>
                <a:cxn ang="0">
                  <a:pos x="102" y="60"/>
                </a:cxn>
                <a:cxn ang="0">
                  <a:pos x="90" y="64"/>
                </a:cxn>
                <a:cxn ang="0">
                  <a:pos x="81" y="72"/>
                </a:cxn>
                <a:cxn ang="0">
                  <a:pos x="69" y="99"/>
                </a:cxn>
                <a:cxn ang="0">
                  <a:pos x="53" y="151"/>
                </a:cxn>
                <a:cxn ang="0">
                  <a:pos x="38" y="145"/>
                </a:cxn>
                <a:cxn ang="0">
                  <a:pos x="28" y="137"/>
                </a:cxn>
                <a:cxn ang="0">
                  <a:pos x="12" y="115"/>
                </a:cxn>
                <a:cxn ang="0">
                  <a:pos x="0" y="132"/>
                </a:cxn>
                <a:cxn ang="0">
                  <a:pos x="1" y="160"/>
                </a:cxn>
                <a:cxn ang="0">
                  <a:pos x="9" y="188"/>
                </a:cxn>
                <a:cxn ang="0">
                  <a:pos x="21" y="205"/>
                </a:cxn>
                <a:cxn ang="0">
                  <a:pos x="32" y="213"/>
                </a:cxn>
                <a:cxn ang="0">
                  <a:pos x="44" y="220"/>
                </a:cxn>
                <a:cxn ang="0">
                  <a:pos x="58" y="223"/>
                </a:cxn>
                <a:cxn ang="0">
                  <a:pos x="82" y="223"/>
                </a:cxn>
                <a:cxn ang="0">
                  <a:pos x="106" y="217"/>
                </a:cxn>
                <a:cxn ang="0">
                  <a:pos x="126" y="211"/>
                </a:cxn>
                <a:cxn ang="0">
                  <a:pos x="148" y="205"/>
                </a:cxn>
                <a:cxn ang="0">
                  <a:pos x="177" y="205"/>
                </a:cxn>
                <a:cxn ang="0">
                  <a:pos x="188" y="200"/>
                </a:cxn>
                <a:cxn ang="0">
                  <a:pos x="197" y="188"/>
                </a:cxn>
                <a:cxn ang="0">
                  <a:pos x="212" y="177"/>
                </a:cxn>
                <a:cxn ang="0">
                  <a:pos x="228" y="171"/>
                </a:cxn>
              </a:cxnLst>
              <a:rect l="0" t="0" r="r" b="b"/>
              <a:pathLst>
                <a:path w="318" h="223">
                  <a:moveTo>
                    <a:pt x="234" y="169"/>
                  </a:moveTo>
                  <a:lnTo>
                    <a:pt x="242" y="168"/>
                  </a:lnTo>
                  <a:lnTo>
                    <a:pt x="250" y="165"/>
                  </a:lnTo>
                  <a:lnTo>
                    <a:pt x="258" y="160"/>
                  </a:lnTo>
                  <a:lnTo>
                    <a:pt x="265" y="153"/>
                  </a:lnTo>
                  <a:lnTo>
                    <a:pt x="273" y="145"/>
                  </a:lnTo>
                  <a:lnTo>
                    <a:pt x="280" y="137"/>
                  </a:lnTo>
                  <a:lnTo>
                    <a:pt x="286" y="127"/>
                  </a:lnTo>
                  <a:lnTo>
                    <a:pt x="293" y="116"/>
                  </a:lnTo>
                  <a:lnTo>
                    <a:pt x="304" y="95"/>
                  </a:lnTo>
                  <a:lnTo>
                    <a:pt x="312" y="72"/>
                  </a:lnTo>
                  <a:lnTo>
                    <a:pt x="317" y="52"/>
                  </a:lnTo>
                  <a:lnTo>
                    <a:pt x="318" y="36"/>
                  </a:lnTo>
                  <a:lnTo>
                    <a:pt x="318" y="24"/>
                  </a:lnTo>
                  <a:lnTo>
                    <a:pt x="318" y="12"/>
                  </a:lnTo>
                  <a:lnTo>
                    <a:pt x="301" y="7"/>
                  </a:lnTo>
                  <a:lnTo>
                    <a:pt x="282" y="0"/>
                  </a:lnTo>
                  <a:lnTo>
                    <a:pt x="264" y="4"/>
                  </a:lnTo>
                  <a:lnTo>
                    <a:pt x="232" y="12"/>
                  </a:lnTo>
                  <a:lnTo>
                    <a:pt x="214" y="17"/>
                  </a:lnTo>
                  <a:lnTo>
                    <a:pt x="200" y="23"/>
                  </a:lnTo>
                  <a:lnTo>
                    <a:pt x="193" y="27"/>
                  </a:lnTo>
                  <a:lnTo>
                    <a:pt x="188" y="29"/>
                  </a:lnTo>
                  <a:lnTo>
                    <a:pt x="184" y="33"/>
                  </a:lnTo>
                  <a:lnTo>
                    <a:pt x="180" y="36"/>
                  </a:lnTo>
                  <a:lnTo>
                    <a:pt x="172" y="51"/>
                  </a:lnTo>
                  <a:lnTo>
                    <a:pt x="165" y="65"/>
                  </a:lnTo>
                  <a:lnTo>
                    <a:pt x="161" y="72"/>
                  </a:lnTo>
                  <a:lnTo>
                    <a:pt x="158" y="77"/>
                  </a:lnTo>
                  <a:lnTo>
                    <a:pt x="154" y="81"/>
                  </a:lnTo>
                  <a:lnTo>
                    <a:pt x="150" y="85"/>
                  </a:lnTo>
                  <a:lnTo>
                    <a:pt x="132" y="85"/>
                  </a:lnTo>
                  <a:lnTo>
                    <a:pt x="132" y="79"/>
                  </a:lnTo>
                  <a:lnTo>
                    <a:pt x="129" y="73"/>
                  </a:lnTo>
                  <a:lnTo>
                    <a:pt x="125" y="69"/>
                  </a:lnTo>
                  <a:lnTo>
                    <a:pt x="121" y="65"/>
                  </a:lnTo>
                  <a:lnTo>
                    <a:pt x="117" y="64"/>
                  </a:lnTo>
                  <a:lnTo>
                    <a:pt x="112" y="61"/>
                  </a:lnTo>
                  <a:lnTo>
                    <a:pt x="106" y="61"/>
                  </a:lnTo>
                  <a:lnTo>
                    <a:pt x="102" y="60"/>
                  </a:lnTo>
                  <a:lnTo>
                    <a:pt x="96" y="61"/>
                  </a:lnTo>
                  <a:lnTo>
                    <a:pt x="90" y="64"/>
                  </a:lnTo>
                  <a:lnTo>
                    <a:pt x="85" y="68"/>
                  </a:lnTo>
                  <a:lnTo>
                    <a:pt x="81" y="72"/>
                  </a:lnTo>
                  <a:lnTo>
                    <a:pt x="74" y="84"/>
                  </a:lnTo>
                  <a:lnTo>
                    <a:pt x="69" y="99"/>
                  </a:lnTo>
                  <a:lnTo>
                    <a:pt x="61" y="129"/>
                  </a:lnTo>
                  <a:lnTo>
                    <a:pt x="53" y="151"/>
                  </a:lnTo>
                  <a:lnTo>
                    <a:pt x="45" y="148"/>
                  </a:lnTo>
                  <a:lnTo>
                    <a:pt x="38" y="145"/>
                  </a:lnTo>
                  <a:lnTo>
                    <a:pt x="33" y="141"/>
                  </a:lnTo>
                  <a:lnTo>
                    <a:pt x="28" y="137"/>
                  </a:lnTo>
                  <a:lnTo>
                    <a:pt x="20" y="127"/>
                  </a:lnTo>
                  <a:lnTo>
                    <a:pt x="12" y="115"/>
                  </a:lnTo>
                  <a:lnTo>
                    <a:pt x="0" y="115"/>
                  </a:lnTo>
                  <a:lnTo>
                    <a:pt x="0" y="132"/>
                  </a:lnTo>
                  <a:lnTo>
                    <a:pt x="0" y="145"/>
                  </a:lnTo>
                  <a:lnTo>
                    <a:pt x="1" y="160"/>
                  </a:lnTo>
                  <a:lnTo>
                    <a:pt x="4" y="175"/>
                  </a:lnTo>
                  <a:lnTo>
                    <a:pt x="9" y="188"/>
                  </a:lnTo>
                  <a:lnTo>
                    <a:pt x="17" y="200"/>
                  </a:lnTo>
                  <a:lnTo>
                    <a:pt x="21" y="205"/>
                  </a:lnTo>
                  <a:lnTo>
                    <a:pt x="26" y="209"/>
                  </a:lnTo>
                  <a:lnTo>
                    <a:pt x="32" y="213"/>
                  </a:lnTo>
                  <a:lnTo>
                    <a:pt x="37" y="217"/>
                  </a:lnTo>
                  <a:lnTo>
                    <a:pt x="44" y="220"/>
                  </a:lnTo>
                  <a:lnTo>
                    <a:pt x="50" y="221"/>
                  </a:lnTo>
                  <a:lnTo>
                    <a:pt x="58" y="223"/>
                  </a:lnTo>
                  <a:lnTo>
                    <a:pt x="66" y="223"/>
                  </a:lnTo>
                  <a:lnTo>
                    <a:pt x="82" y="223"/>
                  </a:lnTo>
                  <a:lnTo>
                    <a:pt x="96" y="220"/>
                  </a:lnTo>
                  <a:lnTo>
                    <a:pt x="106" y="217"/>
                  </a:lnTo>
                  <a:lnTo>
                    <a:pt x="116" y="215"/>
                  </a:lnTo>
                  <a:lnTo>
                    <a:pt x="126" y="211"/>
                  </a:lnTo>
                  <a:lnTo>
                    <a:pt x="136" y="208"/>
                  </a:lnTo>
                  <a:lnTo>
                    <a:pt x="148" y="205"/>
                  </a:lnTo>
                  <a:lnTo>
                    <a:pt x="162" y="205"/>
                  </a:lnTo>
                  <a:lnTo>
                    <a:pt x="177" y="205"/>
                  </a:lnTo>
                  <a:lnTo>
                    <a:pt x="186" y="205"/>
                  </a:lnTo>
                  <a:lnTo>
                    <a:pt x="188" y="200"/>
                  </a:lnTo>
                  <a:lnTo>
                    <a:pt x="192" y="195"/>
                  </a:lnTo>
                  <a:lnTo>
                    <a:pt x="197" y="188"/>
                  </a:lnTo>
                  <a:lnTo>
                    <a:pt x="204" y="183"/>
                  </a:lnTo>
                  <a:lnTo>
                    <a:pt x="212" y="177"/>
                  </a:lnTo>
                  <a:lnTo>
                    <a:pt x="220" y="173"/>
                  </a:lnTo>
                  <a:lnTo>
                    <a:pt x="228" y="171"/>
                  </a:lnTo>
                  <a:lnTo>
                    <a:pt x="234" y="16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29" name="Freeform 100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6024563" y="1970088"/>
              <a:ext cx="95250" cy="79375"/>
            </a:xfrm>
            <a:custGeom>
              <a:avLst/>
              <a:gdLst/>
              <a:ahLst/>
              <a:cxnLst>
                <a:cxn ang="0">
                  <a:pos x="45" y="1"/>
                </a:cxn>
                <a:cxn ang="0">
                  <a:pos x="38" y="6"/>
                </a:cxn>
                <a:cxn ang="0">
                  <a:pos x="28" y="22"/>
                </a:cxn>
                <a:cxn ang="0">
                  <a:pos x="12" y="50"/>
                </a:cxn>
                <a:cxn ang="0">
                  <a:pos x="1" y="76"/>
                </a:cxn>
                <a:cxn ang="0">
                  <a:pos x="1" y="96"/>
                </a:cxn>
                <a:cxn ang="0">
                  <a:pos x="9" y="113"/>
                </a:cxn>
                <a:cxn ang="0">
                  <a:pos x="20" y="129"/>
                </a:cxn>
                <a:cxn ang="0">
                  <a:pos x="29" y="146"/>
                </a:cxn>
                <a:cxn ang="0">
                  <a:pos x="29" y="168"/>
                </a:cxn>
                <a:cxn ang="0">
                  <a:pos x="22" y="180"/>
                </a:cxn>
                <a:cxn ang="0">
                  <a:pos x="13" y="188"/>
                </a:cxn>
                <a:cxn ang="0">
                  <a:pos x="6" y="198"/>
                </a:cxn>
                <a:cxn ang="0">
                  <a:pos x="12" y="209"/>
                </a:cxn>
                <a:cxn ang="0">
                  <a:pos x="21" y="210"/>
                </a:cxn>
                <a:cxn ang="0">
                  <a:pos x="28" y="200"/>
                </a:cxn>
                <a:cxn ang="0">
                  <a:pos x="38" y="181"/>
                </a:cxn>
                <a:cxn ang="0">
                  <a:pos x="44" y="172"/>
                </a:cxn>
                <a:cxn ang="0">
                  <a:pos x="50" y="164"/>
                </a:cxn>
                <a:cxn ang="0">
                  <a:pos x="66" y="157"/>
                </a:cxn>
                <a:cxn ang="0">
                  <a:pos x="104" y="149"/>
                </a:cxn>
                <a:cxn ang="0">
                  <a:pos x="138" y="138"/>
                </a:cxn>
                <a:cxn ang="0">
                  <a:pos x="173" y="125"/>
                </a:cxn>
                <a:cxn ang="0">
                  <a:pos x="197" y="112"/>
                </a:cxn>
                <a:cxn ang="0">
                  <a:pos x="209" y="101"/>
                </a:cxn>
                <a:cxn ang="0">
                  <a:pos x="217" y="88"/>
                </a:cxn>
                <a:cxn ang="0">
                  <a:pos x="222" y="70"/>
                </a:cxn>
                <a:cxn ang="0">
                  <a:pos x="222" y="54"/>
                </a:cxn>
                <a:cxn ang="0">
                  <a:pos x="220" y="42"/>
                </a:cxn>
                <a:cxn ang="0">
                  <a:pos x="212" y="29"/>
                </a:cxn>
                <a:cxn ang="0">
                  <a:pos x="194" y="14"/>
                </a:cxn>
                <a:cxn ang="0">
                  <a:pos x="170" y="6"/>
                </a:cxn>
                <a:cxn ang="0">
                  <a:pos x="129" y="1"/>
                </a:cxn>
                <a:cxn ang="0">
                  <a:pos x="73" y="1"/>
                </a:cxn>
              </a:cxnLst>
              <a:rect l="0" t="0" r="r" b="b"/>
              <a:pathLst>
                <a:path w="222" h="212">
                  <a:moveTo>
                    <a:pt x="48" y="1"/>
                  </a:moveTo>
                  <a:lnTo>
                    <a:pt x="45" y="1"/>
                  </a:lnTo>
                  <a:lnTo>
                    <a:pt x="42" y="4"/>
                  </a:lnTo>
                  <a:lnTo>
                    <a:pt x="38" y="6"/>
                  </a:lnTo>
                  <a:lnTo>
                    <a:pt x="36" y="12"/>
                  </a:lnTo>
                  <a:lnTo>
                    <a:pt x="28" y="22"/>
                  </a:lnTo>
                  <a:lnTo>
                    <a:pt x="20" y="36"/>
                  </a:lnTo>
                  <a:lnTo>
                    <a:pt x="12" y="50"/>
                  </a:lnTo>
                  <a:lnTo>
                    <a:pt x="5" y="64"/>
                  </a:lnTo>
                  <a:lnTo>
                    <a:pt x="1" y="76"/>
                  </a:lnTo>
                  <a:lnTo>
                    <a:pt x="0" y="85"/>
                  </a:lnTo>
                  <a:lnTo>
                    <a:pt x="1" y="96"/>
                  </a:lnTo>
                  <a:lnTo>
                    <a:pt x="4" y="105"/>
                  </a:lnTo>
                  <a:lnTo>
                    <a:pt x="9" y="113"/>
                  </a:lnTo>
                  <a:lnTo>
                    <a:pt x="14" y="121"/>
                  </a:lnTo>
                  <a:lnTo>
                    <a:pt x="20" y="129"/>
                  </a:lnTo>
                  <a:lnTo>
                    <a:pt x="25" y="137"/>
                  </a:lnTo>
                  <a:lnTo>
                    <a:pt x="29" y="146"/>
                  </a:lnTo>
                  <a:lnTo>
                    <a:pt x="30" y="157"/>
                  </a:lnTo>
                  <a:lnTo>
                    <a:pt x="29" y="168"/>
                  </a:lnTo>
                  <a:lnTo>
                    <a:pt x="26" y="174"/>
                  </a:lnTo>
                  <a:lnTo>
                    <a:pt x="22" y="180"/>
                  </a:lnTo>
                  <a:lnTo>
                    <a:pt x="17" y="184"/>
                  </a:lnTo>
                  <a:lnTo>
                    <a:pt x="13" y="188"/>
                  </a:lnTo>
                  <a:lnTo>
                    <a:pt x="9" y="192"/>
                  </a:lnTo>
                  <a:lnTo>
                    <a:pt x="6" y="198"/>
                  </a:lnTo>
                  <a:lnTo>
                    <a:pt x="5" y="205"/>
                  </a:lnTo>
                  <a:lnTo>
                    <a:pt x="12" y="209"/>
                  </a:lnTo>
                  <a:lnTo>
                    <a:pt x="17" y="212"/>
                  </a:lnTo>
                  <a:lnTo>
                    <a:pt x="21" y="210"/>
                  </a:lnTo>
                  <a:lnTo>
                    <a:pt x="24" y="206"/>
                  </a:lnTo>
                  <a:lnTo>
                    <a:pt x="28" y="200"/>
                  </a:lnTo>
                  <a:lnTo>
                    <a:pt x="32" y="193"/>
                  </a:lnTo>
                  <a:lnTo>
                    <a:pt x="38" y="181"/>
                  </a:lnTo>
                  <a:lnTo>
                    <a:pt x="42" y="176"/>
                  </a:lnTo>
                  <a:lnTo>
                    <a:pt x="44" y="172"/>
                  </a:lnTo>
                  <a:lnTo>
                    <a:pt x="46" y="168"/>
                  </a:lnTo>
                  <a:lnTo>
                    <a:pt x="50" y="164"/>
                  </a:lnTo>
                  <a:lnTo>
                    <a:pt x="54" y="161"/>
                  </a:lnTo>
                  <a:lnTo>
                    <a:pt x="66" y="157"/>
                  </a:lnTo>
                  <a:lnTo>
                    <a:pt x="78" y="153"/>
                  </a:lnTo>
                  <a:lnTo>
                    <a:pt x="104" y="149"/>
                  </a:lnTo>
                  <a:lnTo>
                    <a:pt x="120" y="145"/>
                  </a:lnTo>
                  <a:lnTo>
                    <a:pt x="138" y="138"/>
                  </a:lnTo>
                  <a:lnTo>
                    <a:pt x="157" y="132"/>
                  </a:lnTo>
                  <a:lnTo>
                    <a:pt x="173" y="125"/>
                  </a:lnTo>
                  <a:lnTo>
                    <a:pt x="189" y="117"/>
                  </a:lnTo>
                  <a:lnTo>
                    <a:pt x="197" y="112"/>
                  </a:lnTo>
                  <a:lnTo>
                    <a:pt x="202" y="106"/>
                  </a:lnTo>
                  <a:lnTo>
                    <a:pt x="209" y="101"/>
                  </a:lnTo>
                  <a:lnTo>
                    <a:pt x="213" y="94"/>
                  </a:lnTo>
                  <a:lnTo>
                    <a:pt x="217" y="88"/>
                  </a:lnTo>
                  <a:lnTo>
                    <a:pt x="220" y="80"/>
                  </a:lnTo>
                  <a:lnTo>
                    <a:pt x="222" y="70"/>
                  </a:lnTo>
                  <a:lnTo>
                    <a:pt x="222" y="61"/>
                  </a:lnTo>
                  <a:lnTo>
                    <a:pt x="222" y="54"/>
                  </a:lnTo>
                  <a:lnTo>
                    <a:pt x="221" y="49"/>
                  </a:lnTo>
                  <a:lnTo>
                    <a:pt x="220" y="42"/>
                  </a:lnTo>
                  <a:lnTo>
                    <a:pt x="217" y="37"/>
                  </a:lnTo>
                  <a:lnTo>
                    <a:pt x="212" y="29"/>
                  </a:lnTo>
                  <a:lnTo>
                    <a:pt x="204" y="21"/>
                  </a:lnTo>
                  <a:lnTo>
                    <a:pt x="194" y="14"/>
                  </a:lnTo>
                  <a:lnTo>
                    <a:pt x="184" y="10"/>
                  </a:lnTo>
                  <a:lnTo>
                    <a:pt x="170" y="6"/>
                  </a:lnTo>
                  <a:lnTo>
                    <a:pt x="158" y="4"/>
                  </a:lnTo>
                  <a:lnTo>
                    <a:pt x="129" y="1"/>
                  </a:lnTo>
                  <a:lnTo>
                    <a:pt x="101" y="0"/>
                  </a:lnTo>
                  <a:lnTo>
                    <a:pt x="73" y="1"/>
                  </a:lnTo>
                  <a:lnTo>
                    <a:pt x="48" y="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0" name="Freeform 101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2540000" y="2774950"/>
              <a:ext cx="1106488" cy="593725"/>
            </a:xfrm>
            <a:custGeom>
              <a:avLst/>
              <a:gdLst/>
              <a:ahLst/>
              <a:cxnLst>
                <a:cxn ang="0">
                  <a:pos x="1446" y="1419"/>
                </a:cxn>
                <a:cxn ang="0">
                  <a:pos x="1531" y="1168"/>
                </a:cxn>
                <a:cxn ang="0">
                  <a:pos x="1639" y="1014"/>
                </a:cxn>
                <a:cxn ang="0">
                  <a:pos x="1720" y="863"/>
                </a:cxn>
                <a:cxn ang="0">
                  <a:pos x="1800" y="875"/>
                </a:cxn>
                <a:cxn ang="0">
                  <a:pos x="1900" y="845"/>
                </a:cxn>
                <a:cxn ang="0">
                  <a:pos x="2073" y="743"/>
                </a:cxn>
                <a:cxn ang="0">
                  <a:pos x="2344" y="607"/>
                </a:cxn>
                <a:cxn ang="0">
                  <a:pos x="2537" y="490"/>
                </a:cxn>
                <a:cxn ang="0">
                  <a:pos x="2555" y="408"/>
                </a:cxn>
                <a:cxn ang="0">
                  <a:pos x="2517" y="338"/>
                </a:cxn>
                <a:cxn ang="0">
                  <a:pos x="2568" y="264"/>
                </a:cxn>
                <a:cxn ang="0">
                  <a:pos x="2444" y="281"/>
                </a:cxn>
                <a:cxn ang="0">
                  <a:pos x="2201" y="445"/>
                </a:cxn>
                <a:cxn ang="0">
                  <a:pos x="1834" y="332"/>
                </a:cxn>
                <a:cxn ang="0">
                  <a:pos x="1380" y="46"/>
                </a:cxn>
                <a:cxn ang="0">
                  <a:pos x="1291" y="0"/>
                </a:cxn>
                <a:cxn ang="0">
                  <a:pos x="1063" y="40"/>
                </a:cxn>
                <a:cxn ang="0">
                  <a:pos x="878" y="80"/>
                </a:cxn>
                <a:cxn ang="0">
                  <a:pos x="789" y="214"/>
                </a:cxn>
                <a:cxn ang="0">
                  <a:pos x="827" y="260"/>
                </a:cxn>
                <a:cxn ang="0">
                  <a:pos x="841" y="433"/>
                </a:cxn>
                <a:cxn ang="0">
                  <a:pos x="785" y="449"/>
                </a:cxn>
                <a:cxn ang="0">
                  <a:pos x="719" y="412"/>
                </a:cxn>
                <a:cxn ang="0">
                  <a:pos x="686" y="384"/>
                </a:cxn>
                <a:cxn ang="0">
                  <a:pos x="582" y="373"/>
                </a:cxn>
                <a:cxn ang="0">
                  <a:pos x="393" y="248"/>
                </a:cxn>
                <a:cxn ang="0">
                  <a:pos x="338" y="278"/>
                </a:cxn>
                <a:cxn ang="0">
                  <a:pos x="380" y="401"/>
                </a:cxn>
                <a:cxn ang="0">
                  <a:pos x="352" y="537"/>
                </a:cxn>
                <a:cxn ang="0">
                  <a:pos x="357" y="587"/>
                </a:cxn>
                <a:cxn ang="0">
                  <a:pos x="250" y="661"/>
                </a:cxn>
                <a:cxn ang="0">
                  <a:pos x="234" y="757"/>
                </a:cxn>
                <a:cxn ang="0">
                  <a:pos x="350" y="782"/>
                </a:cxn>
                <a:cxn ang="0">
                  <a:pos x="417" y="729"/>
                </a:cxn>
                <a:cxn ang="0">
                  <a:pos x="488" y="793"/>
                </a:cxn>
                <a:cxn ang="0">
                  <a:pos x="361" y="914"/>
                </a:cxn>
                <a:cxn ang="0">
                  <a:pos x="306" y="970"/>
                </a:cxn>
                <a:cxn ang="0">
                  <a:pos x="308" y="1046"/>
                </a:cxn>
                <a:cxn ang="0">
                  <a:pos x="161" y="1078"/>
                </a:cxn>
                <a:cxn ang="0">
                  <a:pos x="84" y="1155"/>
                </a:cxn>
                <a:cxn ang="0">
                  <a:pos x="17" y="1306"/>
                </a:cxn>
                <a:cxn ang="0">
                  <a:pos x="17" y="1366"/>
                </a:cxn>
                <a:cxn ang="0">
                  <a:pos x="42" y="1511"/>
                </a:cxn>
                <a:cxn ang="0">
                  <a:pos x="106" y="1511"/>
                </a:cxn>
                <a:cxn ang="0">
                  <a:pos x="224" y="1470"/>
                </a:cxn>
                <a:cxn ang="0">
                  <a:pos x="313" y="1464"/>
                </a:cxn>
                <a:cxn ang="0">
                  <a:pos x="349" y="1510"/>
                </a:cxn>
                <a:cxn ang="0">
                  <a:pos x="414" y="1474"/>
                </a:cxn>
                <a:cxn ang="0">
                  <a:pos x="474" y="1451"/>
                </a:cxn>
                <a:cxn ang="0">
                  <a:pos x="464" y="1351"/>
                </a:cxn>
                <a:cxn ang="0">
                  <a:pos x="526" y="1352"/>
                </a:cxn>
                <a:cxn ang="0">
                  <a:pos x="655" y="1388"/>
                </a:cxn>
                <a:cxn ang="0">
                  <a:pos x="685" y="1443"/>
                </a:cxn>
                <a:cxn ang="0">
                  <a:pos x="771" y="1503"/>
                </a:cxn>
                <a:cxn ang="0">
                  <a:pos x="994" y="1502"/>
                </a:cxn>
                <a:cxn ang="0">
                  <a:pos x="1097" y="1498"/>
                </a:cxn>
                <a:cxn ang="0">
                  <a:pos x="1296" y="1584"/>
                </a:cxn>
              </a:cxnLst>
              <a:rect l="0" t="0" r="r" b="b"/>
              <a:pathLst>
                <a:path w="2577" h="1584">
                  <a:moveTo>
                    <a:pt x="1396" y="1503"/>
                  </a:moveTo>
                  <a:lnTo>
                    <a:pt x="1398" y="1496"/>
                  </a:lnTo>
                  <a:lnTo>
                    <a:pt x="1399" y="1490"/>
                  </a:lnTo>
                  <a:lnTo>
                    <a:pt x="1400" y="1484"/>
                  </a:lnTo>
                  <a:lnTo>
                    <a:pt x="1403" y="1478"/>
                  </a:lnTo>
                  <a:lnTo>
                    <a:pt x="1411" y="1464"/>
                  </a:lnTo>
                  <a:lnTo>
                    <a:pt x="1419" y="1452"/>
                  </a:lnTo>
                  <a:lnTo>
                    <a:pt x="1428" y="1442"/>
                  </a:lnTo>
                  <a:lnTo>
                    <a:pt x="1438" y="1430"/>
                  </a:lnTo>
                  <a:lnTo>
                    <a:pt x="1446" y="1419"/>
                  </a:lnTo>
                  <a:lnTo>
                    <a:pt x="1451" y="1407"/>
                  </a:lnTo>
                  <a:lnTo>
                    <a:pt x="1463" y="1371"/>
                  </a:lnTo>
                  <a:lnTo>
                    <a:pt x="1472" y="1338"/>
                  </a:lnTo>
                  <a:lnTo>
                    <a:pt x="1479" y="1304"/>
                  </a:lnTo>
                  <a:lnTo>
                    <a:pt x="1487" y="1271"/>
                  </a:lnTo>
                  <a:lnTo>
                    <a:pt x="1496" y="1240"/>
                  </a:lnTo>
                  <a:lnTo>
                    <a:pt x="1507" y="1211"/>
                  </a:lnTo>
                  <a:lnTo>
                    <a:pt x="1514" y="1196"/>
                  </a:lnTo>
                  <a:lnTo>
                    <a:pt x="1522" y="1182"/>
                  </a:lnTo>
                  <a:lnTo>
                    <a:pt x="1531" y="1168"/>
                  </a:lnTo>
                  <a:lnTo>
                    <a:pt x="1542" y="1154"/>
                  </a:lnTo>
                  <a:lnTo>
                    <a:pt x="1563" y="1130"/>
                  </a:lnTo>
                  <a:lnTo>
                    <a:pt x="1594" y="1101"/>
                  </a:lnTo>
                  <a:lnTo>
                    <a:pt x="1608" y="1085"/>
                  </a:lnTo>
                  <a:lnTo>
                    <a:pt x="1620" y="1070"/>
                  </a:lnTo>
                  <a:lnTo>
                    <a:pt x="1624" y="1063"/>
                  </a:lnTo>
                  <a:lnTo>
                    <a:pt x="1628" y="1057"/>
                  </a:lnTo>
                  <a:lnTo>
                    <a:pt x="1631" y="1051"/>
                  </a:lnTo>
                  <a:lnTo>
                    <a:pt x="1631" y="1046"/>
                  </a:lnTo>
                  <a:lnTo>
                    <a:pt x="1639" y="1014"/>
                  </a:lnTo>
                  <a:lnTo>
                    <a:pt x="1647" y="981"/>
                  </a:lnTo>
                  <a:lnTo>
                    <a:pt x="1652" y="963"/>
                  </a:lnTo>
                  <a:lnTo>
                    <a:pt x="1658" y="947"/>
                  </a:lnTo>
                  <a:lnTo>
                    <a:pt x="1664" y="933"/>
                  </a:lnTo>
                  <a:lnTo>
                    <a:pt x="1671" y="918"/>
                  </a:lnTo>
                  <a:lnTo>
                    <a:pt x="1679" y="905"/>
                  </a:lnTo>
                  <a:lnTo>
                    <a:pt x="1687" y="891"/>
                  </a:lnTo>
                  <a:lnTo>
                    <a:pt x="1698" y="881"/>
                  </a:lnTo>
                  <a:lnTo>
                    <a:pt x="1708" y="871"/>
                  </a:lnTo>
                  <a:lnTo>
                    <a:pt x="1720" y="863"/>
                  </a:lnTo>
                  <a:lnTo>
                    <a:pt x="1734" y="858"/>
                  </a:lnTo>
                  <a:lnTo>
                    <a:pt x="1748" y="854"/>
                  </a:lnTo>
                  <a:lnTo>
                    <a:pt x="1764" y="853"/>
                  </a:lnTo>
                  <a:lnTo>
                    <a:pt x="1771" y="853"/>
                  </a:lnTo>
                  <a:lnTo>
                    <a:pt x="1775" y="853"/>
                  </a:lnTo>
                  <a:lnTo>
                    <a:pt x="1782" y="853"/>
                  </a:lnTo>
                  <a:lnTo>
                    <a:pt x="1794" y="853"/>
                  </a:lnTo>
                  <a:lnTo>
                    <a:pt x="1795" y="861"/>
                  </a:lnTo>
                  <a:lnTo>
                    <a:pt x="1798" y="870"/>
                  </a:lnTo>
                  <a:lnTo>
                    <a:pt x="1800" y="875"/>
                  </a:lnTo>
                  <a:lnTo>
                    <a:pt x="1802" y="879"/>
                  </a:lnTo>
                  <a:lnTo>
                    <a:pt x="1804" y="882"/>
                  </a:lnTo>
                  <a:lnTo>
                    <a:pt x="1806" y="883"/>
                  </a:lnTo>
                  <a:lnTo>
                    <a:pt x="1823" y="882"/>
                  </a:lnTo>
                  <a:lnTo>
                    <a:pt x="1838" y="879"/>
                  </a:lnTo>
                  <a:lnTo>
                    <a:pt x="1851" y="875"/>
                  </a:lnTo>
                  <a:lnTo>
                    <a:pt x="1864" y="869"/>
                  </a:lnTo>
                  <a:lnTo>
                    <a:pt x="1878" y="862"/>
                  </a:lnTo>
                  <a:lnTo>
                    <a:pt x="1888" y="854"/>
                  </a:lnTo>
                  <a:lnTo>
                    <a:pt x="1900" y="845"/>
                  </a:lnTo>
                  <a:lnTo>
                    <a:pt x="1912" y="835"/>
                  </a:lnTo>
                  <a:lnTo>
                    <a:pt x="1935" y="815"/>
                  </a:lnTo>
                  <a:lnTo>
                    <a:pt x="1959" y="797"/>
                  </a:lnTo>
                  <a:lnTo>
                    <a:pt x="1972" y="789"/>
                  </a:lnTo>
                  <a:lnTo>
                    <a:pt x="1986" y="781"/>
                  </a:lnTo>
                  <a:lnTo>
                    <a:pt x="2000" y="774"/>
                  </a:lnTo>
                  <a:lnTo>
                    <a:pt x="2017" y="769"/>
                  </a:lnTo>
                  <a:lnTo>
                    <a:pt x="2036" y="761"/>
                  </a:lnTo>
                  <a:lnTo>
                    <a:pt x="2056" y="751"/>
                  </a:lnTo>
                  <a:lnTo>
                    <a:pt x="2073" y="743"/>
                  </a:lnTo>
                  <a:lnTo>
                    <a:pt x="2091" y="734"/>
                  </a:lnTo>
                  <a:lnTo>
                    <a:pt x="2124" y="714"/>
                  </a:lnTo>
                  <a:lnTo>
                    <a:pt x="2157" y="694"/>
                  </a:lnTo>
                  <a:lnTo>
                    <a:pt x="2192" y="673"/>
                  </a:lnTo>
                  <a:lnTo>
                    <a:pt x="2228" y="654"/>
                  </a:lnTo>
                  <a:lnTo>
                    <a:pt x="2247" y="645"/>
                  </a:lnTo>
                  <a:lnTo>
                    <a:pt x="2268" y="635"/>
                  </a:lnTo>
                  <a:lnTo>
                    <a:pt x="2289" y="626"/>
                  </a:lnTo>
                  <a:lnTo>
                    <a:pt x="2312" y="618"/>
                  </a:lnTo>
                  <a:lnTo>
                    <a:pt x="2344" y="607"/>
                  </a:lnTo>
                  <a:lnTo>
                    <a:pt x="2381" y="593"/>
                  </a:lnTo>
                  <a:lnTo>
                    <a:pt x="2401" y="585"/>
                  </a:lnTo>
                  <a:lnTo>
                    <a:pt x="2421" y="575"/>
                  </a:lnTo>
                  <a:lnTo>
                    <a:pt x="2443" y="565"/>
                  </a:lnTo>
                  <a:lnTo>
                    <a:pt x="2463" y="554"/>
                  </a:lnTo>
                  <a:lnTo>
                    <a:pt x="2481" y="541"/>
                  </a:lnTo>
                  <a:lnTo>
                    <a:pt x="2500" y="528"/>
                  </a:lnTo>
                  <a:lnTo>
                    <a:pt x="2516" y="514"/>
                  </a:lnTo>
                  <a:lnTo>
                    <a:pt x="2531" y="498"/>
                  </a:lnTo>
                  <a:lnTo>
                    <a:pt x="2537" y="490"/>
                  </a:lnTo>
                  <a:lnTo>
                    <a:pt x="2543" y="482"/>
                  </a:lnTo>
                  <a:lnTo>
                    <a:pt x="2547" y="473"/>
                  </a:lnTo>
                  <a:lnTo>
                    <a:pt x="2552" y="464"/>
                  </a:lnTo>
                  <a:lnTo>
                    <a:pt x="2555" y="456"/>
                  </a:lnTo>
                  <a:lnTo>
                    <a:pt x="2557" y="445"/>
                  </a:lnTo>
                  <a:lnTo>
                    <a:pt x="2559" y="436"/>
                  </a:lnTo>
                  <a:lnTo>
                    <a:pt x="2559" y="426"/>
                  </a:lnTo>
                  <a:lnTo>
                    <a:pt x="2559" y="420"/>
                  </a:lnTo>
                  <a:lnTo>
                    <a:pt x="2557" y="413"/>
                  </a:lnTo>
                  <a:lnTo>
                    <a:pt x="2555" y="408"/>
                  </a:lnTo>
                  <a:lnTo>
                    <a:pt x="2552" y="401"/>
                  </a:lnTo>
                  <a:lnTo>
                    <a:pt x="2545" y="392"/>
                  </a:lnTo>
                  <a:lnTo>
                    <a:pt x="2537" y="382"/>
                  </a:lnTo>
                  <a:lnTo>
                    <a:pt x="2531" y="373"/>
                  </a:lnTo>
                  <a:lnTo>
                    <a:pt x="2524" y="365"/>
                  </a:lnTo>
                  <a:lnTo>
                    <a:pt x="2521" y="361"/>
                  </a:lnTo>
                  <a:lnTo>
                    <a:pt x="2519" y="356"/>
                  </a:lnTo>
                  <a:lnTo>
                    <a:pt x="2517" y="352"/>
                  </a:lnTo>
                  <a:lnTo>
                    <a:pt x="2517" y="348"/>
                  </a:lnTo>
                  <a:lnTo>
                    <a:pt x="2517" y="338"/>
                  </a:lnTo>
                  <a:lnTo>
                    <a:pt x="2519" y="332"/>
                  </a:lnTo>
                  <a:lnTo>
                    <a:pt x="2521" y="324"/>
                  </a:lnTo>
                  <a:lnTo>
                    <a:pt x="2524" y="318"/>
                  </a:lnTo>
                  <a:lnTo>
                    <a:pt x="2531" y="308"/>
                  </a:lnTo>
                  <a:lnTo>
                    <a:pt x="2540" y="298"/>
                  </a:lnTo>
                  <a:lnTo>
                    <a:pt x="2548" y="289"/>
                  </a:lnTo>
                  <a:lnTo>
                    <a:pt x="2557" y="280"/>
                  </a:lnTo>
                  <a:lnTo>
                    <a:pt x="2561" y="274"/>
                  </a:lnTo>
                  <a:lnTo>
                    <a:pt x="2565" y="269"/>
                  </a:lnTo>
                  <a:lnTo>
                    <a:pt x="2568" y="264"/>
                  </a:lnTo>
                  <a:lnTo>
                    <a:pt x="2571" y="257"/>
                  </a:lnTo>
                  <a:lnTo>
                    <a:pt x="2577" y="245"/>
                  </a:lnTo>
                  <a:lnTo>
                    <a:pt x="2559" y="246"/>
                  </a:lnTo>
                  <a:lnTo>
                    <a:pt x="2540" y="248"/>
                  </a:lnTo>
                  <a:lnTo>
                    <a:pt x="2523" y="250"/>
                  </a:lnTo>
                  <a:lnTo>
                    <a:pt x="2505" y="256"/>
                  </a:lnTo>
                  <a:lnTo>
                    <a:pt x="2489" y="261"/>
                  </a:lnTo>
                  <a:lnTo>
                    <a:pt x="2475" y="266"/>
                  </a:lnTo>
                  <a:lnTo>
                    <a:pt x="2459" y="273"/>
                  </a:lnTo>
                  <a:lnTo>
                    <a:pt x="2444" y="281"/>
                  </a:lnTo>
                  <a:lnTo>
                    <a:pt x="2416" y="298"/>
                  </a:lnTo>
                  <a:lnTo>
                    <a:pt x="2389" y="318"/>
                  </a:lnTo>
                  <a:lnTo>
                    <a:pt x="2363" y="338"/>
                  </a:lnTo>
                  <a:lnTo>
                    <a:pt x="2337" y="360"/>
                  </a:lnTo>
                  <a:lnTo>
                    <a:pt x="2311" y="380"/>
                  </a:lnTo>
                  <a:lnTo>
                    <a:pt x="2285" y="400"/>
                  </a:lnTo>
                  <a:lnTo>
                    <a:pt x="2259" y="417"/>
                  </a:lnTo>
                  <a:lnTo>
                    <a:pt x="2231" y="433"/>
                  </a:lnTo>
                  <a:lnTo>
                    <a:pt x="2216" y="440"/>
                  </a:lnTo>
                  <a:lnTo>
                    <a:pt x="2201" y="445"/>
                  </a:lnTo>
                  <a:lnTo>
                    <a:pt x="2187" y="450"/>
                  </a:lnTo>
                  <a:lnTo>
                    <a:pt x="2171" y="454"/>
                  </a:lnTo>
                  <a:lnTo>
                    <a:pt x="2153" y="456"/>
                  </a:lnTo>
                  <a:lnTo>
                    <a:pt x="2137" y="457"/>
                  </a:lnTo>
                  <a:lnTo>
                    <a:pt x="2120" y="457"/>
                  </a:lnTo>
                  <a:lnTo>
                    <a:pt x="2101" y="456"/>
                  </a:lnTo>
                  <a:lnTo>
                    <a:pt x="2071" y="442"/>
                  </a:lnTo>
                  <a:lnTo>
                    <a:pt x="2011" y="416"/>
                  </a:lnTo>
                  <a:lnTo>
                    <a:pt x="1928" y="377"/>
                  </a:lnTo>
                  <a:lnTo>
                    <a:pt x="1834" y="332"/>
                  </a:lnTo>
                  <a:lnTo>
                    <a:pt x="1734" y="282"/>
                  </a:lnTo>
                  <a:lnTo>
                    <a:pt x="1636" y="233"/>
                  </a:lnTo>
                  <a:lnTo>
                    <a:pt x="1550" y="188"/>
                  </a:lnTo>
                  <a:lnTo>
                    <a:pt x="1482" y="149"/>
                  </a:lnTo>
                  <a:lnTo>
                    <a:pt x="1467" y="138"/>
                  </a:lnTo>
                  <a:lnTo>
                    <a:pt x="1454" y="128"/>
                  </a:lnTo>
                  <a:lnTo>
                    <a:pt x="1440" y="114"/>
                  </a:lnTo>
                  <a:lnTo>
                    <a:pt x="1428" y="101"/>
                  </a:lnTo>
                  <a:lnTo>
                    <a:pt x="1404" y="74"/>
                  </a:lnTo>
                  <a:lnTo>
                    <a:pt x="1380" y="46"/>
                  </a:lnTo>
                  <a:lnTo>
                    <a:pt x="1370" y="34"/>
                  </a:lnTo>
                  <a:lnTo>
                    <a:pt x="1358" y="24"/>
                  </a:lnTo>
                  <a:lnTo>
                    <a:pt x="1346" y="14"/>
                  </a:lnTo>
                  <a:lnTo>
                    <a:pt x="1332" y="8"/>
                  </a:lnTo>
                  <a:lnTo>
                    <a:pt x="1326" y="5"/>
                  </a:lnTo>
                  <a:lnTo>
                    <a:pt x="1320" y="2"/>
                  </a:lnTo>
                  <a:lnTo>
                    <a:pt x="1312" y="1"/>
                  </a:lnTo>
                  <a:lnTo>
                    <a:pt x="1306" y="0"/>
                  </a:lnTo>
                  <a:lnTo>
                    <a:pt x="1299" y="0"/>
                  </a:lnTo>
                  <a:lnTo>
                    <a:pt x="1291" y="0"/>
                  </a:lnTo>
                  <a:lnTo>
                    <a:pt x="1284" y="2"/>
                  </a:lnTo>
                  <a:lnTo>
                    <a:pt x="1276" y="4"/>
                  </a:lnTo>
                  <a:lnTo>
                    <a:pt x="1259" y="10"/>
                  </a:lnTo>
                  <a:lnTo>
                    <a:pt x="1242" y="16"/>
                  </a:lnTo>
                  <a:lnTo>
                    <a:pt x="1226" y="21"/>
                  </a:lnTo>
                  <a:lnTo>
                    <a:pt x="1209" y="25"/>
                  </a:lnTo>
                  <a:lnTo>
                    <a:pt x="1174" y="32"/>
                  </a:lnTo>
                  <a:lnTo>
                    <a:pt x="1138" y="36"/>
                  </a:lnTo>
                  <a:lnTo>
                    <a:pt x="1101" y="38"/>
                  </a:lnTo>
                  <a:lnTo>
                    <a:pt x="1063" y="40"/>
                  </a:lnTo>
                  <a:lnTo>
                    <a:pt x="1023" y="40"/>
                  </a:lnTo>
                  <a:lnTo>
                    <a:pt x="982" y="40"/>
                  </a:lnTo>
                  <a:lnTo>
                    <a:pt x="961" y="40"/>
                  </a:lnTo>
                  <a:lnTo>
                    <a:pt x="943" y="37"/>
                  </a:lnTo>
                  <a:lnTo>
                    <a:pt x="926" y="33"/>
                  </a:lnTo>
                  <a:lnTo>
                    <a:pt x="909" y="28"/>
                  </a:lnTo>
                  <a:lnTo>
                    <a:pt x="903" y="42"/>
                  </a:lnTo>
                  <a:lnTo>
                    <a:pt x="895" y="56"/>
                  </a:lnTo>
                  <a:lnTo>
                    <a:pt x="887" y="68"/>
                  </a:lnTo>
                  <a:lnTo>
                    <a:pt x="878" y="80"/>
                  </a:lnTo>
                  <a:lnTo>
                    <a:pt x="858" y="101"/>
                  </a:lnTo>
                  <a:lnTo>
                    <a:pt x="838" y="121"/>
                  </a:lnTo>
                  <a:lnTo>
                    <a:pt x="827" y="132"/>
                  </a:lnTo>
                  <a:lnTo>
                    <a:pt x="819" y="142"/>
                  </a:lnTo>
                  <a:lnTo>
                    <a:pt x="810" y="153"/>
                  </a:lnTo>
                  <a:lnTo>
                    <a:pt x="803" y="164"/>
                  </a:lnTo>
                  <a:lnTo>
                    <a:pt x="797" y="176"/>
                  </a:lnTo>
                  <a:lnTo>
                    <a:pt x="793" y="188"/>
                  </a:lnTo>
                  <a:lnTo>
                    <a:pt x="790" y="201"/>
                  </a:lnTo>
                  <a:lnTo>
                    <a:pt x="789" y="214"/>
                  </a:lnTo>
                  <a:lnTo>
                    <a:pt x="789" y="224"/>
                  </a:lnTo>
                  <a:lnTo>
                    <a:pt x="790" y="230"/>
                  </a:lnTo>
                  <a:lnTo>
                    <a:pt x="791" y="236"/>
                  </a:lnTo>
                  <a:lnTo>
                    <a:pt x="794" y="240"/>
                  </a:lnTo>
                  <a:lnTo>
                    <a:pt x="801" y="245"/>
                  </a:lnTo>
                  <a:lnTo>
                    <a:pt x="807" y="249"/>
                  </a:lnTo>
                  <a:lnTo>
                    <a:pt x="815" y="252"/>
                  </a:lnTo>
                  <a:lnTo>
                    <a:pt x="822" y="254"/>
                  </a:lnTo>
                  <a:lnTo>
                    <a:pt x="825" y="257"/>
                  </a:lnTo>
                  <a:lnTo>
                    <a:pt x="827" y="260"/>
                  </a:lnTo>
                  <a:lnTo>
                    <a:pt x="829" y="264"/>
                  </a:lnTo>
                  <a:lnTo>
                    <a:pt x="831" y="269"/>
                  </a:lnTo>
                  <a:lnTo>
                    <a:pt x="837" y="289"/>
                  </a:lnTo>
                  <a:lnTo>
                    <a:pt x="841" y="309"/>
                  </a:lnTo>
                  <a:lnTo>
                    <a:pt x="842" y="328"/>
                  </a:lnTo>
                  <a:lnTo>
                    <a:pt x="843" y="346"/>
                  </a:lnTo>
                  <a:lnTo>
                    <a:pt x="843" y="381"/>
                  </a:lnTo>
                  <a:lnTo>
                    <a:pt x="843" y="414"/>
                  </a:lnTo>
                  <a:lnTo>
                    <a:pt x="842" y="424"/>
                  </a:lnTo>
                  <a:lnTo>
                    <a:pt x="841" y="433"/>
                  </a:lnTo>
                  <a:lnTo>
                    <a:pt x="838" y="440"/>
                  </a:lnTo>
                  <a:lnTo>
                    <a:pt x="834" y="446"/>
                  </a:lnTo>
                  <a:lnTo>
                    <a:pt x="830" y="450"/>
                  </a:lnTo>
                  <a:lnTo>
                    <a:pt x="825" y="453"/>
                  </a:lnTo>
                  <a:lnTo>
                    <a:pt x="819" y="456"/>
                  </a:lnTo>
                  <a:lnTo>
                    <a:pt x="813" y="456"/>
                  </a:lnTo>
                  <a:lnTo>
                    <a:pt x="805" y="456"/>
                  </a:lnTo>
                  <a:lnTo>
                    <a:pt x="797" y="454"/>
                  </a:lnTo>
                  <a:lnTo>
                    <a:pt x="790" y="452"/>
                  </a:lnTo>
                  <a:lnTo>
                    <a:pt x="785" y="449"/>
                  </a:lnTo>
                  <a:lnTo>
                    <a:pt x="779" y="445"/>
                  </a:lnTo>
                  <a:lnTo>
                    <a:pt x="775" y="441"/>
                  </a:lnTo>
                  <a:lnTo>
                    <a:pt x="771" y="437"/>
                  </a:lnTo>
                  <a:lnTo>
                    <a:pt x="767" y="432"/>
                  </a:lnTo>
                  <a:lnTo>
                    <a:pt x="755" y="410"/>
                  </a:lnTo>
                  <a:lnTo>
                    <a:pt x="741" y="389"/>
                  </a:lnTo>
                  <a:lnTo>
                    <a:pt x="735" y="398"/>
                  </a:lnTo>
                  <a:lnTo>
                    <a:pt x="727" y="406"/>
                  </a:lnTo>
                  <a:lnTo>
                    <a:pt x="723" y="409"/>
                  </a:lnTo>
                  <a:lnTo>
                    <a:pt x="719" y="412"/>
                  </a:lnTo>
                  <a:lnTo>
                    <a:pt x="715" y="413"/>
                  </a:lnTo>
                  <a:lnTo>
                    <a:pt x="710" y="414"/>
                  </a:lnTo>
                  <a:lnTo>
                    <a:pt x="706" y="413"/>
                  </a:lnTo>
                  <a:lnTo>
                    <a:pt x="702" y="410"/>
                  </a:lnTo>
                  <a:lnTo>
                    <a:pt x="698" y="408"/>
                  </a:lnTo>
                  <a:lnTo>
                    <a:pt x="694" y="404"/>
                  </a:lnTo>
                  <a:lnTo>
                    <a:pt x="690" y="398"/>
                  </a:lnTo>
                  <a:lnTo>
                    <a:pt x="689" y="393"/>
                  </a:lnTo>
                  <a:lnTo>
                    <a:pt x="687" y="389"/>
                  </a:lnTo>
                  <a:lnTo>
                    <a:pt x="686" y="384"/>
                  </a:lnTo>
                  <a:lnTo>
                    <a:pt x="666" y="384"/>
                  </a:lnTo>
                  <a:lnTo>
                    <a:pt x="651" y="384"/>
                  </a:lnTo>
                  <a:lnTo>
                    <a:pt x="639" y="384"/>
                  </a:lnTo>
                  <a:lnTo>
                    <a:pt x="626" y="384"/>
                  </a:lnTo>
                  <a:lnTo>
                    <a:pt x="615" y="384"/>
                  </a:lnTo>
                  <a:lnTo>
                    <a:pt x="606" y="382"/>
                  </a:lnTo>
                  <a:lnTo>
                    <a:pt x="599" y="381"/>
                  </a:lnTo>
                  <a:lnTo>
                    <a:pt x="593" y="378"/>
                  </a:lnTo>
                  <a:lnTo>
                    <a:pt x="587" y="376"/>
                  </a:lnTo>
                  <a:lnTo>
                    <a:pt x="582" y="373"/>
                  </a:lnTo>
                  <a:lnTo>
                    <a:pt x="579" y="369"/>
                  </a:lnTo>
                  <a:lnTo>
                    <a:pt x="575" y="365"/>
                  </a:lnTo>
                  <a:lnTo>
                    <a:pt x="565" y="345"/>
                  </a:lnTo>
                  <a:lnTo>
                    <a:pt x="547" y="324"/>
                  </a:lnTo>
                  <a:lnTo>
                    <a:pt x="521" y="306"/>
                  </a:lnTo>
                  <a:lnTo>
                    <a:pt x="495" y="292"/>
                  </a:lnTo>
                  <a:lnTo>
                    <a:pt x="470" y="280"/>
                  </a:lnTo>
                  <a:lnTo>
                    <a:pt x="445" y="269"/>
                  </a:lnTo>
                  <a:lnTo>
                    <a:pt x="420" y="258"/>
                  </a:lnTo>
                  <a:lnTo>
                    <a:pt x="393" y="248"/>
                  </a:lnTo>
                  <a:lnTo>
                    <a:pt x="366" y="238"/>
                  </a:lnTo>
                  <a:lnTo>
                    <a:pt x="337" y="226"/>
                  </a:lnTo>
                  <a:lnTo>
                    <a:pt x="333" y="233"/>
                  </a:lnTo>
                  <a:lnTo>
                    <a:pt x="332" y="237"/>
                  </a:lnTo>
                  <a:lnTo>
                    <a:pt x="332" y="240"/>
                  </a:lnTo>
                  <a:lnTo>
                    <a:pt x="333" y="242"/>
                  </a:lnTo>
                  <a:lnTo>
                    <a:pt x="336" y="250"/>
                  </a:lnTo>
                  <a:lnTo>
                    <a:pt x="337" y="264"/>
                  </a:lnTo>
                  <a:lnTo>
                    <a:pt x="337" y="270"/>
                  </a:lnTo>
                  <a:lnTo>
                    <a:pt x="338" y="278"/>
                  </a:lnTo>
                  <a:lnTo>
                    <a:pt x="341" y="286"/>
                  </a:lnTo>
                  <a:lnTo>
                    <a:pt x="344" y="293"/>
                  </a:lnTo>
                  <a:lnTo>
                    <a:pt x="350" y="308"/>
                  </a:lnTo>
                  <a:lnTo>
                    <a:pt x="358" y="324"/>
                  </a:lnTo>
                  <a:lnTo>
                    <a:pt x="366" y="340"/>
                  </a:lnTo>
                  <a:lnTo>
                    <a:pt x="373" y="358"/>
                  </a:lnTo>
                  <a:lnTo>
                    <a:pt x="376" y="368"/>
                  </a:lnTo>
                  <a:lnTo>
                    <a:pt x="377" y="378"/>
                  </a:lnTo>
                  <a:lnTo>
                    <a:pt x="378" y="389"/>
                  </a:lnTo>
                  <a:lnTo>
                    <a:pt x="380" y="401"/>
                  </a:lnTo>
                  <a:lnTo>
                    <a:pt x="378" y="421"/>
                  </a:lnTo>
                  <a:lnTo>
                    <a:pt x="374" y="437"/>
                  </a:lnTo>
                  <a:lnTo>
                    <a:pt x="370" y="450"/>
                  </a:lnTo>
                  <a:lnTo>
                    <a:pt x="364" y="464"/>
                  </a:lnTo>
                  <a:lnTo>
                    <a:pt x="358" y="477"/>
                  </a:lnTo>
                  <a:lnTo>
                    <a:pt x="354" y="490"/>
                  </a:lnTo>
                  <a:lnTo>
                    <a:pt x="350" y="505"/>
                  </a:lnTo>
                  <a:lnTo>
                    <a:pt x="349" y="522"/>
                  </a:lnTo>
                  <a:lnTo>
                    <a:pt x="350" y="530"/>
                  </a:lnTo>
                  <a:lnTo>
                    <a:pt x="352" y="537"/>
                  </a:lnTo>
                  <a:lnTo>
                    <a:pt x="354" y="543"/>
                  </a:lnTo>
                  <a:lnTo>
                    <a:pt x="358" y="549"/>
                  </a:lnTo>
                  <a:lnTo>
                    <a:pt x="361" y="553"/>
                  </a:lnTo>
                  <a:lnTo>
                    <a:pt x="365" y="558"/>
                  </a:lnTo>
                  <a:lnTo>
                    <a:pt x="366" y="563"/>
                  </a:lnTo>
                  <a:lnTo>
                    <a:pt x="368" y="570"/>
                  </a:lnTo>
                  <a:lnTo>
                    <a:pt x="366" y="575"/>
                  </a:lnTo>
                  <a:lnTo>
                    <a:pt x="365" y="579"/>
                  </a:lnTo>
                  <a:lnTo>
                    <a:pt x="361" y="585"/>
                  </a:lnTo>
                  <a:lnTo>
                    <a:pt x="357" y="587"/>
                  </a:lnTo>
                  <a:lnTo>
                    <a:pt x="348" y="593"/>
                  </a:lnTo>
                  <a:lnTo>
                    <a:pt x="336" y="597"/>
                  </a:lnTo>
                  <a:lnTo>
                    <a:pt x="312" y="602"/>
                  </a:lnTo>
                  <a:lnTo>
                    <a:pt x="294" y="606"/>
                  </a:lnTo>
                  <a:lnTo>
                    <a:pt x="290" y="609"/>
                  </a:lnTo>
                  <a:lnTo>
                    <a:pt x="285" y="614"/>
                  </a:lnTo>
                  <a:lnTo>
                    <a:pt x="280" y="619"/>
                  </a:lnTo>
                  <a:lnTo>
                    <a:pt x="273" y="626"/>
                  </a:lnTo>
                  <a:lnTo>
                    <a:pt x="261" y="642"/>
                  </a:lnTo>
                  <a:lnTo>
                    <a:pt x="250" y="661"/>
                  </a:lnTo>
                  <a:lnTo>
                    <a:pt x="240" y="682"/>
                  </a:lnTo>
                  <a:lnTo>
                    <a:pt x="230" y="702"/>
                  </a:lnTo>
                  <a:lnTo>
                    <a:pt x="228" y="711"/>
                  </a:lnTo>
                  <a:lnTo>
                    <a:pt x="225" y="722"/>
                  </a:lnTo>
                  <a:lnTo>
                    <a:pt x="224" y="730"/>
                  </a:lnTo>
                  <a:lnTo>
                    <a:pt x="222" y="739"/>
                  </a:lnTo>
                  <a:lnTo>
                    <a:pt x="224" y="743"/>
                  </a:lnTo>
                  <a:lnTo>
                    <a:pt x="226" y="747"/>
                  </a:lnTo>
                  <a:lnTo>
                    <a:pt x="229" y="753"/>
                  </a:lnTo>
                  <a:lnTo>
                    <a:pt x="234" y="757"/>
                  </a:lnTo>
                  <a:lnTo>
                    <a:pt x="248" y="766"/>
                  </a:lnTo>
                  <a:lnTo>
                    <a:pt x="264" y="775"/>
                  </a:lnTo>
                  <a:lnTo>
                    <a:pt x="281" y="782"/>
                  </a:lnTo>
                  <a:lnTo>
                    <a:pt x="298" y="787"/>
                  </a:lnTo>
                  <a:lnTo>
                    <a:pt x="316" y="791"/>
                  </a:lnTo>
                  <a:lnTo>
                    <a:pt x="332" y="793"/>
                  </a:lnTo>
                  <a:lnTo>
                    <a:pt x="337" y="793"/>
                  </a:lnTo>
                  <a:lnTo>
                    <a:pt x="341" y="790"/>
                  </a:lnTo>
                  <a:lnTo>
                    <a:pt x="346" y="787"/>
                  </a:lnTo>
                  <a:lnTo>
                    <a:pt x="350" y="782"/>
                  </a:lnTo>
                  <a:lnTo>
                    <a:pt x="358" y="771"/>
                  </a:lnTo>
                  <a:lnTo>
                    <a:pt x="365" y="759"/>
                  </a:lnTo>
                  <a:lnTo>
                    <a:pt x="373" y="747"/>
                  </a:lnTo>
                  <a:lnTo>
                    <a:pt x="381" y="737"/>
                  </a:lnTo>
                  <a:lnTo>
                    <a:pt x="386" y="733"/>
                  </a:lnTo>
                  <a:lnTo>
                    <a:pt x="392" y="730"/>
                  </a:lnTo>
                  <a:lnTo>
                    <a:pt x="397" y="727"/>
                  </a:lnTo>
                  <a:lnTo>
                    <a:pt x="404" y="726"/>
                  </a:lnTo>
                  <a:lnTo>
                    <a:pt x="410" y="727"/>
                  </a:lnTo>
                  <a:lnTo>
                    <a:pt x="417" y="729"/>
                  </a:lnTo>
                  <a:lnTo>
                    <a:pt x="425" y="731"/>
                  </a:lnTo>
                  <a:lnTo>
                    <a:pt x="432" y="734"/>
                  </a:lnTo>
                  <a:lnTo>
                    <a:pt x="446" y="741"/>
                  </a:lnTo>
                  <a:lnTo>
                    <a:pt x="460" y="751"/>
                  </a:lnTo>
                  <a:lnTo>
                    <a:pt x="470" y="762"/>
                  </a:lnTo>
                  <a:lnTo>
                    <a:pt x="480" y="773"/>
                  </a:lnTo>
                  <a:lnTo>
                    <a:pt x="484" y="778"/>
                  </a:lnTo>
                  <a:lnTo>
                    <a:pt x="485" y="783"/>
                  </a:lnTo>
                  <a:lnTo>
                    <a:pt x="488" y="789"/>
                  </a:lnTo>
                  <a:lnTo>
                    <a:pt x="488" y="793"/>
                  </a:lnTo>
                  <a:lnTo>
                    <a:pt x="486" y="798"/>
                  </a:lnTo>
                  <a:lnTo>
                    <a:pt x="484" y="803"/>
                  </a:lnTo>
                  <a:lnTo>
                    <a:pt x="478" y="810"/>
                  </a:lnTo>
                  <a:lnTo>
                    <a:pt x="472" y="818"/>
                  </a:lnTo>
                  <a:lnTo>
                    <a:pt x="454" y="834"/>
                  </a:lnTo>
                  <a:lnTo>
                    <a:pt x="433" y="851"/>
                  </a:lnTo>
                  <a:lnTo>
                    <a:pt x="412" y="869"/>
                  </a:lnTo>
                  <a:lnTo>
                    <a:pt x="392" y="885"/>
                  </a:lnTo>
                  <a:lnTo>
                    <a:pt x="373" y="901"/>
                  </a:lnTo>
                  <a:lnTo>
                    <a:pt x="361" y="914"/>
                  </a:lnTo>
                  <a:lnTo>
                    <a:pt x="356" y="919"/>
                  </a:lnTo>
                  <a:lnTo>
                    <a:pt x="349" y="925"/>
                  </a:lnTo>
                  <a:lnTo>
                    <a:pt x="342" y="930"/>
                  </a:lnTo>
                  <a:lnTo>
                    <a:pt x="334" y="934"/>
                  </a:lnTo>
                  <a:lnTo>
                    <a:pt x="318" y="942"/>
                  </a:lnTo>
                  <a:lnTo>
                    <a:pt x="308" y="950"/>
                  </a:lnTo>
                  <a:lnTo>
                    <a:pt x="305" y="954"/>
                  </a:lnTo>
                  <a:lnTo>
                    <a:pt x="304" y="958"/>
                  </a:lnTo>
                  <a:lnTo>
                    <a:pt x="305" y="963"/>
                  </a:lnTo>
                  <a:lnTo>
                    <a:pt x="306" y="970"/>
                  </a:lnTo>
                  <a:lnTo>
                    <a:pt x="313" y="983"/>
                  </a:lnTo>
                  <a:lnTo>
                    <a:pt x="321" y="998"/>
                  </a:lnTo>
                  <a:lnTo>
                    <a:pt x="324" y="1005"/>
                  </a:lnTo>
                  <a:lnTo>
                    <a:pt x="326" y="1013"/>
                  </a:lnTo>
                  <a:lnTo>
                    <a:pt x="328" y="1019"/>
                  </a:lnTo>
                  <a:lnTo>
                    <a:pt x="328" y="1026"/>
                  </a:lnTo>
                  <a:lnTo>
                    <a:pt x="325" y="1031"/>
                  </a:lnTo>
                  <a:lnTo>
                    <a:pt x="322" y="1037"/>
                  </a:lnTo>
                  <a:lnTo>
                    <a:pt x="316" y="1042"/>
                  </a:lnTo>
                  <a:lnTo>
                    <a:pt x="308" y="1046"/>
                  </a:lnTo>
                  <a:lnTo>
                    <a:pt x="293" y="1053"/>
                  </a:lnTo>
                  <a:lnTo>
                    <a:pt x="277" y="1058"/>
                  </a:lnTo>
                  <a:lnTo>
                    <a:pt x="261" y="1063"/>
                  </a:lnTo>
                  <a:lnTo>
                    <a:pt x="244" y="1067"/>
                  </a:lnTo>
                  <a:lnTo>
                    <a:pt x="226" y="1071"/>
                  </a:lnTo>
                  <a:lnTo>
                    <a:pt x="210" y="1074"/>
                  </a:lnTo>
                  <a:lnTo>
                    <a:pt x="194" y="1075"/>
                  </a:lnTo>
                  <a:lnTo>
                    <a:pt x="181" y="1077"/>
                  </a:lnTo>
                  <a:lnTo>
                    <a:pt x="170" y="1077"/>
                  </a:lnTo>
                  <a:lnTo>
                    <a:pt x="161" y="1078"/>
                  </a:lnTo>
                  <a:lnTo>
                    <a:pt x="153" y="1079"/>
                  </a:lnTo>
                  <a:lnTo>
                    <a:pt x="145" y="1082"/>
                  </a:lnTo>
                  <a:lnTo>
                    <a:pt x="137" y="1086"/>
                  </a:lnTo>
                  <a:lnTo>
                    <a:pt x="130" y="1090"/>
                  </a:lnTo>
                  <a:lnTo>
                    <a:pt x="124" y="1094"/>
                  </a:lnTo>
                  <a:lnTo>
                    <a:pt x="118" y="1099"/>
                  </a:lnTo>
                  <a:lnTo>
                    <a:pt x="108" y="1111"/>
                  </a:lnTo>
                  <a:lnTo>
                    <a:pt x="98" y="1124"/>
                  </a:lnTo>
                  <a:lnTo>
                    <a:pt x="90" y="1139"/>
                  </a:lnTo>
                  <a:lnTo>
                    <a:pt x="84" y="1155"/>
                  </a:lnTo>
                  <a:lnTo>
                    <a:pt x="73" y="1190"/>
                  </a:lnTo>
                  <a:lnTo>
                    <a:pt x="64" y="1223"/>
                  </a:lnTo>
                  <a:lnTo>
                    <a:pt x="58" y="1239"/>
                  </a:lnTo>
                  <a:lnTo>
                    <a:pt x="54" y="1255"/>
                  </a:lnTo>
                  <a:lnTo>
                    <a:pt x="48" y="1268"/>
                  </a:lnTo>
                  <a:lnTo>
                    <a:pt x="42" y="1280"/>
                  </a:lnTo>
                  <a:lnTo>
                    <a:pt x="37" y="1288"/>
                  </a:lnTo>
                  <a:lnTo>
                    <a:pt x="30" y="1295"/>
                  </a:lnTo>
                  <a:lnTo>
                    <a:pt x="24" y="1300"/>
                  </a:lnTo>
                  <a:lnTo>
                    <a:pt x="17" y="1306"/>
                  </a:lnTo>
                  <a:lnTo>
                    <a:pt x="10" y="1312"/>
                  </a:lnTo>
                  <a:lnTo>
                    <a:pt x="5" y="1319"/>
                  </a:lnTo>
                  <a:lnTo>
                    <a:pt x="2" y="1324"/>
                  </a:lnTo>
                  <a:lnTo>
                    <a:pt x="1" y="1328"/>
                  </a:lnTo>
                  <a:lnTo>
                    <a:pt x="0" y="1335"/>
                  </a:lnTo>
                  <a:lnTo>
                    <a:pt x="0" y="1340"/>
                  </a:lnTo>
                  <a:lnTo>
                    <a:pt x="1" y="1348"/>
                  </a:lnTo>
                  <a:lnTo>
                    <a:pt x="5" y="1356"/>
                  </a:lnTo>
                  <a:lnTo>
                    <a:pt x="10" y="1362"/>
                  </a:lnTo>
                  <a:lnTo>
                    <a:pt x="17" y="1366"/>
                  </a:lnTo>
                  <a:lnTo>
                    <a:pt x="30" y="1372"/>
                  </a:lnTo>
                  <a:lnTo>
                    <a:pt x="42" y="1376"/>
                  </a:lnTo>
                  <a:lnTo>
                    <a:pt x="12" y="1450"/>
                  </a:lnTo>
                  <a:lnTo>
                    <a:pt x="17" y="1454"/>
                  </a:lnTo>
                  <a:lnTo>
                    <a:pt x="21" y="1458"/>
                  </a:lnTo>
                  <a:lnTo>
                    <a:pt x="25" y="1464"/>
                  </a:lnTo>
                  <a:lnTo>
                    <a:pt x="28" y="1470"/>
                  </a:lnTo>
                  <a:lnTo>
                    <a:pt x="33" y="1484"/>
                  </a:lnTo>
                  <a:lnTo>
                    <a:pt x="37" y="1498"/>
                  </a:lnTo>
                  <a:lnTo>
                    <a:pt x="42" y="1511"/>
                  </a:lnTo>
                  <a:lnTo>
                    <a:pt x="49" y="1523"/>
                  </a:lnTo>
                  <a:lnTo>
                    <a:pt x="53" y="1527"/>
                  </a:lnTo>
                  <a:lnTo>
                    <a:pt x="58" y="1531"/>
                  </a:lnTo>
                  <a:lnTo>
                    <a:pt x="65" y="1532"/>
                  </a:lnTo>
                  <a:lnTo>
                    <a:pt x="72" y="1534"/>
                  </a:lnTo>
                  <a:lnTo>
                    <a:pt x="78" y="1532"/>
                  </a:lnTo>
                  <a:lnTo>
                    <a:pt x="85" y="1531"/>
                  </a:lnTo>
                  <a:lnTo>
                    <a:pt x="90" y="1527"/>
                  </a:lnTo>
                  <a:lnTo>
                    <a:pt x="96" y="1522"/>
                  </a:lnTo>
                  <a:lnTo>
                    <a:pt x="106" y="1511"/>
                  </a:lnTo>
                  <a:lnTo>
                    <a:pt x="117" y="1498"/>
                  </a:lnTo>
                  <a:lnTo>
                    <a:pt x="129" y="1484"/>
                  </a:lnTo>
                  <a:lnTo>
                    <a:pt x="144" y="1472"/>
                  </a:lnTo>
                  <a:lnTo>
                    <a:pt x="152" y="1468"/>
                  </a:lnTo>
                  <a:lnTo>
                    <a:pt x="160" y="1464"/>
                  </a:lnTo>
                  <a:lnTo>
                    <a:pt x="170" y="1462"/>
                  </a:lnTo>
                  <a:lnTo>
                    <a:pt x="181" y="1462"/>
                  </a:lnTo>
                  <a:lnTo>
                    <a:pt x="198" y="1463"/>
                  </a:lnTo>
                  <a:lnTo>
                    <a:pt x="214" y="1467"/>
                  </a:lnTo>
                  <a:lnTo>
                    <a:pt x="224" y="1470"/>
                  </a:lnTo>
                  <a:lnTo>
                    <a:pt x="232" y="1471"/>
                  </a:lnTo>
                  <a:lnTo>
                    <a:pt x="242" y="1472"/>
                  </a:lnTo>
                  <a:lnTo>
                    <a:pt x="253" y="1474"/>
                  </a:lnTo>
                  <a:lnTo>
                    <a:pt x="264" y="1472"/>
                  </a:lnTo>
                  <a:lnTo>
                    <a:pt x="272" y="1471"/>
                  </a:lnTo>
                  <a:lnTo>
                    <a:pt x="278" y="1470"/>
                  </a:lnTo>
                  <a:lnTo>
                    <a:pt x="285" y="1467"/>
                  </a:lnTo>
                  <a:lnTo>
                    <a:pt x="298" y="1460"/>
                  </a:lnTo>
                  <a:lnTo>
                    <a:pt x="313" y="1455"/>
                  </a:lnTo>
                  <a:lnTo>
                    <a:pt x="313" y="1464"/>
                  </a:lnTo>
                  <a:lnTo>
                    <a:pt x="314" y="1474"/>
                  </a:lnTo>
                  <a:lnTo>
                    <a:pt x="316" y="1483"/>
                  </a:lnTo>
                  <a:lnTo>
                    <a:pt x="320" y="1491"/>
                  </a:lnTo>
                  <a:lnTo>
                    <a:pt x="324" y="1499"/>
                  </a:lnTo>
                  <a:lnTo>
                    <a:pt x="328" y="1504"/>
                  </a:lnTo>
                  <a:lnTo>
                    <a:pt x="332" y="1507"/>
                  </a:lnTo>
                  <a:lnTo>
                    <a:pt x="334" y="1508"/>
                  </a:lnTo>
                  <a:lnTo>
                    <a:pt x="338" y="1510"/>
                  </a:lnTo>
                  <a:lnTo>
                    <a:pt x="344" y="1510"/>
                  </a:lnTo>
                  <a:lnTo>
                    <a:pt x="349" y="1510"/>
                  </a:lnTo>
                  <a:lnTo>
                    <a:pt x="354" y="1508"/>
                  </a:lnTo>
                  <a:lnTo>
                    <a:pt x="358" y="1506"/>
                  </a:lnTo>
                  <a:lnTo>
                    <a:pt x="362" y="1504"/>
                  </a:lnTo>
                  <a:lnTo>
                    <a:pt x="372" y="1498"/>
                  </a:lnTo>
                  <a:lnTo>
                    <a:pt x="380" y="1491"/>
                  </a:lnTo>
                  <a:lnTo>
                    <a:pt x="389" y="1484"/>
                  </a:lnTo>
                  <a:lnTo>
                    <a:pt x="398" y="1479"/>
                  </a:lnTo>
                  <a:lnTo>
                    <a:pt x="404" y="1476"/>
                  </a:lnTo>
                  <a:lnTo>
                    <a:pt x="409" y="1475"/>
                  </a:lnTo>
                  <a:lnTo>
                    <a:pt x="414" y="1474"/>
                  </a:lnTo>
                  <a:lnTo>
                    <a:pt x="421" y="1474"/>
                  </a:lnTo>
                  <a:lnTo>
                    <a:pt x="430" y="1474"/>
                  </a:lnTo>
                  <a:lnTo>
                    <a:pt x="440" y="1474"/>
                  </a:lnTo>
                  <a:lnTo>
                    <a:pt x="445" y="1472"/>
                  </a:lnTo>
                  <a:lnTo>
                    <a:pt x="450" y="1472"/>
                  </a:lnTo>
                  <a:lnTo>
                    <a:pt x="456" y="1470"/>
                  </a:lnTo>
                  <a:lnTo>
                    <a:pt x="462" y="1467"/>
                  </a:lnTo>
                  <a:lnTo>
                    <a:pt x="468" y="1463"/>
                  </a:lnTo>
                  <a:lnTo>
                    <a:pt x="472" y="1458"/>
                  </a:lnTo>
                  <a:lnTo>
                    <a:pt x="474" y="1451"/>
                  </a:lnTo>
                  <a:lnTo>
                    <a:pt x="476" y="1443"/>
                  </a:lnTo>
                  <a:lnTo>
                    <a:pt x="476" y="1428"/>
                  </a:lnTo>
                  <a:lnTo>
                    <a:pt x="474" y="1416"/>
                  </a:lnTo>
                  <a:lnTo>
                    <a:pt x="472" y="1406"/>
                  </a:lnTo>
                  <a:lnTo>
                    <a:pt x="469" y="1396"/>
                  </a:lnTo>
                  <a:lnTo>
                    <a:pt x="468" y="1386"/>
                  </a:lnTo>
                  <a:lnTo>
                    <a:pt x="465" y="1376"/>
                  </a:lnTo>
                  <a:lnTo>
                    <a:pt x="464" y="1366"/>
                  </a:lnTo>
                  <a:lnTo>
                    <a:pt x="464" y="1352"/>
                  </a:lnTo>
                  <a:lnTo>
                    <a:pt x="464" y="1351"/>
                  </a:lnTo>
                  <a:lnTo>
                    <a:pt x="465" y="1350"/>
                  </a:lnTo>
                  <a:lnTo>
                    <a:pt x="466" y="1348"/>
                  </a:lnTo>
                  <a:lnTo>
                    <a:pt x="469" y="1348"/>
                  </a:lnTo>
                  <a:lnTo>
                    <a:pt x="474" y="1347"/>
                  </a:lnTo>
                  <a:lnTo>
                    <a:pt x="480" y="1348"/>
                  </a:lnTo>
                  <a:lnTo>
                    <a:pt x="494" y="1351"/>
                  </a:lnTo>
                  <a:lnTo>
                    <a:pt x="506" y="1352"/>
                  </a:lnTo>
                  <a:lnTo>
                    <a:pt x="515" y="1352"/>
                  </a:lnTo>
                  <a:lnTo>
                    <a:pt x="521" y="1352"/>
                  </a:lnTo>
                  <a:lnTo>
                    <a:pt x="526" y="1352"/>
                  </a:lnTo>
                  <a:lnTo>
                    <a:pt x="535" y="1352"/>
                  </a:lnTo>
                  <a:lnTo>
                    <a:pt x="575" y="1350"/>
                  </a:lnTo>
                  <a:lnTo>
                    <a:pt x="614" y="1350"/>
                  </a:lnTo>
                  <a:lnTo>
                    <a:pt x="622" y="1351"/>
                  </a:lnTo>
                  <a:lnTo>
                    <a:pt x="630" y="1354"/>
                  </a:lnTo>
                  <a:lnTo>
                    <a:pt x="638" y="1358"/>
                  </a:lnTo>
                  <a:lnTo>
                    <a:pt x="645" y="1363"/>
                  </a:lnTo>
                  <a:lnTo>
                    <a:pt x="649" y="1370"/>
                  </a:lnTo>
                  <a:lnTo>
                    <a:pt x="653" y="1378"/>
                  </a:lnTo>
                  <a:lnTo>
                    <a:pt x="655" y="1388"/>
                  </a:lnTo>
                  <a:lnTo>
                    <a:pt x="657" y="1402"/>
                  </a:lnTo>
                  <a:lnTo>
                    <a:pt x="657" y="1412"/>
                  </a:lnTo>
                  <a:lnTo>
                    <a:pt x="658" y="1427"/>
                  </a:lnTo>
                  <a:lnTo>
                    <a:pt x="659" y="1434"/>
                  </a:lnTo>
                  <a:lnTo>
                    <a:pt x="661" y="1438"/>
                  </a:lnTo>
                  <a:lnTo>
                    <a:pt x="665" y="1442"/>
                  </a:lnTo>
                  <a:lnTo>
                    <a:pt x="669" y="1443"/>
                  </a:lnTo>
                  <a:lnTo>
                    <a:pt x="679" y="1443"/>
                  </a:lnTo>
                  <a:lnTo>
                    <a:pt x="682" y="1443"/>
                  </a:lnTo>
                  <a:lnTo>
                    <a:pt x="685" y="1443"/>
                  </a:lnTo>
                  <a:lnTo>
                    <a:pt x="693" y="1443"/>
                  </a:lnTo>
                  <a:lnTo>
                    <a:pt x="699" y="1444"/>
                  </a:lnTo>
                  <a:lnTo>
                    <a:pt x="706" y="1446"/>
                  </a:lnTo>
                  <a:lnTo>
                    <a:pt x="713" y="1450"/>
                  </a:lnTo>
                  <a:lnTo>
                    <a:pt x="718" y="1454"/>
                  </a:lnTo>
                  <a:lnTo>
                    <a:pt x="729" y="1464"/>
                  </a:lnTo>
                  <a:lnTo>
                    <a:pt x="739" y="1476"/>
                  </a:lnTo>
                  <a:lnTo>
                    <a:pt x="751" y="1488"/>
                  </a:lnTo>
                  <a:lnTo>
                    <a:pt x="765" y="1499"/>
                  </a:lnTo>
                  <a:lnTo>
                    <a:pt x="771" y="1503"/>
                  </a:lnTo>
                  <a:lnTo>
                    <a:pt x="781" y="1507"/>
                  </a:lnTo>
                  <a:lnTo>
                    <a:pt x="790" y="1508"/>
                  </a:lnTo>
                  <a:lnTo>
                    <a:pt x="801" y="1510"/>
                  </a:lnTo>
                  <a:lnTo>
                    <a:pt x="842" y="1510"/>
                  </a:lnTo>
                  <a:lnTo>
                    <a:pt x="879" y="1510"/>
                  </a:lnTo>
                  <a:lnTo>
                    <a:pt x="918" y="1510"/>
                  </a:lnTo>
                  <a:lnTo>
                    <a:pt x="963" y="1510"/>
                  </a:lnTo>
                  <a:lnTo>
                    <a:pt x="975" y="1508"/>
                  </a:lnTo>
                  <a:lnTo>
                    <a:pt x="986" y="1506"/>
                  </a:lnTo>
                  <a:lnTo>
                    <a:pt x="994" y="1502"/>
                  </a:lnTo>
                  <a:lnTo>
                    <a:pt x="1002" y="1498"/>
                  </a:lnTo>
                  <a:lnTo>
                    <a:pt x="1009" y="1492"/>
                  </a:lnTo>
                  <a:lnTo>
                    <a:pt x="1017" y="1490"/>
                  </a:lnTo>
                  <a:lnTo>
                    <a:pt x="1025" y="1487"/>
                  </a:lnTo>
                  <a:lnTo>
                    <a:pt x="1035" y="1486"/>
                  </a:lnTo>
                  <a:lnTo>
                    <a:pt x="1046" y="1486"/>
                  </a:lnTo>
                  <a:lnTo>
                    <a:pt x="1057" y="1487"/>
                  </a:lnTo>
                  <a:lnTo>
                    <a:pt x="1067" y="1488"/>
                  </a:lnTo>
                  <a:lnTo>
                    <a:pt x="1078" y="1491"/>
                  </a:lnTo>
                  <a:lnTo>
                    <a:pt x="1097" y="1498"/>
                  </a:lnTo>
                  <a:lnTo>
                    <a:pt x="1114" y="1506"/>
                  </a:lnTo>
                  <a:lnTo>
                    <a:pt x="1149" y="1526"/>
                  </a:lnTo>
                  <a:lnTo>
                    <a:pt x="1183" y="1547"/>
                  </a:lnTo>
                  <a:lnTo>
                    <a:pt x="1201" y="1556"/>
                  </a:lnTo>
                  <a:lnTo>
                    <a:pt x="1219" y="1566"/>
                  </a:lnTo>
                  <a:lnTo>
                    <a:pt x="1239" y="1574"/>
                  </a:lnTo>
                  <a:lnTo>
                    <a:pt x="1260" y="1579"/>
                  </a:lnTo>
                  <a:lnTo>
                    <a:pt x="1272" y="1582"/>
                  </a:lnTo>
                  <a:lnTo>
                    <a:pt x="1284" y="1583"/>
                  </a:lnTo>
                  <a:lnTo>
                    <a:pt x="1296" y="1584"/>
                  </a:lnTo>
                  <a:lnTo>
                    <a:pt x="1308" y="1584"/>
                  </a:lnTo>
                  <a:lnTo>
                    <a:pt x="1322" y="1583"/>
                  </a:lnTo>
                  <a:lnTo>
                    <a:pt x="1336" y="1582"/>
                  </a:lnTo>
                  <a:lnTo>
                    <a:pt x="1351" y="1579"/>
                  </a:lnTo>
                  <a:lnTo>
                    <a:pt x="1367" y="1576"/>
                  </a:lnTo>
                  <a:lnTo>
                    <a:pt x="1396" y="150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1" name="Freeform 102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2214563" y="3429000"/>
              <a:ext cx="230187" cy="144463"/>
            </a:xfrm>
            <a:custGeom>
              <a:avLst/>
              <a:gdLst/>
              <a:ahLst/>
              <a:cxnLst>
                <a:cxn ang="0">
                  <a:pos x="158" y="13"/>
                </a:cxn>
                <a:cxn ang="0">
                  <a:pos x="132" y="1"/>
                </a:cxn>
                <a:cxn ang="0">
                  <a:pos x="98" y="1"/>
                </a:cxn>
                <a:cxn ang="0">
                  <a:pos x="66" y="11"/>
                </a:cxn>
                <a:cxn ang="0">
                  <a:pos x="38" y="27"/>
                </a:cxn>
                <a:cxn ang="0">
                  <a:pos x="16" y="49"/>
                </a:cxn>
                <a:cxn ang="0">
                  <a:pos x="2" y="79"/>
                </a:cxn>
                <a:cxn ang="0">
                  <a:pos x="4" y="116"/>
                </a:cxn>
                <a:cxn ang="0">
                  <a:pos x="24" y="181"/>
                </a:cxn>
                <a:cxn ang="0">
                  <a:pos x="124" y="188"/>
                </a:cxn>
                <a:cxn ang="0">
                  <a:pos x="154" y="201"/>
                </a:cxn>
                <a:cxn ang="0">
                  <a:pos x="166" y="217"/>
                </a:cxn>
                <a:cxn ang="0">
                  <a:pos x="173" y="237"/>
                </a:cxn>
                <a:cxn ang="0">
                  <a:pos x="176" y="267"/>
                </a:cxn>
                <a:cxn ang="0">
                  <a:pos x="181" y="280"/>
                </a:cxn>
                <a:cxn ang="0">
                  <a:pos x="197" y="288"/>
                </a:cxn>
                <a:cxn ang="0">
                  <a:pos x="208" y="335"/>
                </a:cxn>
                <a:cxn ang="0">
                  <a:pos x="217" y="360"/>
                </a:cxn>
                <a:cxn ang="0">
                  <a:pos x="244" y="376"/>
                </a:cxn>
                <a:cxn ang="0">
                  <a:pos x="282" y="379"/>
                </a:cxn>
                <a:cxn ang="0">
                  <a:pos x="298" y="373"/>
                </a:cxn>
                <a:cxn ang="0">
                  <a:pos x="325" y="355"/>
                </a:cxn>
                <a:cxn ang="0">
                  <a:pos x="345" y="345"/>
                </a:cxn>
                <a:cxn ang="0">
                  <a:pos x="364" y="344"/>
                </a:cxn>
                <a:cxn ang="0">
                  <a:pos x="388" y="356"/>
                </a:cxn>
                <a:cxn ang="0">
                  <a:pos x="409" y="367"/>
                </a:cxn>
                <a:cxn ang="0">
                  <a:pos x="452" y="349"/>
                </a:cxn>
                <a:cxn ang="0">
                  <a:pos x="465" y="357"/>
                </a:cxn>
                <a:cxn ang="0">
                  <a:pos x="488" y="380"/>
                </a:cxn>
                <a:cxn ang="0">
                  <a:pos x="513" y="381"/>
                </a:cxn>
                <a:cxn ang="0">
                  <a:pos x="527" y="357"/>
                </a:cxn>
                <a:cxn ang="0">
                  <a:pos x="541" y="337"/>
                </a:cxn>
                <a:cxn ang="0">
                  <a:pos x="538" y="317"/>
                </a:cxn>
                <a:cxn ang="0">
                  <a:pos x="526" y="295"/>
                </a:cxn>
                <a:cxn ang="0">
                  <a:pos x="518" y="277"/>
                </a:cxn>
                <a:cxn ang="0">
                  <a:pos x="518" y="251"/>
                </a:cxn>
                <a:cxn ang="0">
                  <a:pos x="505" y="233"/>
                </a:cxn>
                <a:cxn ang="0">
                  <a:pos x="494" y="224"/>
                </a:cxn>
                <a:cxn ang="0">
                  <a:pos x="492" y="209"/>
                </a:cxn>
                <a:cxn ang="0">
                  <a:pos x="489" y="185"/>
                </a:cxn>
                <a:cxn ang="0">
                  <a:pos x="482" y="175"/>
                </a:cxn>
                <a:cxn ang="0">
                  <a:pos x="452" y="173"/>
                </a:cxn>
                <a:cxn ang="0">
                  <a:pos x="440" y="161"/>
                </a:cxn>
                <a:cxn ang="0">
                  <a:pos x="428" y="144"/>
                </a:cxn>
                <a:cxn ang="0">
                  <a:pos x="412" y="132"/>
                </a:cxn>
                <a:cxn ang="0">
                  <a:pos x="388" y="125"/>
                </a:cxn>
                <a:cxn ang="0">
                  <a:pos x="345" y="123"/>
                </a:cxn>
                <a:cxn ang="0">
                  <a:pos x="301" y="112"/>
                </a:cxn>
                <a:cxn ang="0">
                  <a:pos x="277" y="97"/>
                </a:cxn>
                <a:cxn ang="0">
                  <a:pos x="249" y="79"/>
                </a:cxn>
                <a:cxn ang="0">
                  <a:pos x="224" y="68"/>
                </a:cxn>
                <a:cxn ang="0">
                  <a:pos x="202" y="49"/>
                </a:cxn>
                <a:cxn ang="0">
                  <a:pos x="193" y="31"/>
                </a:cxn>
              </a:cxnLst>
              <a:rect l="0" t="0" r="r" b="b"/>
              <a:pathLst>
                <a:path w="542" h="392">
                  <a:moveTo>
                    <a:pt x="193" y="36"/>
                  </a:moveTo>
                  <a:lnTo>
                    <a:pt x="176" y="25"/>
                  </a:lnTo>
                  <a:lnTo>
                    <a:pt x="158" y="13"/>
                  </a:lnTo>
                  <a:lnTo>
                    <a:pt x="150" y="8"/>
                  </a:lnTo>
                  <a:lnTo>
                    <a:pt x="141" y="4"/>
                  </a:lnTo>
                  <a:lnTo>
                    <a:pt x="132" y="1"/>
                  </a:lnTo>
                  <a:lnTo>
                    <a:pt x="121" y="0"/>
                  </a:lnTo>
                  <a:lnTo>
                    <a:pt x="109" y="0"/>
                  </a:lnTo>
                  <a:lnTo>
                    <a:pt x="98" y="1"/>
                  </a:lnTo>
                  <a:lnTo>
                    <a:pt x="88" y="4"/>
                  </a:lnTo>
                  <a:lnTo>
                    <a:pt x="76" y="7"/>
                  </a:lnTo>
                  <a:lnTo>
                    <a:pt x="66" y="11"/>
                  </a:lnTo>
                  <a:lnTo>
                    <a:pt x="56" y="15"/>
                  </a:lnTo>
                  <a:lnTo>
                    <a:pt x="46" y="20"/>
                  </a:lnTo>
                  <a:lnTo>
                    <a:pt x="38" y="27"/>
                  </a:lnTo>
                  <a:lnTo>
                    <a:pt x="29" y="33"/>
                  </a:lnTo>
                  <a:lnTo>
                    <a:pt x="22" y="41"/>
                  </a:lnTo>
                  <a:lnTo>
                    <a:pt x="16" y="49"/>
                  </a:lnTo>
                  <a:lnTo>
                    <a:pt x="10" y="59"/>
                  </a:lnTo>
                  <a:lnTo>
                    <a:pt x="6" y="68"/>
                  </a:lnTo>
                  <a:lnTo>
                    <a:pt x="2" y="79"/>
                  </a:lnTo>
                  <a:lnTo>
                    <a:pt x="1" y="91"/>
                  </a:lnTo>
                  <a:lnTo>
                    <a:pt x="0" y="103"/>
                  </a:lnTo>
                  <a:lnTo>
                    <a:pt x="4" y="116"/>
                  </a:lnTo>
                  <a:lnTo>
                    <a:pt x="12" y="141"/>
                  </a:lnTo>
                  <a:lnTo>
                    <a:pt x="21" y="167"/>
                  </a:lnTo>
                  <a:lnTo>
                    <a:pt x="24" y="181"/>
                  </a:lnTo>
                  <a:lnTo>
                    <a:pt x="60" y="181"/>
                  </a:lnTo>
                  <a:lnTo>
                    <a:pt x="102" y="184"/>
                  </a:lnTo>
                  <a:lnTo>
                    <a:pt x="124" y="188"/>
                  </a:lnTo>
                  <a:lnTo>
                    <a:pt x="141" y="193"/>
                  </a:lnTo>
                  <a:lnTo>
                    <a:pt x="149" y="197"/>
                  </a:lnTo>
                  <a:lnTo>
                    <a:pt x="154" y="201"/>
                  </a:lnTo>
                  <a:lnTo>
                    <a:pt x="160" y="205"/>
                  </a:lnTo>
                  <a:lnTo>
                    <a:pt x="162" y="211"/>
                  </a:lnTo>
                  <a:lnTo>
                    <a:pt x="166" y="217"/>
                  </a:lnTo>
                  <a:lnTo>
                    <a:pt x="169" y="224"/>
                  </a:lnTo>
                  <a:lnTo>
                    <a:pt x="172" y="231"/>
                  </a:lnTo>
                  <a:lnTo>
                    <a:pt x="173" y="237"/>
                  </a:lnTo>
                  <a:lnTo>
                    <a:pt x="174" y="249"/>
                  </a:lnTo>
                  <a:lnTo>
                    <a:pt x="174" y="261"/>
                  </a:lnTo>
                  <a:lnTo>
                    <a:pt x="176" y="267"/>
                  </a:lnTo>
                  <a:lnTo>
                    <a:pt x="177" y="271"/>
                  </a:lnTo>
                  <a:lnTo>
                    <a:pt x="178" y="276"/>
                  </a:lnTo>
                  <a:lnTo>
                    <a:pt x="181" y="280"/>
                  </a:lnTo>
                  <a:lnTo>
                    <a:pt x="185" y="283"/>
                  </a:lnTo>
                  <a:lnTo>
                    <a:pt x="190" y="285"/>
                  </a:lnTo>
                  <a:lnTo>
                    <a:pt x="197" y="288"/>
                  </a:lnTo>
                  <a:lnTo>
                    <a:pt x="205" y="289"/>
                  </a:lnTo>
                  <a:lnTo>
                    <a:pt x="205" y="315"/>
                  </a:lnTo>
                  <a:lnTo>
                    <a:pt x="208" y="335"/>
                  </a:lnTo>
                  <a:lnTo>
                    <a:pt x="209" y="344"/>
                  </a:lnTo>
                  <a:lnTo>
                    <a:pt x="213" y="353"/>
                  </a:lnTo>
                  <a:lnTo>
                    <a:pt x="217" y="360"/>
                  </a:lnTo>
                  <a:lnTo>
                    <a:pt x="222" y="368"/>
                  </a:lnTo>
                  <a:lnTo>
                    <a:pt x="232" y="372"/>
                  </a:lnTo>
                  <a:lnTo>
                    <a:pt x="244" y="376"/>
                  </a:lnTo>
                  <a:lnTo>
                    <a:pt x="258" y="379"/>
                  </a:lnTo>
                  <a:lnTo>
                    <a:pt x="277" y="380"/>
                  </a:lnTo>
                  <a:lnTo>
                    <a:pt x="282" y="379"/>
                  </a:lnTo>
                  <a:lnTo>
                    <a:pt x="288" y="379"/>
                  </a:lnTo>
                  <a:lnTo>
                    <a:pt x="293" y="376"/>
                  </a:lnTo>
                  <a:lnTo>
                    <a:pt x="298" y="373"/>
                  </a:lnTo>
                  <a:lnTo>
                    <a:pt x="308" y="368"/>
                  </a:lnTo>
                  <a:lnTo>
                    <a:pt x="316" y="361"/>
                  </a:lnTo>
                  <a:lnTo>
                    <a:pt x="325" y="355"/>
                  </a:lnTo>
                  <a:lnTo>
                    <a:pt x="334" y="349"/>
                  </a:lnTo>
                  <a:lnTo>
                    <a:pt x="340" y="347"/>
                  </a:lnTo>
                  <a:lnTo>
                    <a:pt x="345" y="345"/>
                  </a:lnTo>
                  <a:lnTo>
                    <a:pt x="350" y="344"/>
                  </a:lnTo>
                  <a:lnTo>
                    <a:pt x="356" y="344"/>
                  </a:lnTo>
                  <a:lnTo>
                    <a:pt x="364" y="344"/>
                  </a:lnTo>
                  <a:lnTo>
                    <a:pt x="373" y="347"/>
                  </a:lnTo>
                  <a:lnTo>
                    <a:pt x="381" y="351"/>
                  </a:lnTo>
                  <a:lnTo>
                    <a:pt x="388" y="356"/>
                  </a:lnTo>
                  <a:lnTo>
                    <a:pt x="396" y="360"/>
                  </a:lnTo>
                  <a:lnTo>
                    <a:pt x="402" y="364"/>
                  </a:lnTo>
                  <a:lnTo>
                    <a:pt x="409" y="367"/>
                  </a:lnTo>
                  <a:lnTo>
                    <a:pt x="416" y="368"/>
                  </a:lnTo>
                  <a:lnTo>
                    <a:pt x="434" y="359"/>
                  </a:lnTo>
                  <a:lnTo>
                    <a:pt x="452" y="349"/>
                  </a:lnTo>
                  <a:lnTo>
                    <a:pt x="457" y="351"/>
                  </a:lnTo>
                  <a:lnTo>
                    <a:pt x="461" y="353"/>
                  </a:lnTo>
                  <a:lnTo>
                    <a:pt x="465" y="357"/>
                  </a:lnTo>
                  <a:lnTo>
                    <a:pt x="470" y="363"/>
                  </a:lnTo>
                  <a:lnTo>
                    <a:pt x="478" y="372"/>
                  </a:lnTo>
                  <a:lnTo>
                    <a:pt x="488" y="380"/>
                  </a:lnTo>
                  <a:lnTo>
                    <a:pt x="511" y="380"/>
                  </a:lnTo>
                  <a:lnTo>
                    <a:pt x="511" y="392"/>
                  </a:lnTo>
                  <a:lnTo>
                    <a:pt x="513" y="381"/>
                  </a:lnTo>
                  <a:lnTo>
                    <a:pt x="517" y="372"/>
                  </a:lnTo>
                  <a:lnTo>
                    <a:pt x="521" y="364"/>
                  </a:lnTo>
                  <a:lnTo>
                    <a:pt x="527" y="357"/>
                  </a:lnTo>
                  <a:lnTo>
                    <a:pt x="533" y="351"/>
                  </a:lnTo>
                  <a:lnTo>
                    <a:pt x="537" y="344"/>
                  </a:lnTo>
                  <a:lnTo>
                    <a:pt x="541" y="337"/>
                  </a:lnTo>
                  <a:lnTo>
                    <a:pt x="542" y="332"/>
                  </a:lnTo>
                  <a:lnTo>
                    <a:pt x="541" y="324"/>
                  </a:lnTo>
                  <a:lnTo>
                    <a:pt x="538" y="317"/>
                  </a:lnTo>
                  <a:lnTo>
                    <a:pt x="534" y="309"/>
                  </a:lnTo>
                  <a:lnTo>
                    <a:pt x="530" y="303"/>
                  </a:lnTo>
                  <a:lnTo>
                    <a:pt x="526" y="295"/>
                  </a:lnTo>
                  <a:lnTo>
                    <a:pt x="522" y="288"/>
                  </a:lnTo>
                  <a:lnTo>
                    <a:pt x="519" y="283"/>
                  </a:lnTo>
                  <a:lnTo>
                    <a:pt x="518" y="277"/>
                  </a:lnTo>
                  <a:lnTo>
                    <a:pt x="518" y="269"/>
                  </a:lnTo>
                  <a:lnTo>
                    <a:pt x="518" y="260"/>
                  </a:lnTo>
                  <a:lnTo>
                    <a:pt x="518" y="251"/>
                  </a:lnTo>
                  <a:lnTo>
                    <a:pt x="518" y="235"/>
                  </a:lnTo>
                  <a:lnTo>
                    <a:pt x="510" y="235"/>
                  </a:lnTo>
                  <a:lnTo>
                    <a:pt x="505" y="233"/>
                  </a:lnTo>
                  <a:lnTo>
                    <a:pt x="501" y="231"/>
                  </a:lnTo>
                  <a:lnTo>
                    <a:pt x="497" y="227"/>
                  </a:lnTo>
                  <a:lnTo>
                    <a:pt x="494" y="224"/>
                  </a:lnTo>
                  <a:lnTo>
                    <a:pt x="493" y="219"/>
                  </a:lnTo>
                  <a:lnTo>
                    <a:pt x="492" y="215"/>
                  </a:lnTo>
                  <a:lnTo>
                    <a:pt x="492" y="209"/>
                  </a:lnTo>
                  <a:lnTo>
                    <a:pt x="490" y="199"/>
                  </a:lnTo>
                  <a:lnTo>
                    <a:pt x="489" y="189"/>
                  </a:lnTo>
                  <a:lnTo>
                    <a:pt x="489" y="185"/>
                  </a:lnTo>
                  <a:lnTo>
                    <a:pt x="486" y="181"/>
                  </a:lnTo>
                  <a:lnTo>
                    <a:pt x="485" y="177"/>
                  </a:lnTo>
                  <a:lnTo>
                    <a:pt x="482" y="175"/>
                  </a:lnTo>
                  <a:lnTo>
                    <a:pt x="470" y="175"/>
                  </a:lnTo>
                  <a:lnTo>
                    <a:pt x="458" y="175"/>
                  </a:lnTo>
                  <a:lnTo>
                    <a:pt x="452" y="173"/>
                  </a:lnTo>
                  <a:lnTo>
                    <a:pt x="448" y="171"/>
                  </a:lnTo>
                  <a:lnTo>
                    <a:pt x="444" y="167"/>
                  </a:lnTo>
                  <a:lnTo>
                    <a:pt x="440" y="161"/>
                  </a:lnTo>
                  <a:lnTo>
                    <a:pt x="437" y="156"/>
                  </a:lnTo>
                  <a:lnTo>
                    <a:pt x="433" y="149"/>
                  </a:lnTo>
                  <a:lnTo>
                    <a:pt x="428" y="144"/>
                  </a:lnTo>
                  <a:lnTo>
                    <a:pt x="422" y="139"/>
                  </a:lnTo>
                  <a:lnTo>
                    <a:pt x="417" y="135"/>
                  </a:lnTo>
                  <a:lnTo>
                    <a:pt x="412" y="132"/>
                  </a:lnTo>
                  <a:lnTo>
                    <a:pt x="406" y="129"/>
                  </a:lnTo>
                  <a:lnTo>
                    <a:pt x="401" y="127"/>
                  </a:lnTo>
                  <a:lnTo>
                    <a:pt x="388" y="125"/>
                  </a:lnTo>
                  <a:lnTo>
                    <a:pt x="374" y="124"/>
                  </a:lnTo>
                  <a:lnTo>
                    <a:pt x="360" y="124"/>
                  </a:lnTo>
                  <a:lnTo>
                    <a:pt x="345" y="123"/>
                  </a:lnTo>
                  <a:lnTo>
                    <a:pt x="329" y="120"/>
                  </a:lnTo>
                  <a:lnTo>
                    <a:pt x="313" y="115"/>
                  </a:lnTo>
                  <a:lnTo>
                    <a:pt x="301" y="112"/>
                  </a:lnTo>
                  <a:lnTo>
                    <a:pt x="292" y="108"/>
                  </a:lnTo>
                  <a:lnTo>
                    <a:pt x="284" y="103"/>
                  </a:lnTo>
                  <a:lnTo>
                    <a:pt x="277" y="97"/>
                  </a:lnTo>
                  <a:lnTo>
                    <a:pt x="269" y="92"/>
                  </a:lnTo>
                  <a:lnTo>
                    <a:pt x="260" y="85"/>
                  </a:lnTo>
                  <a:lnTo>
                    <a:pt x="249" y="79"/>
                  </a:lnTo>
                  <a:lnTo>
                    <a:pt x="234" y="72"/>
                  </a:lnTo>
                  <a:lnTo>
                    <a:pt x="230" y="71"/>
                  </a:lnTo>
                  <a:lnTo>
                    <a:pt x="224" y="68"/>
                  </a:lnTo>
                  <a:lnTo>
                    <a:pt x="217" y="63"/>
                  </a:lnTo>
                  <a:lnTo>
                    <a:pt x="209" y="56"/>
                  </a:lnTo>
                  <a:lnTo>
                    <a:pt x="202" y="49"/>
                  </a:lnTo>
                  <a:lnTo>
                    <a:pt x="198" y="41"/>
                  </a:lnTo>
                  <a:lnTo>
                    <a:pt x="194" y="36"/>
                  </a:lnTo>
                  <a:lnTo>
                    <a:pt x="193" y="31"/>
                  </a:lnTo>
                  <a:lnTo>
                    <a:pt x="193" y="3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2" name="Freeform 103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2174875" y="3556000"/>
              <a:ext cx="417513" cy="309563"/>
            </a:xfrm>
            <a:custGeom>
              <a:avLst/>
              <a:gdLst/>
              <a:ahLst/>
              <a:cxnLst>
                <a:cxn ang="0">
                  <a:pos x="555" y="13"/>
                </a:cxn>
                <a:cxn ang="0">
                  <a:pos x="506" y="24"/>
                </a:cxn>
                <a:cxn ang="0">
                  <a:pos x="471" y="7"/>
                </a:cxn>
                <a:cxn ang="0">
                  <a:pos x="435" y="1"/>
                </a:cxn>
                <a:cxn ang="0">
                  <a:pos x="398" y="24"/>
                </a:cxn>
                <a:cxn ang="0">
                  <a:pos x="367" y="36"/>
                </a:cxn>
                <a:cxn ang="0">
                  <a:pos x="276" y="43"/>
                </a:cxn>
                <a:cxn ang="0">
                  <a:pos x="191" y="93"/>
                </a:cxn>
                <a:cxn ang="0">
                  <a:pos x="175" y="144"/>
                </a:cxn>
                <a:cxn ang="0">
                  <a:pos x="171" y="179"/>
                </a:cxn>
                <a:cxn ang="0">
                  <a:pos x="132" y="202"/>
                </a:cxn>
                <a:cxn ang="0">
                  <a:pos x="88" y="188"/>
                </a:cxn>
                <a:cxn ang="0">
                  <a:pos x="22" y="191"/>
                </a:cxn>
                <a:cxn ang="0">
                  <a:pos x="22" y="232"/>
                </a:cxn>
                <a:cxn ang="0">
                  <a:pos x="79" y="249"/>
                </a:cxn>
                <a:cxn ang="0">
                  <a:pos x="138" y="252"/>
                </a:cxn>
                <a:cxn ang="0">
                  <a:pos x="155" y="284"/>
                </a:cxn>
                <a:cxn ang="0">
                  <a:pos x="172" y="318"/>
                </a:cxn>
                <a:cxn ang="0">
                  <a:pos x="218" y="329"/>
                </a:cxn>
                <a:cxn ang="0">
                  <a:pos x="282" y="326"/>
                </a:cxn>
                <a:cxn ang="0">
                  <a:pos x="294" y="340"/>
                </a:cxn>
                <a:cxn ang="0">
                  <a:pos x="302" y="409"/>
                </a:cxn>
                <a:cxn ang="0">
                  <a:pos x="332" y="473"/>
                </a:cxn>
                <a:cxn ang="0">
                  <a:pos x="378" y="525"/>
                </a:cxn>
                <a:cxn ang="0">
                  <a:pos x="432" y="542"/>
                </a:cxn>
                <a:cxn ang="0">
                  <a:pos x="471" y="532"/>
                </a:cxn>
                <a:cxn ang="0">
                  <a:pos x="491" y="508"/>
                </a:cxn>
                <a:cxn ang="0">
                  <a:pos x="567" y="638"/>
                </a:cxn>
                <a:cxn ang="0">
                  <a:pos x="617" y="684"/>
                </a:cxn>
                <a:cxn ang="0">
                  <a:pos x="663" y="710"/>
                </a:cxn>
                <a:cxn ang="0">
                  <a:pos x="640" y="742"/>
                </a:cxn>
                <a:cxn ang="0">
                  <a:pos x="637" y="785"/>
                </a:cxn>
                <a:cxn ang="0">
                  <a:pos x="677" y="825"/>
                </a:cxn>
                <a:cxn ang="0">
                  <a:pos x="691" y="778"/>
                </a:cxn>
                <a:cxn ang="0">
                  <a:pos x="715" y="742"/>
                </a:cxn>
                <a:cxn ang="0">
                  <a:pos x="777" y="692"/>
                </a:cxn>
                <a:cxn ang="0">
                  <a:pos x="805" y="644"/>
                </a:cxn>
                <a:cxn ang="0">
                  <a:pos x="795" y="596"/>
                </a:cxn>
                <a:cxn ang="0">
                  <a:pos x="807" y="565"/>
                </a:cxn>
                <a:cxn ang="0">
                  <a:pos x="928" y="545"/>
                </a:cxn>
                <a:cxn ang="0">
                  <a:pos x="972" y="518"/>
                </a:cxn>
                <a:cxn ang="0">
                  <a:pos x="973" y="493"/>
                </a:cxn>
                <a:cxn ang="0">
                  <a:pos x="948" y="456"/>
                </a:cxn>
                <a:cxn ang="0">
                  <a:pos x="939" y="414"/>
                </a:cxn>
                <a:cxn ang="0">
                  <a:pos x="905" y="418"/>
                </a:cxn>
                <a:cxn ang="0">
                  <a:pos x="925" y="381"/>
                </a:cxn>
                <a:cxn ang="0">
                  <a:pos x="949" y="353"/>
                </a:cxn>
                <a:cxn ang="0">
                  <a:pos x="899" y="326"/>
                </a:cxn>
                <a:cxn ang="0">
                  <a:pos x="927" y="252"/>
                </a:cxn>
                <a:cxn ang="0">
                  <a:pos x="859" y="268"/>
                </a:cxn>
                <a:cxn ang="0">
                  <a:pos x="863" y="301"/>
                </a:cxn>
                <a:cxn ang="0">
                  <a:pos x="843" y="320"/>
                </a:cxn>
                <a:cxn ang="0">
                  <a:pos x="759" y="312"/>
                </a:cxn>
                <a:cxn ang="0">
                  <a:pos x="709" y="294"/>
                </a:cxn>
                <a:cxn ang="0">
                  <a:pos x="693" y="266"/>
                </a:cxn>
                <a:cxn ang="0">
                  <a:pos x="688" y="230"/>
                </a:cxn>
                <a:cxn ang="0">
                  <a:pos x="645" y="168"/>
                </a:cxn>
                <a:cxn ang="0">
                  <a:pos x="604" y="65"/>
                </a:cxn>
              </a:cxnLst>
              <a:rect l="0" t="0" r="r" b="b"/>
              <a:pathLst>
                <a:path w="975" h="830">
                  <a:moveTo>
                    <a:pt x="601" y="36"/>
                  </a:moveTo>
                  <a:lnTo>
                    <a:pt x="578" y="36"/>
                  </a:lnTo>
                  <a:lnTo>
                    <a:pt x="568" y="28"/>
                  </a:lnTo>
                  <a:lnTo>
                    <a:pt x="560" y="19"/>
                  </a:lnTo>
                  <a:lnTo>
                    <a:pt x="555" y="13"/>
                  </a:lnTo>
                  <a:lnTo>
                    <a:pt x="551" y="9"/>
                  </a:lnTo>
                  <a:lnTo>
                    <a:pt x="547" y="7"/>
                  </a:lnTo>
                  <a:lnTo>
                    <a:pt x="542" y="5"/>
                  </a:lnTo>
                  <a:lnTo>
                    <a:pt x="524" y="15"/>
                  </a:lnTo>
                  <a:lnTo>
                    <a:pt x="506" y="24"/>
                  </a:lnTo>
                  <a:lnTo>
                    <a:pt x="499" y="23"/>
                  </a:lnTo>
                  <a:lnTo>
                    <a:pt x="492" y="20"/>
                  </a:lnTo>
                  <a:lnTo>
                    <a:pt x="486" y="16"/>
                  </a:lnTo>
                  <a:lnTo>
                    <a:pt x="478" y="12"/>
                  </a:lnTo>
                  <a:lnTo>
                    <a:pt x="471" y="7"/>
                  </a:lnTo>
                  <a:lnTo>
                    <a:pt x="463" y="3"/>
                  </a:lnTo>
                  <a:lnTo>
                    <a:pt x="454" y="0"/>
                  </a:lnTo>
                  <a:lnTo>
                    <a:pt x="446" y="0"/>
                  </a:lnTo>
                  <a:lnTo>
                    <a:pt x="440" y="0"/>
                  </a:lnTo>
                  <a:lnTo>
                    <a:pt x="435" y="1"/>
                  </a:lnTo>
                  <a:lnTo>
                    <a:pt x="430" y="3"/>
                  </a:lnTo>
                  <a:lnTo>
                    <a:pt x="424" y="5"/>
                  </a:lnTo>
                  <a:lnTo>
                    <a:pt x="415" y="11"/>
                  </a:lnTo>
                  <a:lnTo>
                    <a:pt x="406" y="17"/>
                  </a:lnTo>
                  <a:lnTo>
                    <a:pt x="398" y="24"/>
                  </a:lnTo>
                  <a:lnTo>
                    <a:pt x="388" y="29"/>
                  </a:lnTo>
                  <a:lnTo>
                    <a:pt x="383" y="32"/>
                  </a:lnTo>
                  <a:lnTo>
                    <a:pt x="378" y="35"/>
                  </a:lnTo>
                  <a:lnTo>
                    <a:pt x="372" y="35"/>
                  </a:lnTo>
                  <a:lnTo>
                    <a:pt x="367" y="36"/>
                  </a:lnTo>
                  <a:lnTo>
                    <a:pt x="348" y="35"/>
                  </a:lnTo>
                  <a:lnTo>
                    <a:pt x="334" y="32"/>
                  </a:lnTo>
                  <a:lnTo>
                    <a:pt x="322" y="28"/>
                  </a:lnTo>
                  <a:lnTo>
                    <a:pt x="312" y="24"/>
                  </a:lnTo>
                  <a:lnTo>
                    <a:pt x="276" y="43"/>
                  </a:lnTo>
                  <a:lnTo>
                    <a:pt x="230" y="65"/>
                  </a:lnTo>
                  <a:lnTo>
                    <a:pt x="219" y="72"/>
                  </a:lnTo>
                  <a:lnTo>
                    <a:pt x="208" y="79"/>
                  </a:lnTo>
                  <a:lnTo>
                    <a:pt x="199" y="85"/>
                  </a:lnTo>
                  <a:lnTo>
                    <a:pt x="191" y="93"/>
                  </a:lnTo>
                  <a:lnTo>
                    <a:pt x="184" y="100"/>
                  </a:lnTo>
                  <a:lnTo>
                    <a:pt x="179" y="109"/>
                  </a:lnTo>
                  <a:lnTo>
                    <a:pt x="175" y="117"/>
                  </a:lnTo>
                  <a:lnTo>
                    <a:pt x="175" y="125"/>
                  </a:lnTo>
                  <a:lnTo>
                    <a:pt x="175" y="144"/>
                  </a:lnTo>
                  <a:lnTo>
                    <a:pt x="175" y="153"/>
                  </a:lnTo>
                  <a:lnTo>
                    <a:pt x="175" y="161"/>
                  </a:lnTo>
                  <a:lnTo>
                    <a:pt x="175" y="168"/>
                  </a:lnTo>
                  <a:lnTo>
                    <a:pt x="174" y="173"/>
                  </a:lnTo>
                  <a:lnTo>
                    <a:pt x="171" y="179"/>
                  </a:lnTo>
                  <a:lnTo>
                    <a:pt x="167" y="185"/>
                  </a:lnTo>
                  <a:lnTo>
                    <a:pt x="160" y="191"/>
                  </a:lnTo>
                  <a:lnTo>
                    <a:pt x="154" y="196"/>
                  </a:lnTo>
                  <a:lnTo>
                    <a:pt x="144" y="200"/>
                  </a:lnTo>
                  <a:lnTo>
                    <a:pt x="132" y="202"/>
                  </a:lnTo>
                  <a:lnTo>
                    <a:pt x="120" y="204"/>
                  </a:lnTo>
                  <a:lnTo>
                    <a:pt x="111" y="202"/>
                  </a:lnTo>
                  <a:lnTo>
                    <a:pt x="103" y="200"/>
                  </a:lnTo>
                  <a:lnTo>
                    <a:pt x="95" y="195"/>
                  </a:lnTo>
                  <a:lnTo>
                    <a:pt x="88" y="188"/>
                  </a:lnTo>
                  <a:lnTo>
                    <a:pt x="76" y="176"/>
                  </a:lnTo>
                  <a:lnTo>
                    <a:pt x="66" y="168"/>
                  </a:lnTo>
                  <a:lnTo>
                    <a:pt x="48" y="179"/>
                  </a:lnTo>
                  <a:lnTo>
                    <a:pt x="31" y="187"/>
                  </a:lnTo>
                  <a:lnTo>
                    <a:pt x="22" y="191"/>
                  </a:lnTo>
                  <a:lnTo>
                    <a:pt x="14" y="196"/>
                  </a:lnTo>
                  <a:lnTo>
                    <a:pt x="7" y="202"/>
                  </a:lnTo>
                  <a:lnTo>
                    <a:pt x="0" y="210"/>
                  </a:lnTo>
                  <a:lnTo>
                    <a:pt x="12" y="222"/>
                  </a:lnTo>
                  <a:lnTo>
                    <a:pt x="22" y="232"/>
                  </a:lnTo>
                  <a:lnTo>
                    <a:pt x="30" y="238"/>
                  </a:lnTo>
                  <a:lnTo>
                    <a:pt x="36" y="240"/>
                  </a:lnTo>
                  <a:lnTo>
                    <a:pt x="51" y="245"/>
                  </a:lnTo>
                  <a:lnTo>
                    <a:pt x="66" y="248"/>
                  </a:lnTo>
                  <a:lnTo>
                    <a:pt x="79" y="249"/>
                  </a:lnTo>
                  <a:lnTo>
                    <a:pt x="91" y="249"/>
                  </a:lnTo>
                  <a:lnTo>
                    <a:pt x="104" y="248"/>
                  </a:lnTo>
                  <a:lnTo>
                    <a:pt x="115" y="248"/>
                  </a:lnTo>
                  <a:lnTo>
                    <a:pt x="127" y="249"/>
                  </a:lnTo>
                  <a:lnTo>
                    <a:pt x="138" y="252"/>
                  </a:lnTo>
                  <a:lnTo>
                    <a:pt x="143" y="256"/>
                  </a:lnTo>
                  <a:lnTo>
                    <a:pt x="146" y="261"/>
                  </a:lnTo>
                  <a:lnTo>
                    <a:pt x="148" y="265"/>
                  </a:lnTo>
                  <a:lnTo>
                    <a:pt x="151" y="272"/>
                  </a:lnTo>
                  <a:lnTo>
                    <a:pt x="155" y="284"/>
                  </a:lnTo>
                  <a:lnTo>
                    <a:pt x="159" y="296"/>
                  </a:lnTo>
                  <a:lnTo>
                    <a:pt x="162" y="302"/>
                  </a:lnTo>
                  <a:lnTo>
                    <a:pt x="164" y="308"/>
                  </a:lnTo>
                  <a:lnTo>
                    <a:pt x="168" y="313"/>
                  </a:lnTo>
                  <a:lnTo>
                    <a:pt x="172" y="318"/>
                  </a:lnTo>
                  <a:lnTo>
                    <a:pt x="178" y="322"/>
                  </a:lnTo>
                  <a:lnTo>
                    <a:pt x="183" y="326"/>
                  </a:lnTo>
                  <a:lnTo>
                    <a:pt x="190" y="329"/>
                  </a:lnTo>
                  <a:lnTo>
                    <a:pt x="199" y="330"/>
                  </a:lnTo>
                  <a:lnTo>
                    <a:pt x="218" y="329"/>
                  </a:lnTo>
                  <a:lnTo>
                    <a:pt x="239" y="328"/>
                  </a:lnTo>
                  <a:lnTo>
                    <a:pt x="258" y="325"/>
                  </a:lnTo>
                  <a:lnTo>
                    <a:pt x="271" y="325"/>
                  </a:lnTo>
                  <a:lnTo>
                    <a:pt x="276" y="325"/>
                  </a:lnTo>
                  <a:lnTo>
                    <a:pt x="282" y="326"/>
                  </a:lnTo>
                  <a:lnTo>
                    <a:pt x="286" y="328"/>
                  </a:lnTo>
                  <a:lnTo>
                    <a:pt x="288" y="329"/>
                  </a:lnTo>
                  <a:lnTo>
                    <a:pt x="291" y="332"/>
                  </a:lnTo>
                  <a:lnTo>
                    <a:pt x="292" y="336"/>
                  </a:lnTo>
                  <a:lnTo>
                    <a:pt x="294" y="340"/>
                  </a:lnTo>
                  <a:lnTo>
                    <a:pt x="294" y="344"/>
                  </a:lnTo>
                  <a:lnTo>
                    <a:pt x="294" y="362"/>
                  </a:lnTo>
                  <a:lnTo>
                    <a:pt x="295" y="385"/>
                  </a:lnTo>
                  <a:lnTo>
                    <a:pt x="298" y="397"/>
                  </a:lnTo>
                  <a:lnTo>
                    <a:pt x="302" y="409"/>
                  </a:lnTo>
                  <a:lnTo>
                    <a:pt x="306" y="421"/>
                  </a:lnTo>
                  <a:lnTo>
                    <a:pt x="311" y="434"/>
                  </a:lnTo>
                  <a:lnTo>
                    <a:pt x="318" y="448"/>
                  </a:lnTo>
                  <a:lnTo>
                    <a:pt x="324" y="461"/>
                  </a:lnTo>
                  <a:lnTo>
                    <a:pt x="332" y="473"/>
                  </a:lnTo>
                  <a:lnTo>
                    <a:pt x="340" y="485"/>
                  </a:lnTo>
                  <a:lnTo>
                    <a:pt x="348" y="497"/>
                  </a:lnTo>
                  <a:lnTo>
                    <a:pt x="358" y="508"/>
                  </a:lnTo>
                  <a:lnTo>
                    <a:pt x="368" y="517"/>
                  </a:lnTo>
                  <a:lnTo>
                    <a:pt x="378" y="525"/>
                  </a:lnTo>
                  <a:lnTo>
                    <a:pt x="388" y="532"/>
                  </a:lnTo>
                  <a:lnTo>
                    <a:pt x="399" y="537"/>
                  </a:lnTo>
                  <a:lnTo>
                    <a:pt x="410" y="540"/>
                  </a:lnTo>
                  <a:lnTo>
                    <a:pt x="422" y="541"/>
                  </a:lnTo>
                  <a:lnTo>
                    <a:pt x="432" y="542"/>
                  </a:lnTo>
                  <a:lnTo>
                    <a:pt x="446" y="544"/>
                  </a:lnTo>
                  <a:lnTo>
                    <a:pt x="459" y="546"/>
                  </a:lnTo>
                  <a:lnTo>
                    <a:pt x="470" y="548"/>
                  </a:lnTo>
                  <a:lnTo>
                    <a:pt x="470" y="538"/>
                  </a:lnTo>
                  <a:lnTo>
                    <a:pt x="471" y="532"/>
                  </a:lnTo>
                  <a:lnTo>
                    <a:pt x="472" y="525"/>
                  </a:lnTo>
                  <a:lnTo>
                    <a:pt x="475" y="520"/>
                  </a:lnTo>
                  <a:lnTo>
                    <a:pt x="479" y="514"/>
                  </a:lnTo>
                  <a:lnTo>
                    <a:pt x="484" y="510"/>
                  </a:lnTo>
                  <a:lnTo>
                    <a:pt x="491" y="508"/>
                  </a:lnTo>
                  <a:lnTo>
                    <a:pt x="500" y="505"/>
                  </a:lnTo>
                  <a:lnTo>
                    <a:pt x="522" y="550"/>
                  </a:lnTo>
                  <a:lnTo>
                    <a:pt x="544" y="596"/>
                  </a:lnTo>
                  <a:lnTo>
                    <a:pt x="556" y="618"/>
                  </a:lnTo>
                  <a:lnTo>
                    <a:pt x="567" y="638"/>
                  </a:lnTo>
                  <a:lnTo>
                    <a:pt x="579" y="657"/>
                  </a:lnTo>
                  <a:lnTo>
                    <a:pt x="589" y="674"/>
                  </a:lnTo>
                  <a:lnTo>
                    <a:pt x="600" y="676"/>
                  </a:lnTo>
                  <a:lnTo>
                    <a:pt x="609" y="678"/>
                  </a:lnTo>
                  <a:lnTo>
                    <a:pt x="617" y="684"/>
                  </a:lnTo>
                  <a:lnTo>
                    <a:pt x="625" y="689"/>
                  </a:lnTo>
                  <a:lnTo>
                    <a:pt x="633" y="696"/>
                  </a:lnTo>
                  <a:lnTo>
                    <a:pt x="643" y="702"/>
                  </a:lnTo>
                  <a:lnTo>
                    <a:pt x="652" y="706"/>
                  </a:lnTo>
                  <a:lnTo>
                    <a:pt x="663" y="710"/>
                  </a:lnTo>
                  <a:lnTo>
                    <a:pt x="659" y="718"/>
                  </a:lnTo>
                  <a:lnTo>
                    <a:pt x="655" y="725"/>
                  </a:lnTo>
                  <a:lnTo>
                    <a:pt x="649" y="732"/>
                  </a:lnTo>
                  <a:lnTo>
                    <a:pt x="645" y="737"/>
                  </a:lnTo>
                  <a:lnTo>
                    <a:pt x="640" y="742"/>
                  </a:lnTo>
                  <a:lnTo>
                    <a:pt x="636" y="749"/>
                  </a:lnTo>
                  <a:lnTo>
                    <a:pt x="633" y="756"/>
                  </a:lnTo>
                  <a:lnTo>
                    <a:pt x="632" y="764"/>
                  </a:lnTo>
                  <a:lnTo>
                    <a:pt x="633" y="776"/>
                  </a:lnTo>
                  <a:lnTo>
                    <a:pt x="637" y="785"/>
                  </a:lnTo>
                  <a:lnTo>
                    <a:pt x="643" y="795"/>
                  </a:lnTo>
                  <a:lnTo>
                    <a:pt x="649" y="803"/>
                  </a:lnTo>
                  <a:lnTo>
                    <a:pt x="659" y="811"/>
                  </a:lnTo>
                  <a:lnTo>
                    <a:pt x="668" y="819"/>
                  </a:lnTo>
                  <a:lnTo>
                    <a:pt x="677" y="825"/>
                  </a:lnTo>
                  <a:lnTo>
                    <a:pt x="687" y="830"/>
                  </a:lnTo>
                  <a:lnTo>
                    <a:pt x="687" y="813"/>
                  </a:lnTo>
                  <a:lnTo>
                    <a:pt x="688" y="795"/>
                  </a:lnTo>
                  <a:lnTo>
                    <a:pt x="689" y="786"/>
                  </a:lnTo>
                  <a:lnTo>
                    <a:pt x="691" y="778"/>
                  </a:lnTo>
                  <a:lnTo>
                    <a:pt x="695" y="772"/>
                  </a:lnTo>
                  <a:lnTo>
                    <a:pt x="699" y="764"/>
                  </a:lnTo>
                  <a:lnTo>
                    <a:pt x="703" y="757"/>
                  </a:lnTo>
                  <a:lnTo>
                    <a:pt x="708" y="749"/>
                  </a:lnTo>
                  <a:lnTo>
                    <a:pt x="715" y="742"/>
                  </a:lnTo>
                  <a:lnTo>
                    <a:pt x="723" y="734"/>
                  </a:lnTo>
                  <a:lnTo>
                    <a:pt x="740" y="721"/>
                  </a:lnTo>
                  <a:lnTo>
                    <a:pt x="759" y="706"/>
                  </a:lnTo>
                  <a:lnTo>
                    <a:pt x="768" y="700"/>
                  </a:lnTo>
                  <a:lnTo>
                    <a:pt x="777" y="692"/>
                  </a:lnTo>
                  <a:lnTo>
                    <a:pt x="785" y="684"/>
                  </a:lnTo>
                  <a:lnTo>
                    <a:pt x="792" y="674"/>
                  </a:lnTo>
                  <a:lnTo>
                    <a:pt x="799" y="665"/>
                  </a:lnTo>
                  <a:lnTo>
                    <a:pt x="803" y="654"/>
                  </a:lnTo>
                  <a:lnTo>
                    <a:pt x="805" y="644"/>
                  </a:lnTo>
                  <a:lnTo>
                    <a:pt x="807" y="632"/>
                  </a:lnTo>
                  <a:lnTo>
                    <a:pt x="805" y="621"/>
                  </a:lnTo>
                  <a:lnTo>
                    <a:pt x="803" y="612"/>
                  </a:lnTo>
                  <a:lnTo>
                    <a:pt x="799" y="604"/>
                  </a:lnTo>
                  <a:lnTo>
                    <a:pt x="795" y="596"/>
                  </a:lnTo>
                  <a:lnTo>
                    <a:pt x="791" y="589"/>
                  </a:lnTo>
                  <a:lnTo>
                    <a:pt x="787" y="581"/>
                  </a:lnTo>
                  <a:lnTo>
                    <a:pt x="784" y="574"/>
                  </a:lnTo>
                  <a:lnTo>
                    <a:pt x="783" y="565"/>
                  </a:lnTo>
                  <a:lnTo>
                    <a:pt x="807" y="565"/>
                  </a:lnTo>
                  <a:lnTo>
                    <a:pt x="836" y="562"/>
                  </a:lnTo>
                  <a:lnTo>
                    <a:pt x="867" y="560"/>
                  </a:lnTo>
                  <a:lnTo>
                    <a:pt x="899" y="553"/>
                  </a:lnTo>
                  <a:lnTo>
                    <a:pt x="915" y="549"/>
                  </a:lnTo>
                  <a:lnTo>
                    <a:pt x="928" y="545"/>
                  </a:lnTo>
                  <a:lnTo>
                    <a:pt x="941" y="541"/>
                  </a:lnTo>
                  <a:lnTo>
                    <a:pt x="953" y="534"/>
                  </a:lnTo>
                  <a:lnTo>
                    <a:pt x="963" y="529"/>
                  </a:lnTo>
                  <a:lnTo>
                    <a:pt x="969" y="521"/>
                  </a:lnTo>
                  <a:lnTo>
                    <a:pt x="972" y="518"/>
                  </a:lnTo>
                  <a:lnTo>
                    <a:pt x="973" y="514"/>
                  </a:lnTo>
                  <a:lnTo>
                    <a:pt x="975" y="509"/>
                  </a:lnTo>
                  <a:lnTo>
                    <a:pt x="975" y="505"/>
                  </a:lnTo>
                  <a:lnTo>
                    <a:pt x="975" y="498"/>
                  </a:lnTo>
                  <a:lnTo>
                    <a:pt x="973" y="493"/>
                  </a:lnTo>
                  <a:lnTo>
                    <a:pt x="972" y="488"/>
                  </a:lnTo>
                  <a:lnTo>
                    <a:pt x="969" y="482"/>
                  </a:lnTo>
                  <a:lnTo>
                    <a:pt x="963" y="473"/>
                  </a:lnTo>
                  <a:lnTo>
                    <a:pt x="955" y="465"/>
                  </a:lnTo>
                  <a:lnTo>
                    <a:pt x="948" y="456"/>
                  </a:lnTo>
                  <a:lnTo>
                    <a:pt x="943" y="444"/>
                  </a:lnTo>
                  <a:lnTo>
                    <a:pt x="940" y="438"/>
                  </a:lnTo>
                  <a:lnTo>
                    <a:pt x="939" y="432"/>
                  </a:lnTo>
                  <a:lnTo>
                    <a:pt x="939" y="424"/>
                  </a:lnTo>
                  <a:lnTo>
                    <a:pt x="939" y="414"/>
                  </a:lnTo>
                  <a:lnTo>
                    <a:pt x="928" y="420"/>
                  </a:lnTo>
                  <a:lnTo>
                    <a:pt x="920" y="421"/>
                  </a:lnTo>
                  <a:lnTo>
                    <a:pt x="916" y="421"/>
                  </a:lnTo>
                  <a:lnTo>
                    <a:pt x="911" y="421"/>
                  </a:lnTo>
                  <a:lnTo>
                    <a:pt x="905" y="418"/>
                  </a:lnTo>
                  <a:lnTo>
                    <a:pt x="897" y="414"/>
                  </a:lnTo>
                  <a:lnTo>
                    <a:pt x="897" y="390"/>
                  </a:lnTo>
                  <a:lnTo>
                    <a:pt x="907" y="388"/>
                  </a:lnTo>
                  <a:lnTo>
                    <a:pt x="916" y="385"/>
                  </a:lnTo>
                  <a:lnTo>
                    <a:pt x="925" y="381"/>
                  </a:lnTo>
                  <a:lnTo>
                    <a:pt x="933" y="376"/>
                  </a:lnTo>
                  <a:lnTo>
                    <a:pt x="940" y="369"/>
                  </a:lnTo>
                  <a:lnTo>
                    <a:pt x="947" y="362"/>
                  </a:lnTo>
                  <a:lnTo>
                    <a:pt x="948" y="357"/>
                  </a:lnTo>
                  <a:lnTo>
                    <a:pt x="949" y="353"/>
                  </a:lnTo>
                  <a:lnTo>
                    <a:pt x="951" y="348"/>
                  </a:lnTo>
                  <a:lnTo>
                    <a:pt x="951" y="342"/>
                  </a:lnTo>
                  <a:lnTo>
                    <a:pt x="897" y="342"/>
                  </a:lnTo>
                  <a:lnTo>
                    <a:pt x="897" y="334"/>
                  </a:lnTo>
                  <a:lnTo>
                    <a:pt x="899" y="326"/>
                  </a:lnTo>
                  <a:lnTo>
                    <a:pt x="901" y="320"/>
                  </a:lnTo>
                  <a:lnTo>
                    <a:pt x="905" y="313"/>
                  </a:lnTo>
                  <a:lnTo>
                    <a:pt x="915" y="301"/>
                  </a:lnTo>
                  <a:lnTo>
                    <a:pt x="927" y="288"/>
                  </a:lnTo>
                  <a:lnTo>
                    <a:pt x="927" y="252"/>
                  </a:lnTo>
                  <a:lnTo>
                    <a:pt x="891" y="252"/>
                  </a:lnTo>
                  <a:lnTo>
                    <a:pt x="880" y="257"/>
                  </a:lnTo>
                  <a:lnTo>
                    <a:pt x="868" y="262"/>
                  </a:lnTo>
                  <a:lnTo>
                    <a:pt x="863" y="265"/>
                  </a:lnTo>
                  <a:lnTo>
                    <a:pt x="859" y="268"/>
                  </a:lnTo>
                  <a:lnTo>
                    <a:pt x="856" y="272"/>
                  </a:lnTo>
                  <a:lnTo>
                    <a:pt x="855" y="276"/>
                  </a:lnTo>
                  <a:lnTo>
                    <a:pt x="856" y="286"/>
                  </a:lnTo>
                  <a:lnTo>
                    <a:pt x="859" y="294"/>
                  </a:lnTo>
                  <a:lnTo>
                    <a:pt x="863" y="301"/>
                  </a:lnTo>
                  <a:lnTo>
                    <a:pt x="867" y="313"/>
                  </a:lnTo>
                  <a:lnTo>
                    <a:pt x="861" y="316"/>
                  </a:lnTo>
                  <a:lnTo>
                    <a:pt x="855" y="317"/>
                  </a:lnTo>
                  <a:lnTo>
                    <a:pt x="849" y="320"/>
                  </a:lnTo>
                  <a:lnTo>
                    <a:pt x="843" y="320"/>
                  </a:lnTo>
                  <a:lnTo>
                    <a:pt x="831" y="320"/>
                  </a:lnTo>
                  <a:lnTo>
                    <a:pt x="819" y="320"/>
                  </a:lnTo>
                  <a:lnTo>
                    <a:pt x="793" y="314"/>
                  </a:lnTo>
                  <a:lnTo>
                    <a:pt x="771" y="313"/>
                  </a:lnTo>
                  <a:lnTo>
                    <a:pt x="759" y="312"/>
                  </a:lnTo>
                  <a:lnTo>
                    <a:pt x="745" y="310"/>
                  </a:lnTo>
                  <a:lnTo>
                    <a:pt x="732" y="306"/>
                  </a:lnTo>
                  <a:lnTo>
                    <a:pt x="720" y="301"/>
                  </a:lnTo>
                  <a:lnTo>
                    <a:pt x="715" y="298"/>
                  </a:lnTo>
                  <a:lnTo>
                    <a:pt x="709" y="294"/>
                  </a:lnTo>
                  <a:lnTo>
                    <a:pt x="704" y="289"/>
                  </a:lnTo>
                  <a:lnTo>
                    <a:pt x="700" y="285"/>
                  </a:lnTo>
                  <a:lnTo>
                    <a:pt x="697" y="278"/>
                  </a:lnTo>
                  <a:lnTo>
                    <a:pt x="695" y="273"/>
                  </a:lnTo>
                  <a:lnTo>
                    <a:pt x="693" y="266"/>
                  </a:lnTo>
                  <a:lnTo>
                    <a:pt x="692" y="258"/>
                  </a:lnTo>
                  <a:lnTo>
                    <a:pt x="699" y="249"/>
                  </a:lnTo>
                  <a:lnTo>
                    <a:pt x="704" y="240"/>
                  </a:lnTo>
                  <a:lnTo>
                    <a:pt x="696" y="236"/>
                  </a:lnTo>
                  <a:lnTo>
                    <a:pt x="688" y="230"/>
                  </a:lnTo>
                  <a:lnTo>
                    <a:pt x="679" y="221"/>
                  </a:lnTo>
                  <a:lnTo>
                    <a:pt x="671" y="210"/>
                  </a:lnTo>
                  <a:lnTo>
                    <a:pt x="661" y="197"/>
                  </a:lnTo>
                  <a:lnTo>
                    <a:pt x="653" y="184"/>
                  </a:lnTo>
                  <a:lnTo>
                    <a:pt x="645" y="168"/>
                  </a:lnTo>
                  <a:lnTo>
                    <a:pt x="637" y="153"/>
                  </a:lnTo>
                  <a:lnTo>
                    <a:pt x="623" y="121"/>
                  </a:lnTo>
                  <a:lnTo>
                    <a:pt x="612" y="91"/>
                  </a:lnTo>
                  <a:lnTo>
                    <a:pt x="608" y="77"/>
                  </a:lnTo>
                  <a:lnTo>
                    <a:pt x="604" y="65"/>
                  </a:lnTo>
                  <a:lnTo>
                    <a:pt x="603" y="56"/>
                  </a:lnTo>
                  <a:lnTo>
                    <a:pt x="601" y="48"/>
                  </a:lnTo>
                  <a:lnTo>
                    <a:pt x="601" y="3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3" name="Freeform 104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147888" y="3494088"/>
              <a:ext cx="161925" cy="141287"/>
            </a:xfrm>
            <a:custGeom>
              <a:avLst/>
              <a:gdLst/>
              <a:ahLst/>
              <a:cxnLst>
                <a:cxn ang="0">
                  <a:pos x="348" y="206"/>
                </a:cxn>
                <a:cxn ang="0">
                  <a:pos x="288" y="235"/>
                </a:cxn>
                <a:cxn ang="0">
                  <a:pos x="266" y="248"/>
                </a:cxn>
                <a:cxn ang="0">
                  <a:pos x="250" y="263"/>
                </a:cxn>
                <a:cxn ang="0">
                  <a:pos x="241" y="280"/>
                </a:cxn>
                <a:cxn ang="0">
                  <a:pos x="241" y="307"/>
                </a:cxn>
                <a:cxn ang="0">
                  <a:pos x="241" y="324"/>
                </a:cxn>
                <a:cxn ang="0">
                  <a:pos x="240" y="336"/>
                </a:cxn>
                <a:cxn ang="0">
                  <a:pos x="233" y="348"/>
                </a:cxn>
                <a:cxn ang="0">
                  <a:pos x="220" y="359"/>
                </a:cxn>
                <a:cxn ang="0">
                  <a:pos x="198" y="365"/>
                </a:cxn>
                <a:cxn ang="0">
                  <a:pos x="177" y="365"/>
                </a:cxn>
                <a:cxn ang="0">
                  <a:pos x="161" y="358"/>
                </a:cxn>
                <a:cxn ang="0">
                  <a:pos x="142" y="339"/>
                </a:cxn>
                <a:cxn ang="0">
                  <a:pos x="114" y="342"/>
                </a:cxn>
                <a:cxn ang="0">
                  <a:pos x="88" y="354"/>
                </a:cxn>
                <a:cxn ang="0">
                  <a:pos x="73" y="365"/>
                </a:cxn>
                <a:cxn ang="0">
                  <a:pos x="42" y="350"/>
                </a:cxn>
                <a:cxn ang="0">
                  <a:pos x="13" y="312"/>
                </a:cxn>
                <a:cxn ang="0">
                  <a:pos x="1" y="295"/>
                </a:cxn>
                <a:cxn ang="0">
                  <a:pos x="0" y="286"/>
                </a:cxn>
                <a:cxn ang="0">
                  <a:pos x="2" y="280"/>
                </a:cxn>
                <a:cxn ang="0">
                  <a:pos x="10" y="272"/>
                </a:cxn>
                <a:cxn ang="0">
                  <a:pos x="24" y="263"/>
                </a:cxn>
                <a:cxn ang="0">
                  <a:pos x="34" y="254"/>
                </a:cxn>
                <a:cxn ang="0">
                  <a:pos x="36" y="243"/>
                </a:cxn>
                <a:cxn ang="0">
                  <a:pos x="32" y="235"/>
                </a:cxn>
                <a:cxn ang="0">
                  <a:pos x="24" y="226"/>
                </a:cxn>
                <a:cxn ang="0">
                  <a:pos x="10" y="214"/>
                </a:cxn>
                <a:cxn ang="0">
                  <a:pos x="2" y="204"/>
                </a:cxn>
                <a:cxn ang="0">
                  <a:pos x="0" y="196"/>
                </a:cxn>
                <a:cxn ang="0">
                  <a:pos x="1" y="186"/>
                </a:cxn>
                <a:cxn ang="0">
                  <a:pos x="8" y="175"/>
                </a:cxn>
                <a:cxn ang="0">
                  <a:pos x="26" y="160"/>
                </a:cxn>
                <a:cxn ang="0">
                  <a:pos x="60" y="143"/>
                </a:cxn>
                <a:cxn ang="0">
                  <a:pos x="82" y="130"/>
                </a:cxn>
                <a:cxn ang="0">
                  <a:pos x="93" y="120"/>
                </a:cxn>
                <a:cxn ang="0">
                  <a:pos x="101" y="103"/>
                </a:cxn>
                <a:cxn ang="0">
                  <a:pos x="106" y="82"/>
                </a:cxn>
                <a:cxn ang="0">
                  <a:pos x="110" y="51"/>
                </a:cxn>
                <a:cxn ang="0">
                  <a:pos x="116" y="27"/>
                </a:cxn>
                <a:cxn ang="0">
                  <a:pos x="124" y="14"/>
                </a:cxn>
                <a:cxn ang="0">
                  <a:pos x="140" y="6"/>
                </a:cxn>
                <a:cxn ang="0">
                  <a:pos x="164" y="0"/>
                </a:cxn>
                <a:cxn ang="0">
                  <a:pos x="216" y="0"/>
                </a:cxn>
                <a:cxn ang="0">
                  <a:pos x="280" y="7"/>
                </a:cxn>
                <a:cxn ang="0">
                  <a:pos x="305" y="16"/>
                </a:cxn>
                <a:cxn ang="0">
                  <a:pos x="316" y="24"/>
                </a:cxn>
                <a:cxn ang="0">
                  <a:pos x="322" y="36"/>
                </a:cxn>
                <a:cxn ang="0">
                  <a:pos x="328" y="50"/>
                </a:cxn>
                <a:cxn ang="0">
                  <a:pos x="330" y="68"/>
                </a:cxn>
                <a:cxn ang="0">
                  <a:pos x="332" y="86"/>
                </a:cxn>
                <a:cxn ang="0">
                  <a:pos x="334" y="95"/>
                </a:cxn>
                <a:cxn ang="0">
                  <a:pos x="341" y="102"/>
                </a:cxn>
                <a:cxn ang="0">
                  <a:pos x="353" y="107"/>
                </a:cxn>
                <a:cxn ang="0">
                  <a:pos x="361" y="134"/>
                </a:cxn>
                <a:cxn ang="0">
                  <a:pos x="365" y="163"/>
                </a:cxn>
                <a:cxn ang="0">
                  <a:pos x="373" y="179"/>
                </a:cxn>
                <a:cxn ang="0">
                  <a:pos x="385" y="187"/>
                </a:cxn>
              </a:cxnLst>
              <a:rect l="0" t="0" r="r" b="b"/>
              <a:pathLst>
                <a:path w="385" h="373">
                  <a:moveTo>
                    <a:pt x="385" y="187"/>
                  </a:moveTo>
                  <a:lnTo>
                    <a:pt x="348" y="206"/>
                  </a:lnTo>
                  <a:lnTo>
                    <a:pt x="300" y="228"/>
                  </a:lnTo>
                  <a:lnTo>
                    <a:pt x="288" y="235"/>
                  </a:lnTo>
                  <a:lnTo>
                    <a:pt x="277" y="242"/>
                  </a:lnTo>
                  <a:lnTo>
                    <a:pt x="266" y="248"/>
                  </a:lnTo>
                  <a:lnTo>
                    <a:pt x="258" y="256"/>
                  </a:lnTo>
                  <a:lnTo>
                    <a:pt x="250" y="263"/>
                  </a:lnTo>
                  <a:lnTo>
                    <a:pt x="245" y="272"/>
                  </a:lnTo>
                  <a:lnTo>
                    <a:pt x="241" y="280"/>
                  </a:lnTo>
                  <a:lnTo>
                    <a:pt x="241" y="288"/>
                  </a:lnTo>
                  <a:lnTo>
                    <a:pt x="241" y="307"/>
                  </a:lnTo>
                  <a:lnTo>
                    <a:pt x="241" y="316"/>
                  </a:lnTo>
                  <a:lnTo>
                    <a:pt x="241" y="324"/>
                  </a:lnTo>
                  <a:lnTo>
                    <a:pt x="241" y="331"/>
                  </a:lnTo>
                  <a:lnTo>
                    <a:pt x="240" y="336"/>
                  </a:lnTo>
                  <a:lnTo>
                    <a:pt x="237" y="342"/>
                  </a:lnTo>
                  <a:lnTo>
                    <a:pt x="233" y="348"/>
                  </a:lnTo>
                  <a:lnTo>
                    <a:pt x="226" y="354"/>
                  </a:lnTo>
                  <a:lnTo>
                    <a:pt x="220" y="359"/>
                  </a:lnTo>
                  <a:lnTo>
                    <a:pt x="210" y="363"/>
                  </a:lnTo>
                  <a:lnTo>
                    <a:pt x="198" y="365"/>
                  </a:lnTo>
                  <a:lnTo>
                    <a:pt x="186" y="367"/>
                  </a:lnTo>
                  <a:lnTo>
                    <a:pt x="177" y="365"/>
                  </a:lnTo>
                  <a:lnTo>
                    <a:pt x="169" y="363"/>
                  </a:lnTo>
                  <a:lnTo>
                    <a:pt x="161" y="358"/>
                  </a:lnTo>
                  <a:lnTo>
                    <a:pt x="154" y="351"/>
                  </a:lnTo>
                  <a:lnTo>
                    <a:pt x="142" y="339"/>
                  </a:lnTo>
                  <a:lnTo>
                    <a:pt x="132" y="331"/>
                  </a:lnTo>
                  <a:lnTo>
                    <a:pt x="114" y="342"/>
                  </a:lnTo>
                  <a:lnTo>
                    <a:pt x="97" y="350"/>
                  </a:lnTo>
                  <a:lnTo>
                    <a:pt x="88" y="354"/>
                  </a:lnTo>
                  <a:lnTo>
                    <a:pt x="80" y="359"/>
                  </a:lnTo>
                  <a:lnTo>
                    <a:pt x="73" y="365"/>
                  </a:lnTo>
                  <a:lnTo>
                    <a:pt x="66" y="373"/>
                  </a:lnTo>
                  <a:lnTo>
                    <a:pt x="42" y="350"/>
                  </a:lnTo>
                  <a:lnTo>
                    <a:pt x="21" y="324"/>
                  </a:lnTo>
                  <a:lnTo>
                    <a:pt x="13" y="312"/>
                  </a:lnTo>
                  <a:lnTo>
                    <a:pt x="5" y="303"/>
                  </a:lnTo>
                  <a:lnTo>
                    <a:pt x="1" y="295"/>
                  </a:lnTo>
                  <a:lnTo>
                    <a:pt x="0" y="288"/>
                  </a:lnTo>
                  <a:lnTo>
                    <a:pt x="0" y="286"/>
                  </a:lnTo>
                  <a:lnTo>
                    <a:pt x="1" y="283"/>
                  </a:lnTo>
                  <a:lnTo>
                    <a:pt x="2" y="280"/>
                  </a:lnTo>
                  <a:lnTo>
                    <a:pt x="5" y="278"/>
                  </a:lnTo>
                  <a:lnTo>
                    <a:pt x="10" y="272"/>
                  </a:lnTo>
                  <a:lnTo>
                    <a:pt x="17" y="268"/>
                  </a:lnTo>
                  <a:lnTo>
                    <a:pt x="24" y="263"/>
                  </a:lnTo>
                  <a:lnTo>
                    <a:pt x="30" y="259"/>
                  </a:lnTo>
                  <a:lnTo>
                    <a:pt x="34" y="254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4" y="239"/>
                  </a:lnTo>
                  <a:lnTo>
                    <a:pt x="32" y="235"/>
                  </a:lnTo>
                  <a:lnTo>
                    <a:pt x="30" y="231"/>
                  </a:lnTo>
                  <a:lnTo>
                    <a:pt x="24" y="226"/>
                  </a:lnTo>
                  <a:lnTo>
                    <a:pt x="17" y="219"/>
                  </a:lnTo>
                  <a:lnTo>
                    <a:pt x="10" y="214"/>
                  </a:lnTo>
                  <a:lnTo>
                    <a:pt x="5" y="208"/>
                  </a:lnTo>
                  <a:lnTo>
                    <a:pt x="2" y="204"/>
                  </a:lnTo>
                  <a:lnTo>
                    <a:pt x="1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1" y="186"/>
                  </a:lnTo>
                  <a:lnTo>
                    <a:pt x="4" y="180"/>
                  </a:lnTo>
                  <a:lnTo>
                    <a:pt x="8" y="175"/>
                  </a:lnTo>
                  <a:lnTo>
                    <a:pt x="13" y="170"/>
                  </a:lnTo>
                  <a:lnTo>
                    <a:pt x="26" y="160"/>
                  </a:lnTo>
                  <a:lnTo>
                    <a:pt x="44" y="151"/>
                  </a:lnTo>
                  <a:lnTo>
                    <a:pt x="60" y="143"/>
                  </a:lnTo>
                  <a:lnTo>
                    <a:pt x="76" y="134"/>
                  </a:lnTo>
                  <a:lnTo>
                    <a:pt x="82" y="130"/>
                  </a:lnTo>
                  <a:lnTo>
                    <a:pt x="88" y="124"/>
                  </a:lnTo>
                  <a:lnTo>
                    <a:pt x="93" y="120"/>
                  </a:lnTo>
                  <a:lnTo>
                    <a:pt x="96" y="114"/>
                  </a:lnTo>
                  <a:lnTo>
                    <a:pt x="101" y="103"/>
                  </a:lnTo>
                  <a:lnTo>
                    <a:pt x="104" y="92"/>
                  </a:lnTo>
                  <a:lnTo>
                    <a:pt x="106" y="82"/>
                  </a:lnTo>
                  <a:lnTo>
                    <a:pt x="108" y="71"/>
                  </a:lnTo>
                  <a:lnTo>
                    <a:pt x="110" y="51"/>
                  </a:lnTo>
                  <a:lnTo>
                    <a:pt x="113" y="35"/>
                  </a:lnTo>
                  <a:lnTo>
                    <a:pt x="116" y="27"/>
                  </a:lnTo>
                  <a:lnTo>
                    <a:pt x="120" y="20"/>
                  </a:lnTo>
                  <a:lnTo>
                    <a:pt x="124" y="14"/>
                  </a:lnTo>
                  <a:lnTo>
                    <a:pt x="130" y="10"/>
                  </a:lnTo>
                  <a:lnTo>
                    <a:pt x="140" y="6"/>
                  </a:lnTo>
                  <a:lnTo>
                    <a:pt x="150" y="2"/>
                  </a:lnTo>
                  <a:lnTo>
                    <a:pt x="164" y="0"/>
                  </a:lnTo>
                  <a:lnTo>
                    <a:pt x="180" y="0"/>
                  </a:lnTo>
                  <a:lnTo>
                    <a:pt x="216" y="0"/>
                  </a:lnTo>
                  <a:lnTo>
                    <a:pt x="258" y="3"/>
                  </a:lnTo>
                  <a:lnTo>
                    <a:pt x="280" y="7"/>
                  </a:lnTo>
                  <a:lnTo>
                    <a:pt x="297" y="12"/>
                  </a:lnTo>
                  <a:lnTo>
                    <a:pt x="305" y="16"/>
                  </a:lnTo>
                  <a:lnTo>
                    <a:pt x="310" y="20"/>
                  </a:lnTo>
                  <a:lnTo>
                    <a:pt x="316" y="24"/>
                  </a:lnTo>
                  <a:lnTo>
                    <a:pt x="318" y="30"/>
                  </a:lnTo>
                  <a:lnTo>
                    <a:pt x="322" y="36"/>
                  </a:lnTo>
                  <a:lnTo>
                    <a:pt x="325" y="43"/>
                  </a:lnTo>
                  <a:lnTo>
                    <a:pt x="328" y="50"/>
                  </a:lnTo>
                  <a:lnTo>
                    <a:pt x="329" y="56"/>
                  </a:lnTo>
                  <a:lnTo>
                    <a:pt x="330" y="68"/>
                  </a:lnTo>
                  <a:lnTo>
                    <a:pt x="330" y="80"/>
                  </a:lnTo>
                  <a:lnTo>
                    <a:pt x="332" y="86"/>
                  </a:lnTo>
                  <a:lnTo>
                    <a:pt x="333" y="90"/>
                  </a:lnTo>
                  <a:lnTo>
                    <a:pt x="334" y="95"/>
                  </a:lnTo>
                  <a:lnTo>
                    <a:pt x="337" y="99"/>
                  </a:lnTo>
                  <a:lnTo>
                    <a:pt x="341" y="102"/>
                  </a:lnTo>
                  <a:lnTo>
                    <a:pt x="346" y="104"/>
                  </a:lnTo>
                  <a:lnTo>
                    <a:pt x="353" y="107"/>
                  </a:lnTo>
                  <a:lnTo>
                    <a:pt x="361" y="108"/>
                  </a:lnTo>
                  <a:lnTo>
                    <a:pt x="361" y="134"/>
                  </a:lnTo>
                  <a:lnTo>
                    <a:pt x="364" y="154"/>
                  </a:lnTo>
                  <a:lnTo>
                    <a:pt x="365" y="163"/>
                  </a:lnTo>
                  <a:lnTo>
                    <a:pt x="369" y="172"/>
                  </a:lnTo>
                  <a:lnTo>
                    <a:pt x="373" y="179"/>
                  </a:lnTo>
                  <a:lnTo>
                    <a:pt x="378" y="187"/>
                  </a:lnTo>
                  <a:lnTo>
                    <a:pt x="385" y="18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4" name="Freeform 105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518025" y="4387850"/>
              <a:ext cx="658813" cy="374650"/>
            </a:xfrm>
            <a:custGeom>
              <a:avLst/>
              <a:gdLst/>
              <a:ahLst/>
              <a:cxnLst>
                <a:cxn ang="0">
                  <a:pos x="302" y="872"/>
                </a:cxn>
                <a:cxn ang="0">
                  <a:pos x="432" y="795"/>
                </a:cxn>
                <a:cxn ang="0">
                  <a:pos x="509" y="776"/>
                </a:cxn>
                <a:cxn ang="0">
                  <a:pos x="672" y="776"/>
                </a:cxn>
                <a:cxn ang="0">
                  <a:pos x="807" y="812"/>
                </a:cxn>
                <a:cxn ang="0">
                  <a:pos x="840" y="839"/>
                </a:cxn>
                <a:cxn ang="0">
                  <a:pos x="843" y="875"/>
                </a:cxn>
                <a:cxn ang="0">
                  <a:pos x="857" y="910"/>
                </a:cxn>
                <a:cxn ang="0">
                  <a:pos x="891" y="934"/>
                </a:cxn>
                <a:cxn ang="0">
                  <a:pos x="993" y="956"/>
                </a:cxn>
                <a:cxn ang="0">
                  <a:pos x="1191" y="957"/>
                </a:cxn>
                <a:cxn ang="0">
                  <a:pos x="1344" y="938"/>
                </a:cxn>
                <a:cxn ang="0">
                  <a:pos x="1406" y="909"/>
                </a:cxn>
                <a:cxn ang="0">
                  <a:pos x="1440" y="869"/>
                </a:cxn>
                <a:cxn ang="0">
                  <a:pos x="1456" y="812"/>
                </a:cxn>
                <a:cxn ang="0">
                  <a:pos x="1449" y="763"/>
                </a:cxn>
                <a:cxn ang="0">
                  <a:pos x="1396" y="711"/>
                </a:cxn>
                <a:cxn ang="0">
                  <a:pos x="1368" y="657"/>
                </a:cxn>
                <a:cxn ang="0">
                  <a:pos x="1382" y="564"/>
                </a:cxn>
                <a:cxn ang="0">
                  <a:pos x="1442" y="460"/>
                </a:cxn>
                <a:cxn ang="0">
                  <a:pos x="1465" y="340"/>
                </a:cxn>
                <a:cxn ang="0">
                  <a:pos x="1440" y="296"/>
                </a:cxn>
                <a:cxn ang="0">
                  <a:pos x="1445" y="260"/>
                </a:cxn>
                <a:cxn ang="0">
                  <a:pos x="1462" y="232"/>
                </a:cxn>
                <a:cxn ang="0">
                  <a:pos x="1453" y="194"/>
                </a:cxn>
                <a:cxn ang="0">
                  <a:pos x="1473" y="178"/>
                </a:cxn>
                <a:cxn ang="0">
                  <a:pos x="1521" y="154"/>
                </a:cxn>
                <a:cxn ang="0">
                  <a:pos x="1485" y="127"/>
                </a:cxn>
                <a:cxn ang="0">
                  <a:pos x="1464" y="108"/>
                </a:cxn>
                <a:cxn ang="0">
                  <a:pos x="1413" y="126"/>
                </a:cxn>
                <a:cxn ang="0">
                  <a:pos x="1354" y="119"/>
                </a:cxn>
                <a:cxn ang="0">
                  <a:pos x="1225" y="47"/>
                </a:cxn>
                <a:cxn ang="0">
                  <a:pos x="1188" y="6"/>
                </a:cxn>
                <a:cxn ang="0">
                  <a:pos x="1143" y="2"/>
                </a:cxn>
                <a:cxn ang="0">
                  <a:pos x="1108" y="22"/>
                </a:cxn>
                <a:cxn ang="0">
                  <a:pos x="1077" y="55"/>
                </a:cxn>
                <a:cxn ang="0">
                  <a:pos x="911" y="84"/>
                </a:cxn>
                <a:cxn ang="0">
                  <a:pos x="851" y="111"/>
                </a:cxn>
                <a:cxn ang="0">
                  <a:pos x="841" y="155"/>
                </a:cxn>
                <a:cxn ang="0">
                  <a:pos x="835" y="200"/>
                </a:cxn>
                <a:cxn ang="0">
                  <a:pos x="789" y="227"/>
                </a:cxn>
                <a:cxn ang="0">
                  <a:pos x="723" y="363"/>
                </a:cxn>
                <a:cxn ang="0">
                  <a:pos x="643" y="468"/>
                </a:cxn>
                <a:cxn ang="0">
                  <a:pos x="588" y="503"/>
                </a:cxn>
                <a:cxn ang="0">
                  <a:pos x="523" y="523"/>
                </a:cxn>
                <a:cxn ang="0">
                  <a:pos x="460" y="520"/>
                </a:cxn>
                <a:cxn ang="0">
                  <a:pos x="416" y="493"/>
                </a:cxn>
                <a:cxn ang="0">
                  <a:pos x="266" y="433"/>
                </a:cxn>
                <a:cxn ang="0">
                  <a:pos x="212" y="436"/>
                </a:cxn>
                <a:cxn ang="0">
                  <a:pos x="198" y="465"/>
                </a:cxn>
                <a:cxn ang="0">
                  <a:pos x="188" y="524"/>
                </a:cxn>
                <a:cxn ang="0">
                  <a:pos x="144" y="563"/>
                </a:cxn>
                <a:cxn ang="0">
                  <a:pos x="84" y="577"/>
                </a:cxn>
                <a:cxn ang="0">
                  <a:pos x="0" y="596"/>
                </a:cxn>
                <a:cxn ang="0">
                  <a:pos x="28" y="676"/>
                </a:cxn>
                <a:cxn ang="0">
                  <a:pos x="55" y="739"/>
                </a:cxn>
                <a:cxn ang="0">
                  <a:pos x="130" y="804"/>
                </a:cxn>
                <a:cxn ang="0">
                  <a:pos x="156" y="861"/>
                </a:cxn>
                <a:cxn ang="0">
                  <a:pos x="99" y="881"/>
                </a:cxn>
                <a:cxn ang="0">
                  <a:pos x="92" y="928"/>
                </a:cxn>
                <a:cxn ang="0">
                  <a:pos x="132" y="993"/>
                </a:cxn>
              </a:cxnLst>
              <a:rect l="0" t="0" r="r" b="b"/>
              <a:pathLst>
                <a:path w="1536" h="1000">
                  <a:moveTo>
                    <a:pt x="132" y="1000"/>
                  </a:moveTo>
                  <a:lnTo>
                    <a:pt x="179" y="965"/>
                  </a:lnTo>
                  <a:lnTo>
                    <a:pt x="222" y="933"/>
                  </a:lnTo>
                  <a:lnTo>
                    <a:pt x="263" y="901"/>
                  </a:lnTo>
                  <a:lnTo>
                    <a:pt x="302" y="872"/>
                  </a:lnTo>
                  <a:lnTo>
                    <a:pt x="339" y="845"/>
                  </a:lnTo>
                  <a:lnTo>
                    <a:pt x="376" y="821"/>
                  </a:lnTo>
                  <a:lnTo>
                    <a:pt x="395" y="812"/>
                  </a:lnTo>
                  <a:lnTo>
                    <a:pt x="414" y="803"/>
                  </a:lnTo>
                  <a:lnTo>
                    <a:pt x="432" y="795"/>
                  </a:lnTo>
                  <a:lnTo>
                    <a:pt x="452" y="789"/>
                  </a:lnTo>
                  <a:lnTo>
                    <a:pt x="465" y="784"/>
                  </a:lnTo>
                  <a:lnTo>
                    <a:pt x="479" y="781"/>
                  </a:lnTo>
                  <a:lnTo>
                    <a:pt x="493" y="777"/>
                  </a:lnTo>
                  <a:lnTo>
                    <a:pt x="509" y="776"/>
                  </a:lnTo>
                  <a:lnTo>
                    <a:pt x="540" y="772"/>
                  </a:lnTo>
                  <a:lnTo>
                    <a:pt x="573" y="771"/>
                  </a:lnTo>
                  <a:lnTo>
                    <a:pt x="607" y="771"/>
                  </a:lnTo>
                  <a:lnTo>
                    <a:pt x="640" y="773"/>
                  </a:lnTo>
                  <a:lnTo>
                    <a:pt x="672" y="776"/>
                  </a:lnTo>
                  <a:lnTo>
                    <a:pt x="704" y="781"/>
                  </a:lnTo>
                  <a:lnTo>
                    <a:pt x="733" y="788"/>
                  </a:lnTo>
                  <a:lnTo>
                    <a:pt x="761" y="795"/>
                  </a:lnTo>
                  <a:lnTo>
                    <a:pt x="785" y="804"/>
                  </a:lnTo>
                  <a:lnTo>
                    <a:pt x="807" y="812"/>
                  </a:lnTo>
                  <a:lnTo>
                    <a:pt x="816" y="817"/>
                  </a:lnTo>
                  <a:lnTo>
                    <a:pt x="824" y="823"/>
                  </a:lnTo>
                  <a:lnTo>
                    <a:pt x="831" y="828"/>
                  </a:lnTo>
                  <a:lnTo>
                    <a:pt x="836" y="833"/>
                  </a:lnTo>
                  <a:lnTo>
                    <a:pt x="840" y="839"/>
                  </a:lnTo>
                  <a:lnTo>
                    <a:pt x="843" y="844"/>
                  </a:lnTo>
                  <a:lnTo>
                    <a:pt x="844" y="849"/>
                  </a:lnTo>
                  <a:lnTo>
                    <a:pt x="843" y="855"/>
                  </a:lnTo>
                  <a:lnTo>
                    <a:pt x="843" y="865"/>
                  </a:lnTo>
                  <a:lnTo>
                    <a:pt x="843" y="875"/>
                  </a:lnTo>
                  <a:lnTo>
                    <a:pt x="844" y="883"/>
                  </a:lnTo>
                  <a:lnTo>
                    <a:pt x="847" y="891"/>
                  </a:lnTo>
                  <a:lnTo>
                    <a:pt x="849" y="898"/>
                  </a:lnTo>
                  <a:lnTo>
                    <a:pt x="853" y="905"/>
                  </a:lnTo>
                  <a:lnTo>
                    <a:pt x="857" y="910"/>
                  </a:lnTo>
                  <a:lnTo>
                    <a:pt x="863" y="917"/>
                  </a:lnTo>
                  <a:lnTo>
                    <a:pt x="868" y="922"/>
                  </a:lnTo>
                  <a:lnTo>
                    <a:pt x="875" y="926"/>
                  </a:lnTo>
                  <a:lnTo>
                    <a:pt x="883" y="930"/>
                  </a:lnTo>
                  <a:lnTo>
                    <a:pt x="891" y="934"/>
                  </a:lnTo>
                  <a:lnTo>
                    <a:pt x="908" y="941"/>
                  </a:lnTo>
                  <a:lnTo>
                    <a:pt x="927" y="946"/>
                  </a:lnTo>
                  <a:lnTo>
                    <a:pt x="948" y="950"/>
                  </a:lnTo>
                  <a:lnTo>
                    <a:pt x="969" y="953"/>
                  </a:lnTo>
                  <a:lnTo>
                    <a:pt x="993" y="956"/>
                  </a:lnTo>
                  <a:lnTo>
                    <a:pt x="1017" y="957"/>
                  </a:lnTo>
                  <a:lnTo>
                    <a:pt x="1065" y="957"/>
                  </a:lnTo>
                  <a:lnTo>
                    <a:pt x="1115" y="957"/>
                  </a:lnTo>
                  <a:lnTo>
                    <a:pt x="1153" y="957"/>
                  </a:lnTo>
                  <a:lnTo>
                    <a:pt x="1191" y="957"/>
                  </a:lnTo>
                  <a:lnTo>
                    <a:pt x="1226" y="956"/>
                  </a:lnTo>
                  <a:lnTo>
                    <a:pt x="1260" y="953"/>
                  </a:lnTo>
                  <a:lnTo>
                    <a:pt x="1290" y="949"/>
                  </a:lnTo>
                  <a:lnTo>
                    <a:pt x="1318" y="945"/>
                  </a:lnTo>
                  <a:lnTo>
                    <a:pt x="1344" y="938"/>
                  </a:lnTo>
                  <a:lnTo>
                    <a:pt x="1368" y="930"/>
                  </a:lnTo>
                  <a:lnTo>
                    <a:pt x="1378" y="926"/>
                  </a:lnTo>
                  <a:lnTo>
                    <a:pt x="1388" y="921"/>
                  </a:lnTo>
                  <a:lnTo>
                    <a:pt x="1397" y="916"/>
                  </a:lnTo>
                  <a:lnTo>
                    <a:pt x="1406" y="909"/>
                  </a:lnTo>
                  <a:lnTo>
                    <a:pt x="1414" y="902"/>
                  </a:lnTo>
                  <a:lnTo>
                    <a:pt x="1421" y="896"/>
                  </a:lnTo>
                  <a:lnTo>
                    <a:pt x="1428" y="888"/>
                  </a:lnTo>
                  <a:lnTo>
                    <a:pt x="1434" y="879"/>
                  </a:lnTo>
                  <a:lnTo>
                    <a:pt x="1440" y="869"/>
                  </a:lnTo>
                  <a:lnTo>
                    <a:pt x="1444" y="860"/>
                  </a:lnTo>
                  <a:lnTo>
                    <a:pt x="1448" y="848"/>
                  </a:lnTo>
                  <a:lnTo>
                    <a:pt x="1452" y="837"/>
                  </a:lnTo>
                  <a:lnTo>
                    <a:pt x="1454" y="825"/>
                  </a:lnTo>
                  <a:lnTo>
                    <a:pt x="1456" y="812"/>
                  </a:lnTo>
                  <a:lnTo>
                    <a:pt x="1457" y="797"/>
                  </a:lnTo>
                  <a:lnTo>
                    <a:pt x="1457" y="783"/>
                  </a:lnTo>
                  <a:lnTo>
                    <a:pt x="1457" y="776"/>
                  </a:lnTo>
                  <a:lnTo>
                    <a:pt x="1453" y="769"/>
                  </a:lnTo>
                  <a:lnTo>
                    <a:pt x="1449" y="763"/>
                  </a:lnTo>
                  <a:lnTo>
                    <a:pt x="1444" y="756"/>
                  </a:lnTo>
                  <a:lnTo>
                    <a:pt x="1429" y="743"/>
                  </a:lnTo>
                  <a:lnTo>
                    <a:pt x="1412" y="727"/>
                  </a:lnTo>
                  <a:lnTo>
                    <a:pt x="1404" y="719"/>
                  </a:lnTo>
                  <a:lnTo>
                    <a:pt x="1396" y="711"/>
                  </a:lnTo>
                  <a:lnTo>
                    <a:pt x="1388" y="701"/>
                  </a:lnTo>
                  <a:lnTo>
                    <a:pt x="1381" y="692"/>
                  </a:lnTo>
                  <a:lnTo>
                    <a:pt x="1376" y="681"/>
                  </a:lnTo>
                  <a:lnTo>
                    <a:pt x="1370" y="669"/>
                  </a:lnTo>
                  <a:lnTo>
                    <a:pt x="1368" y="657"/>
                  </a:lnTo>
                  <a:lnTo>
                    <a:pt x="1368" y="644"/>
                  </a:lnTo>
                  <a:lnTo>
                    <a:pt x="1368" y="623"/>
                  </a:lnTo>
                  <a:lnTo>
                    <a:pt x="1372" y="603"/>
                  </a:lnTo>
                  <a:lnTo>
                    <a:pt x="1376" y="583"/>
                  </a:lnTo>
                  <a:lnTo>
                    <a:pt x="1382" y="564"/>
                  </a:lnTo>
                  <a:lnTo>
                    <a:pt x="1390" y="545"/>
                  </a:lnTo>
                  <a:lnTo>
                    <a:pt x="1400" y="527"/>
                  </a:lnTo>
                  <a:lnTo>
                    <a:pt x="1409" y="509"/>
                  </a:lnTo>
                  <a:lnTo>
                    <a:pt x="1420" y="493"/>
                  </a:lnTo>
                  <a:lnTo>
                    <a:pt x="1442" y="460"/>
                  </a:lnTo>
                  <a:lnTo>
                    <a:pt x="1464" y="429"/>
                  </a:lnTo>
                  <a:lnTo>
                    <a:pt x="1484" y="401"/>
                  </a:lnTo>
                  <a:lnTo>
                    <a:pt x="1500" y="373"/>
                  </a:lnTo>
                  <a:lnTo>
                    <a:pt x="1485" y="359"/>
                  </a:lnTo>
                  <a:lnTo>
                    <a:pt x="1465" y="340"/>
                  </a:lnTo>
                  <a:lnTo>
                    <a:pt x="1456" y="329"/>
                  </a:lnTo>
                  <a:lnTo>
                    <a:pt x="1446" y="317"/>
                  </a:lnTo>
                  <a:lnTo>
                    <a:pt x="1444" y="311"/>
                  </a:lnTo>
                  <a:lnTo>
                    <a:pt x="1441" y="304"/>
                  </a:lnTo>
                  <a:lnTo>
                    <a:pt x="1440" y="296"/>
                  </a:lnTo>
                  <a:lnTo>
                    <a:pt x="1440" y="290"/>
                  </a:lnTo>
                  <a:lnTo>
                    <a:pt x="1440" y="280"/>
                  </a:lnTo>
                  <a:lnTo>
                    <a:pt x="1441" y="274"/>
                  </a:lnTo>
                  <a:lnTo>
                    <a:pt x="1444" y="267"/>
                  </a:lnTo>
                  <a:lnTo>
                    <a:pt x="1445" y="260"/>
                  </a:lnTo>
                  <a:lnTo>
                    <a:pt x="1449" y="250"/>
                  </a:lnTo>
                  <a:lnTo>
                    <a:pt x="1452" y="240"/>
                  </a:lnTo>
                  <a:lnTo>
                    <a:pt x="1456" y="239"/>
                  </a:lnTo>
                  <a:lnTo>
                    <a:pt x="1460" y="236"/>
                  </a:lnTo>
                  <a:lnTo>
                    <a:pt x="1462" y="232"/>
                  </a:lnTo>
                  <a:lnTo>
                    <a:pt x="1464" y="228"/>
                  </a:lnTo>
                  <a:lnTo>
                    <a:pt x="1462" y="222"/>
                  </a:lnTo>
                  <a:lnTo>
                    <a:pt x="1461" y="212"/>
                  </a:lnTo>
                  <a:lnTo>
                    <a:pt x="1457" y="203"/>
                  </a:lnTo>
                  <a:lnTo>
                    <a:pt x="1453" y="194"/>
                  </a:lnTo>
                  <a:lnTo>
                    <a:pt x="1450" y="184"/>
                  </a:lnTo>
                  <a:lnTo>
                    <a:pt x="1452" y="175"/>
                  </a:lnTo>
                  <a:lnTo>
                    <a:pt x="1460" y="176"/>
                  </a:lnTo>
                  <a:lnTo>
                    <a:pt x="1466" y="178"/>
                  </a:lnTo>
                  <a:lnTo>
                    <a:pt x="1473" y="178"/>
                  </a:lnTo>
                  <a:lnTo>
                    <a:pt x="1480" y="178"/>
                  </a:lnTo>
                  <a:lnTo>
                    <a:pt x="1492" y="175"/>
                  </a:lnTo>
                  <a:lnTo>
                    <a:pt x="1502" y="170"/>
                  </a:lnTo>
                  <a:lnTo>
                    <a:pt x="1512" y="162"/>
                  </a:lnTo>
                  <a:lnTo>
                    <a:pt x="1521" y="154"/>
                  </a:lnTo>
                  <a:lnTo>
                    <a:pt x="1529" y="143"/>
                  </a:lnTo>
                  <a:lnTo>
                    <a:pt x="1536" y="132"/>
                  </a:lnTo>
                  <a:lnTo>
                    <a:pt x="1516" y="132"/>
                  </a:lnTo>
                  <a:lnTo>
                    <a:pt x="1496" y="130"/>
                  </a:lnTo>
                  <a:lnTo>
                    <a:pt x="1485" y="127"/>
                  </a:lnTo>
                  <a:lnTo>
                    <a:pt x="1477" y="123"/>
                  </a:lnTo>
                  <a:lnTo>
                    <a:pt x="1473" y="119"/>
                  </a:lnTo>
                  <a:lnTo>
                    <a:pt x="1469" y="116"/>
                  </a:lnTo>
                  <a:lnTo>
                    <a:pt x="1466" y="112"/>
                  </a:lnTo>
                  <a:lnTo>
                    <a:pt x="1464" y="108"/>
                  </a:lnTo>
                  <a:lnTo>
                    <a:pt x="1448" y="114"/>
                  </a:lnTo>
                  <a:lnTo>
                    <a:pt x="1436" y="120"/>
                  </a:lnTo>
                  <a:lnTo>
                    <a:pt x="1429" y="123"/>
                  </a:lnTo>
                  <a:lnTo>
                    <a:pt x="1422" y="124"/>
                  </a:lnTo>
                  <a:lnTo>
                    <a:pt x="1413" y="126"/>
                  </a:lnTo>
                  <a:lnTo>
                    <a:pt x="1404" y="127"/>
                  </a:lnTo>
                  <a:lnTo>
                    <a:pt x="1390" y="126"/>
                  </a:lnTo>
                  <a:lnTo>
                    <a:pt x="1377" y="124"/>
                  </a:lnTo>
                  <a:lnTo>
                    <a:pt x="1365" y="123"/>
                  </a:lnTo>
                  <a:lnTo>
                    <a:pt x="1354" y="119"/>
                  </a:lnTo>
                  <a:lnTo>
                    <a:pt x="1332" y="111"/>
                  </a:lnTo>
                  <a:lnTo>
                    <a:pt x="1312" y="102"/>
                  </a:lnTo>
                  <a:lnTo>
                    <a:pt x="1273" y="78"/>
                  </a:lnTo>
                  <a:lnTo>
                    <a:pt x="1234" y="54"/>
                  </a:lnTo>
                  <a:lnTo>
                    <a:pt x="1225" y="47"/>
                  </a:lnTo>
                  <a:lnTo>
                    <a:pt x="1217" y="38"/>
                  </a:lnTo>
                  <a:lnTo>
                    <a:pt x="1211" y="30"/>
                  </a:lnTo>
                  <a:lnTo>
                    <a:pt x="1205" y="20"/>
                  </a:lnTo>
                  <a:lnTo>
                    <a:pt x="1197" y="12"/>
                  </a:lnTo>
                  <a:lnTo>
                    <a:pt x="1188" y="6"/>
                  </a:lnTo>
                  <a:lnTo>
                    <a:pt x="1181" y="3"/>
                  </a:lnTo>
                  <a:lnTo>
                    <a:pt x="1175" y="2"/>
                  </a:lnTo>
                  <a:lnTo>
                    <a:pt x="1165" y="0"/>
                  </a:lnTo>
                  <a:lnTo>
                    <a:pt x="1156" y="0"/>
                  </a:lnTo>
                  <a:lnTo>
                    <a:pt x="1143" y="2"/>
                  </a:lnTo>
                  <a:lnTo>
                    <a:pt x="1129" y="6"/>
                  </a:lnTo>
                  <a:lnTo>
                    <a:pt x="1116" y="10"/>
                  </a:lnTo>
                  <a:lnTo>
                    <a:pt x="1103" y="12"/>
                  </a:lnTo>
                  <a:lnTo>
                    <a:pt x="1105" y="16"/>
                  </a:lnTo>
                  <a:lnTo>
                    <a:pt x="1108" y="22"/>
                  </a:lnTo>
                  <a:lnTo>
                    <a:pt x="1109" y="27"/>
                  </a:lnTo>
                  <a:lnTo>
                    <a:pt x="1109" y="34"/>
                  </a:lnTo>
                  <a:lnTo>
                    <a:pt x="1107" y="44"/>
                  </a:lnTo>
                  <a:lnTo>
                    <a:pt x="1103" y="54"/>
                  </a:lnTo>
                  <a:lnTo>
                    <a:pt x="1077" y="55"/>
                  </a:lnTo>
                  <a:lnTo>
                    <a:pt x="1047" y="58"/>
                  </a:lnTo>
                  <a:lnTo>
                    <a:pt x="1013" y="62"/>
                  </a:lnTo>
                  <a:lnTo>
                    <a:pt x="979" y="68"/>
                  </a:lnTo>
                  <a:lnTo>
                    <a:pt x="944" y="75"/>
                  </a:lnTo>
                  <a:lnTo>
                    <a:pt x="911" y="84"/>
                  </a:lnTo>
                  <a:lnTo>
                    <a:pt x="895" y="90"/>
                  </a:lnTo>
                  <a:lnTo>
                    <a:pt x="881" y="96"/>
                  </a:lnTo>
                  <a:lnTo>
                    <a:pt x="867" y="102"/>
                  </a:lnTo>
                  <a:lnTo>
                    <a:pt x="855" y="108"/>
                  </a:lnTo>
                  <a:lnTo>
                    <a:pt x="851" y="111"/>
                  </a:lnTo>
                  <a:lnTo>
                    <a:pt x="848" y="115"/>
                  </a:lnTo>
                  <a:lnTo>
                    <a:pt x="845" y="120"/>
                  </a:lnTo>
                  <a:lnTo>
                    <a:pt x="844" y="126"/>
                  </a:lnTo>
                  <a:lnTo>
                    <a:pt x="841" y="139"/>
                  </a:lnTo>
                  <a:lnTo>
                    <a:pt x="841" y="155"/>
                  </a:lnTo>
                  <a:lnTo>
                    <a:pt x="840" y="170"/>
                  </a:lnTo>
                  <a:lnTo>
                    <a:pt x="839" y="184"/>
                  </a:lnTo>
                  <a:lnTo>
                    <a:pt x="839" y="190"/>
                  </a:lnTo>
                  <a:lnTo>
                    <a:pt x="836" y="196"/>
                  </a:lnTo>
                  <a:lnTo>
                    <a:pt x="835" y="200"/>
                  </a:lnTo>
                  <a:lnTo>
                    <a:pt x="831" y="204"/>
                  </a:lnTo>
                  <a:lnTo>
                    <a:pt x="819" y="212"/>
                  </a:lnTo>
                  <a:lnTo>
                    <a:pt x="804" y="219"/>
                  </a:lnTo>
                  <a:lnTo>
                    <a:pt x="796" y="222"/>
                  </a:lnTo>
                  <a:lnTo>
                    <a:pt x="789" y="227"/>
                  </a:lnTo>
                  <a:lnTo>
                    <a:pt x="783" y="234"/>
                  </a:lnTo>
                  <a:lnTo>
                    <a:pt x="777" y="240"/>
                  </a:lnTo>
                  <a:lnTo>
                    <a:pt x="757" y="290"/>
                  </a:lnTo>
                  <a:lnTo>
                    <a:pt x="735" y="339"/>
                  </a:lnTo>
                  <a:lnTo>
                    <a:pt x="723" y="363"/>
                  </a:lnTo>
                  <a:lnTo>
                    <a:pt x="709" y="385"/>
                  </a:lnTo>
                  <a:lnTo>
                    <a:pt x="695" y="408"/>
                  </a:lnTo>
                  <a:lnTo>
                    <a:pt x="679" y="429"/>
                  </a:lnTo>
                  <a:lnTo>
                    <a:pt x="661" y="449"/>
                  </a:lnTo>
                  <a:lnTo>
                    <a:pt x="643" y="468"/>
                  </a:lnTo>
                  <a:lnTo>
                    <a:pt x="632" y="476"/>
                  </a:lnTo>
                  <a:lnTo>
                    <a:pt x="621" y="484"/>
                  </a:lnTo>
                  <a:lnTo>
                    <a:pt x="611" y="491"/>
                  </a:lnTo>
                  <a:lnTo>
                    <a:pt x="600" y="497"/>
                  </a:lnTo>
                  <a:lnTo>
                    <a:pt x="588" y="503"/>
                  </a:lnTo>
                  <a:lnTo>
                    <a:pt x="576" y="508"/>
                  </a:lnTo>
                  <a:lnTo>
                    <a:pt x="564" y="513"/>
                  </a:lnTo>
                  <a:lnTo>
                    <a:pt x="551" y="517"/>
                  </a:lnTo>
                  <a:lnTo>
                    <a:pt x="537" y="520"/>
                  </a:lnTo>
                  <a:lnTo>
                    <a:pt x="523" y="523"/>
                  </a:lnTo>
                  <a:lnTo>
                    <a:pt x="509" y="524"/>
                  </a:lnTo>
                  <a:lnTo>
                    <a:pt x="493" y="524"/>
                  </a:lnTo>
                  <a:lnTo>
                    <a:pt x="483" y="524"/>
                  </a:lnTo>
                  <a:lnTo>
                    <a:pt x="472" y="523"/>
                  </a:lnTo>
                  <a:lnTo>
                    <a:pt x="460" y="520"/>
                  </a:lnTo>
                  <a:lnTo>
                    <a:pt x="451" y="517"/>
                  </a:lnTo>
                  <a:lnTo>
                    <a:pt x="440" y="513"/>
                  </a:lnTo>
                  <a:lnTo>
                    <a:pt x="431" y="508"/>
                  </a:lnTo>
                  <a:lnTo>
                    <a:pt x="423" y="501"/>
                  </a:lnTo>
                  <a:lnTo>
                    <a:pt x="416" y="493"/>
                  </a:lnTo>
                  <a:lnTo>
                    <a:pt x="314" y="493"/>
                  </a:lnTo>
                  <a:lnTo>
                    <a:pt x="303" y="481"/>
                  </a:lnTo>
                  <a:lnTo>
                    <a:pt x="287" y="461"/>
                  </a:lnTo>
                  <a:lnTo>
                    <a:pt x="272" y="441"/>
                  </a:lnTo>
                  <a:lnTo>
                    <a:pt x="266" y="433"/>
                  </a:lnTo>
                  <a:lnTo>
                    <a:pt x="248" y="433"/>
                  </a:lnTo>
                  <a:lnTo>
                    <a:pt x="232" y="432"/>
                  </a:lnTo>
                  <a:lnTo>
                    <a:pt x="226" y="432"/>
                  </a:lnTo>
                  <a:lnTo>
                    <a:pt x="219" y="433"/>
                  </a:lnTo>
                  <a:lnTo>
                    <a:pt x="212" y="436"/>
                  </a:lnTo>
                  <a:lnTo>
                    <a:pt x="206" y="440"/>
                  </a:lnTo>
                  <a:lnTo>
                    <a:pt x="202" y="444"/>
                  </a:lnTo>
                  <a:lnTo>
                    <a:pt x="199" y="451"/>
                  </a:lnTo>
                  <a:lnTo>
                    <a:pt x="198" y="457"/>
                  </a:lnTo>
                  <a:lnTo>
                    <a:pt x="198" y="465"/>
                  </a:lnTo>
                  <a:lnTo>
                    <a:pt x="198" y="481"/>
                  </a:lnTo>
                  <a:lnTo>
                    <a:pt x="199" y="500"/>
                  </a:lnTo>
                  <a:lnTo>
                    <a:pt x="196" y="508"/>
                  </a:lnTo>
                  <a:lnTo>
                    <a:pt x="194" y="516"/>
                  </a:lnTo>
                  <a:lnTo>
                    <a:pt x="188" y="524"/>
                  </a:lnTo>
                  <a:lnTo>
                    <a:pt x="182" y="533"/>
                  </a:lnTo>
                  <a:lnTo>
                    <a:pt x="174" y="541"/>
                  </a:lnTo>
                  <a:lnTo>
                    <a:pt x="164" y="549"/>
                  </a:lnTo>
                  <a:lnTo>
                    <a:pt x="155" y="556"/>
                  </a:lnTo>
                  <a:lnTo>
                    <a:pt x="144" y="563"/>
                  </a:lnTo>
                  <a:lnTo>
                    <a:pt x="132" y="568"/>
                  </a:lnTo>
                  <a:lnTo>
                    <a:pt x="120" y="572"/>
                  </a:lnTo>
                  <a:lnTo>
                    <a:pt x="108" y="575"/>
                  </a:lnTo>
                  <a:lnTo>
                    <a:pt x="96" y="577"/>
                  </a:lnTo>
                  <a:lnTo>
                    <a:pt x="84" y="577"/>
                  </a:lnTo>
                  <a:lnTo>
                    <a:pt x="72" y="575"/>
                  </a:lnTo>
                  <a:lnTo>
                    <a:pt x="60" y="572"/>
                  </a:lnTo>
                  <a:lnTo>
                    <a:pt x="48" y="565"/>
                  </a:lnTo>
                  <a:lnTo>
                    <a:pt x="0" y="565"/>
                  </a:lnTo>
                  <a:lnTo>
                    <a:pt x="0" y="596"/>
                  </a:lnTo>
                  <a:lnTo>
                    <a:pt x="10" y="615"/>
                  </a:lnTo>
                  <a:lnTo>
                    <a:pt x="18" y="635"/>
                  </a:lnTo>
                  <a:lnTo>
                    <a:pt x="22" y="647"/>
                  </a:lnTo>
                  <a:lnTo>
                    <a:pt x="24" y="660"/>
                  </a:lnTo>
                  <a:lnTo>
                    <a:pt x="28" y="676"/>
                  </a:lnTo>
                  <a:lnTo>
                    <a:pt x="30" y="692"/>
                  </a:lnTo>
                  <a:lnTo>
                    <a:pt x="34" y="705"/>
                  </a:lnTo>
                  <a:lnTo>
                    <a:pt x="39" y="717"/>
                  </a:lnTo>
                  <a:lnTo>
                    <a:pt x="47" y="729"/>
                  </a:lnTo>
                  <a:lnTo>
                    <a:pt x="55" y="739"/>
                  </a:lnTo>
                  <a:lnTo>
                    <a:pt x="75" y="759"/>
                  </a:lnTo>
                  <a:lnTo>
                    <a:pt x="98" y="777"/>
                  </a:lnTo>
                  <a:lnTo>
                    <a:pt x="110" y="785"/>
                  </a:lnTo>
                  <a:lnTo>
                    <a:pt x="120" y="795"/>
                  </a:lnTo>
                  <a:lnTo>
                    <a:pt x="130" y="804"/>
                  </a:lnTo>
                  <a:lnTo>
                    <a:pt x="139" y="815"/>
                  </a:lnTo>
                  <a:lnTo>
                    <a:pt x="146" y="825"/>
                  </a:lnTo>
                  <a:lnTo>
                    <a:pt x="152" y="836"/>
                  </a:lnTo>
                  <a:lnTo>
                    <a:pt x="155" y="848"/>
                  </a:lnTo>
                  <a:lnTo>
                    <a:pt x="156" y="861"/>
                  </a:lnTo>
                  <a:lnTo>
                    <a:pt x="127" y="861"/>
                  </a:lnTo>
                  <a:lnTo>
                    <a:pt x="118" y="864"/>
                  </a:lnTo>
                  <a:lnTo>
                    <a:pt x="111" y="869"/>
                  </a:lnTo>
                  <a:lnTo>
                    <a:pt x="104" y="875"/>
                  </a:lnTo>
                  <a:lnTo>
                    <a:pt x="99" y="881"/>
                  </a:lnTo>
                  <a:lnTo>
                    <a:pt x="95" y="889"/>
                  </a:lnTo>
                  <a:lnTo>
                    <a:pt x="92" y="897"/>
                  </a:lnTo>
                  <a:lnTo>
                    <a:pt x="91" y="906"/>
                  </a:lnTo>
                  <a:lnTo>
                    <a:pt x="91" y="916"/>
                  </a:lnTo>
                  <a:lnTo>
                    <a:pt x="92" y="928"/>
                  </a:lnTo>
                  <a:lnTo>
                    <a:pt x="95" y="940"/>
                  </a:lnTo>
                  <a:lnTo>
                    <a:pt x="100" y="950"/>
                  </a:lnTo>
                  <a:lnTo>
                    <a:pt x="107" y="961"/>
                  </a:lnTo>
                  <a:lnTo>
                    <a:pt x="122" y="978"/>
                  </a:lnTo>
                  <a:lnTo>
                    <a:pt x="132" y="993"/>
                  </a:lnTo>
                  <a:lnTo>
                    <a:pt x="132" y="100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5" name="Freeform 106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4460875" y="4243388"/>
              <a:ext cx="255588" cy="382587"/>
            </a:xfrm>
            <a:custGeom>
              <a:avLst/>
              <a:gdLst/>
              <a:ahLst/>
              <a:cxnLst>
                <a:cxn ang="0">
                  <a:pos x="110" y="18"/>
                </a:cxn>
                <a:cxn ang="0">
                  <a:pos x="102" y="43"/>
                </a:cxn>
                <a:cxn ang="0">
                  <a:pos x="113" y="75"/>
                </a:cxn>
                <a:cxn ang="0">
                  <a:pos x="134" y="114"/>
                </a:cxn>
                <a:cxn ang="0">
                  <a:pos x="137" y="149"/>
                </a:cxn>
                <a:cxn ang="0">
                  <a:pos x="113" y="217"/>
                </a:cxn>
                <a:cxn ang="0">
                  <a:pos x="102" y="269"/>
                </a:cxn>
                <a:cxn ang="0">
                  <a:pos x="110" y="284"/>
                </a:cxn>
                <a:cxn ang="0">
                  <a:pos x="165" y="281"/>
                </a:cxn>
                <a:cxn ang="0">
                  <a:pos x="206" y="287"/>
                </a:cxn>
                <a:cxn ang="0">
                  <a:pos x="226" y="301"/>
                </a:cxn>
                <a:cxn ang="0">
                  <a:pos x="234" y="328"/>
                </a:cxn>
                <a:cxn ang="0">
                  <a:pos x="226" y="371"/>
                </a:cxn>
                <a:cxn ang="0">
                  <a:pos x="177" y="435"/>
                </a:cxn>
                <a:cxn ang="0">
                  <a:pos x="152" y="492"/>
                </a:cxn>
                <a:cxn ang="0">
                  <a:pos x="154" y="539"/>
                </a:cxn>
                <a:cxn ang="0">
                  <a:pos x="180" y="612"/>
                </a:cxn>
                <a:cxn ang="0">
                  <a:pos x="192" y="659"/>
                </a:cxn>
                <a:cxn ang="0">
                  <a:pos x="188" y="698"/>
                </a:cxn>
                <a:cxn ang="0">
                  <a:pos x="169" y="732"/>
                </a:cxn>
                <a:cxn ang="0">
                  <a:pos x="114" y="776"/>
                </a:cxn>
                <a:cxn ang="0">
                  <a:pos x="45" y="820"/>
                </a:cxn>
                <a:cxn ang="0">
                  <a:pos x="12" y="853"/>
                </a:cxn>
                <a:cxn ang="0">
                  <a:pos x="0" y="886"/>
                </a:cxn>
                <a:cxn ang="0">
                  <a:pos x="5" y="908"/>
                </a:cxn>
                <a:cxn ang="0">
                  <a:pos x="18" y="938"/>
                </a:cxn>
                <a:cxn ang="0">
                  <a:pos x="6" y="988"/>
                </a:cxn>
                <a:cxn ang="0">
                  <a:pos x="13" y="1001"/>
                </a:cxn>
                <a:cxn ang="0">
                  <a:pos x="57" y="1020"/>
                </a:cxn>
                <a:cxn ang="0">
                  <a:pos x="86" y="1022"/>
                </a:cxn>
                <a:cxn ang="0">
                  <a:pos x="109" y="1004"/>
                </a:cxn>
                <a:cxn ang="0">
                  <a:pos x="186" y="950"/>
                </a:cxn>
                <a:cxn ang="0">
                  <a:pos x="234" y="962"/>
                </a:cxn>
                <a:cxn ang="0">
                  <a:pos x="282" y="948"/>
                </a:cxn>
                <a:cxn ang="0">
                  <a:pos x="320" y="918"/>
                </a:cxn>
                <a:cxn ang="0">
                  <a:pos x="337" y="885"/>
                </a:cxn>
                <a:cxn ang="0">
                  <a:pos x="337" y="836"/>
                </a:cxn>
                <a:cxn ang="0">
                  <a:pos x="357" y="820"/>
                </a:cxn>
                <a:cxn ang="0">
                  <a:pos x="404" y="825"/>
                </a:cxn>
                <a:cxn ang="0">
                  <a:pos x="418" y="762"/>
                </a:cxn>
                <a:cxn ang="0">
                  <a:pos x="453" y="722"/>
                </a:cxn>
                <a:cxn ang="0">
                  <a:pos x="514" y="675"/>
                </a:cxn>
                <a:cxn ang="0">
                  <a:pos x="541" y="639"/>
                </a:cxn>
                <a:cxn ang="0">
                  <a:pos x="544" y="601"/>
                </a:cxn>
                <a:cxn ang="0">
                  <a:pos x="558" y="565"/>
                </a:cxn>
                <a:cxn ang="0">
                  <a:pos x="589" y="537"/>
                </a:cxn>
                <a:cxn ang="0">
                  <a:pos x="595" y="517"/>
                </a:cxn>
                <a:cxn ang="0">
                  <a:pos x="584" y="488"/>
                </a:cxn>
                <a:cxn ang="0">
                  <a:pos x="572" y="457"/>
                </a:cxn>
                <a:cxn ang="0">
                  <a:pos x="545" y="421"/>
                </a:cxn>
                <a:cxn ang="0">
                  <a:pos x="502" y="288"/>
                </a:cxn>
                <a:cxn ang="0">
                  <a:pos x="472" y="199"/>
                </a:cxn>
                <a:cxn ang="0">
                  <a:pos x="446" y="161"/>
                </a:cxn>
                <a:cxn ang="0">
                  <a:pos x="409" y="132"/>
                </a:cxn>
                <a:cxn ang="0">
                  <a:pos x="360" y="94"/>
                </a:cxn>
                <a:cxn ang="0">
                  <a:pos x="297" y="96"/>
                </a:cxn>
                <a:cxn ang="0">
                  <a:pos x="253" y="102"/>
                </a:cxn>
                <a:cxn ang="0">
                  <a:pos x="224" y="90"/>
                </a:cxn>
                <a:cxn ang="0">
                  <a:pos x="162" y="26"/>
                </a:cxn>
                <a:cxn ang="0">
                  <a:pos x="150" y="0"/>
                </a:cxn>
              </a:cxnLst>
              <a:rect l="0" t="0" r="r" b="b"/>
              <a:pathLst>
                <a:path w="595" h="1024">
                  <a:moveTo>
                    <a:pt x="150" y="0"/>
                  </a:moveTo>
                  <a:lnTo>
                    <a:pt x="133" y="7"/>
                  </a:lnTo>
                  <a:lnTo>
                    <a:pt x="117" y="14"/>
                  </a:lnTo>
                  <a:lnTo>
                    <a:pt x="110" y="18"/>
                  </a:lnTo>
                  <a:lnTo>
                    <a:pt x="106" y="22"/>
                  </a:lnTo>
                  <a:lnTo>
                    <a:pt x="104" y="28"/>
                  </a:lnTo>
                  <a:lnTo>
                    <a:pt x="102" y="36"/>
                  </a:lnTo>
                  <a:lnTo>
                    <a:pt x="102" y="43"/>
                  </a:lnTo>
                  <a:lnTo>
                    <a:pt x="104" y="51"/>
                  </a:lnTo>
                  <a:lnTo>
                    <a:pt x="105" y="58"/>
                  </a:lnTo>
                  <a:lnTo>
                    <a:pt x="108" y="64"/>
                  </a:lnTo>
                  <a:lnTo>
                    <a:pt x="113" y="75"/>
                  </a:lnTo>
                  <a:lnTo>
                    <a:pt x="120" y="87"/>
                  </a:lnTo>
                  <a:lnTo>
                    <a:pt x="126" y="98"/>
                  </a:lnTo>
                  <a:lnTo>
                    <a:pt x="133" y="108"/>
                  </a:lnTo>
                  <a:lnTo>
                    <a:pt x="134" y="114"/>
                  </a:lnTo>
                  <a:lnTo>
                    <a:pt x="137" y="119"/>
                  </a:lnTo>
                  <a:lnTo>
                    <a:pt x="138" y="125"/>
                  </a:lnTo>
                  <a:lnTo>
                    <a:pt x="138" y="132"/>
                  </a:lnTo>
                  <a:lnTo>
                    <a:pt x="137" y="149"/>
                  </a:lnTo>
                  <a:lnTo>
                    <a:pt x="133" y="167"/>
                  </a:lnTo>
                  <a:lnTo>
                    <a:pt x="126" y="184"/>
                  </a:lnTo>
                  <a:lnTo>
                    <a:pt x="120" y="200"/>
                  </a:lnTo>
                  <a:lnTo>
                    <a:pt x="113" y="217"/>
                  </a:lnTo>
                  <a:lnTo>
                    <a:pt x="108" y="233"/>
                  </a:lnTo>
                  <a:lnTo>
                    <a:pt x="104" y="249"/>
                  </a:lnTo>
                  <a:lnTo>
                    <a:pt x="102" y="264"/>
                  </a:lnTo>
                  <a:lnTo>
                    <a:pt x="102" y="269"/>
                  </a:lnTo>
                  <a:lnTo>
                    <a:pt x="104" y="273"/>
                  </a:lnTo>
                  <a:lnTo>
                    <a:pt x="105" y="277"/>
                  </a:lnTo>
                  <a:lnTo>
                    <a:pt x="106" y="280"/>
                  </a:lnTo>
                  <a:lnTo>
                    <a:pt x="110" y="284"/>
                  </a:lnTo>
                  <a:lnTo>
                    <a:pt x="117" y="285"/>
                  </a:lnTo>
                  <a:lnTo>
                    <a:pt x="130" y="284"/>
                  </a:lnTo>
                  <a:lnTo>
                    <a:pt x="144" y="283"/>
                  </a:lnTo>
                  <a:lnTo>
                    <a:pt x="165" y="281"/>
                  </a:lnTo>
                  <a:lnTo>
                    <a:pt x="184" y="281"/>
                  </a:lnTo>
                  <a:lnTo>
                    <a:pt x="192" y="283"/>
                  </a:lnTo>
                  <a:lnTo>
                    <a:pt x="200" y="284"/>
                  </a:lnTo>
                  <a:lnTo>
                    <a:pt x="206" y="287"/>
                  </a:lnTo>
                  <a:lnTo>
                    <a:pt x="212" y="289"/>
                  </a:lnTo>
                  <a:lnTo>
                    <a:pt x="217" y="293"/>
                  </a:lnTo>
                  <a:lnTo>
                    <a:pt x="222" y="297"/>
                  </a:lnTo>
                  <a:lnTo>
                    <a:pt x="226" y="301"/>
                  </a:lnTo>
                  <a:lnTo>
                    <a:pt x="229" y="307"/>
                  </a:lnTo>
                  <a:lnTo>
                    <a:pt x="232" y="313"/>
                  </a:lnTo>
                  <a:lnTo>
                    <a:pt x="233" y="320"/>
                  </a:lnTo>
                  <a:lnTo>
                    <a:pt x="234" y="328"/>
                  </a:lnTo>
                  <a:lnTo>
                    <a:pt x="234" y="337"/>
                  </a:lnTo>
                  <a:lnTo>
                    <a:pt x="233" y="349"/>
                  </a:lnTo>
                  <a:lnTo>
                    <a:pt x="230" y="360"/>
                  </a:lnTo>
                  <a:lnTo>
                    <a:pt x="226" y="371"/>
                  </a:lnTo>
                  <a:lnTo>
                    <a:pt x="221" y="380"/>
                  </a:lnTo>
                  <a:lnTo>
                    <a:pt x="208" y="399"/>
                  </a:lnTo>
                  <a:lnTo>
                    <a:pt x="193" y="416"/>
                  </a:lnTo>
                  <a:lnTo>
                    <a:pt x="177" y="435"/>
                  </a:lnTo>
                  <a:lnTo>
                    <a:pt x="164" y="456"/>
                  </a:lnTo>
                  <a:lnTo>
                    <a:pt x="158" y="467"/>
                  </a:lnTo>
                  <a:lnTo>
                    <a:pt x="154" y="479"/>
                  </a:lnTo>
                  <a:lnTo>
                    <a:pt x="152" y="492"/>
                  </a:lnTo>
                  <a:lnTo>
                    <a:pt x="150" y="505"/>
                  </a:lnTo>
                  <a:lnTo>
                    <a:pt x="150" y="517"/>
                  </a:lnTo>
                  <a:lnTo>
                    <a:pt x="152" y="528"/>
                  </a:lnTo>
                  <a:lnTo>
                    <a:pt x="154" y="539"/>
                  </a:lnTo>
                  <a:lnTo>
                    <a:pt x="157" y="549"/>
                  </a:lnTo>
                  <a:lnTo>
                    <a:pt x="164" y="571"/>
                  </a:lnTo>
                  <a:lnTo>
                    <a:pt x="172" y="592"/>
                  </a:lnTo>
                  <a:lnTo>
                    <a:pt x="180" y="612"/>
                  </a:lnTo>
                  <a:lnTo>
                    <a:pt x="186" y="631"/>
                  </a:lnTo>
                  <a:lnTo>
                    <a:pt x="189" y="640"/>
                  </a:lnTo>
                  <a:lnTo>
                    <a:pt x="190" y="649"/>
                  </a:lnTo>
                  <a:lnTo>
                    <a:pt x="192" y="659"/>
                  </a:lnTo>
                  <a:lnTo>
                    <a:pt x="193" y="668"/>
                  </a:lnTo>
                  <a:lnTo>
                    <a:pt x="192" y="679"/>
                  </a:lnTo>
                  <a:lnTo>
                    <a:pt x="190" y="689"/>
                  </a:lnTo>
                  <a:lnTo>
                    <a:pt x="188" y="698"/>
                  </a:lnTo>
                  <a:lnTo>
                    <a:pt x="184" y="708"/>
                  </a:lnTo>
                  <a:lnTo>
                    <a:pt x="180" y="717"/>
                  </a:lnTo>
                  <a:lnTo>
                    <a:pt x="174" y="725"/>
                  </a:lnTo>
                  <a:lnTo>
                    <a:pt x="169" y="732"/>
                  </a:lnTo>
                  <a:lnTo>
                    <a:pt x="162" y="740"/>
                  </a:lnTo>
                  <a:lnTo>
                    <a:pt x="148" y="753"/>
                  </a:lnTo>
                  <a:lnTo>
                    <a:pt x="132" y="765"/>
                  </a:lnTo>
                  <a:lnTo>
                    <a:pt x="114" y="776"/>
                  </a:lnTo>
                  <a:lnTo>
                    <a:pt x="96" y="786"/>
                  </a:lnTo>
                  <a:lnTo>
                    <a:pt x="78" y="797"/>
                  </a:lnTo>
                  <a:lnTo>
                    <a:pt x="61" y="809"/>
                  </a:lnTo>
                  <a:lnTo>
                    <a:pt x="45" y="820"/>
                  </a:lnTo>
                  <a:lnTo>
                    <a:pt x="30" y="832"/>
                  </a:lnTo>
                  <a:lnTo>
                    <a:pt x="24" y="838"/>
                  </a:lnTo>
                  <a:lnTo>
                    <a:pt x="17" y="846"/>
                  </a:lnTo>
                  <a:lnTo>
                    <a:pt x="12" y="853"/>
                  </a:lnTo>
                  <a:lnTo>
                    <a:pt x="8" y="861"/>
                  </a:lnTo>
                  <a:lnTo>
                    <a:pt x="5" y="869"/>
                  </a:lnTo>
                  <a:lnTo>
                    <a:pt x="2" y="877"/>
                  </a:lnTo>
                  <a:lnTo>
                    <a:pt x="0" y="886"/>
                  </a:lnTo>
                  <a:lnTo>
                    <a:pt x="0" y="897"/>
                  </a:lnTo>
                  <a:lnTo>
                    <a:pt x="1" y="901"/>
                  </a:lnTo>
                  <a:lnTo>
                    <a:pt x="2" y="905"/>
                  </a:lnTo>
                  <a:lnTo>
                    <a:pt x="5" y="908"/>
                  </a:lnTo>
                  <a:lnTo>
                    <a:pt x="9" y="910"/>
                  </a:lnTo>
                  <a:lnTo>
                    <a:pt x="14" y="914"/>
                  </a:lnTo>
                  <a:lnTo>
                    <a:pt x="18" y="914"/>
                  </a:lnTo>
                  <a:lnTo>
                    <a:pt x="18" y="938"/>
                  </a:lnTo>
                  <a:lnTo>
                    <a:pt x="13" y="952"/>
                  </a:lnTo>
                  <a:lnTo>
                    <a:pt x="9" y="964"/>
                  </a:lnTo>
                  <a:lnTo>
                    <a:pt x="6" y="974"/>
                  </a:lnTo>
                  <a:lnTo>
                    <a:pt x="6" y="988"/>
                  </a:lnTo>
                  <a:lnTo>
                    <a:pt x="6" y="990"/>
                  </a:lnTo>
                  <a:lnTo>
                    <a:pt x="8" y="994"/>
                  </a:lnTo>
                  <a:lnTo>
                    <a:pt x="10" y="997"/>
                  </a:lnTo>
                  <a:lnTo>
                    <a:pt x="13" y="1001"/>
                  </a:lnTo>
                  <a:lnTo>
                    <a:pt x="22" y="1006"/>
                  </a:lnTo>
                  <a:lnTo>
                    <a:pt x="33" y="1012"/>
                  </a:lnTo>
                  <a:lnTo>
                    <a:pt x="45" y="1017"/>
                  </a:lnTo>
                  <a:lnTo>
                    <a:pt x="57" y="1020"/>
                  </a:lnTo>
                  <a:lnTo>
                    <a:pt x="68" y="1022"/>
                  </a:lnTo>
                  <a:lnTo>
                    <a:pt x="78" y="1024"/>
                  </a:lnTo>
                  <a:lnTo>
                    <a:pt x="82" y="1022"/>
                  </a:lnTo>
                  <a:lnTo>
                    <a:pt x="86" y="1022"/>
                  </a:lnTo>
                  <a:lnTo>
                    <a:pt x="90" y="1020"/>
                  </a:lnTo>
                  <a:lnTo>
                    <a:pt x="94" y="1017"/>
                  </a:lnTo>
                  <a:lnTo>
                    <a:pt x="102" y="1012"/>
                  </a:lnTo>
                  <a:lnTo>
                    <a:pt x="109" y="1004"/>
                  </a:lnTo>
                  <a:lnTo>
                    <a:pt x="122" y="988"/>
                  </a:lnTo>
                  <a:lnTo>
                    <a:pt x="132" y="976"/>
                  </a:lnTo>
                  <a:lnTo>
                    <a:pt x="138" y="950"/>
                  </a:lnTo>
                  <a:lnTo>
                    <a:pt x="186" y="950"/>
                  </a:lnTo>
                  <a:lnTo>
                    <a:pt x="198" y="957"/>
                  </a:lnTo>
                  <a:lnTo>
                    <a:pt x="210" y="960"/>
                  </a:lnTo>
                  <a:lnTo>
                    <a:pt x="222" y="962"/>
                  </a:lnTo>
                  <a:lnTo>
                    <a:pt x="234" y="962"/>
                  </a:lnTo>
                  <a:lnTo>
                    <a:pt x="246" y="960"/>
                  </a:lnTo>
                  <a:lnTo>
                    <a:pt x="258" y="957"/>
                  </a:lnTo>
                  <a:lnTo>
                    <a:pt x="270" y="953"/>
                  </a:lnTo>
                  <a:lnTo>
                    <a:pt x="282" y="948"/>
                  </a:lnTo>
                  <a:lnTo>
                    <a:pt x="293" y="941"/>
                  </a:lnTo>
                  <a:lnTo>
                    <a:pt x="302" y="934"/>
                  </a:lnTo>
                  <a:lnTo>
                    <a:pt x="312" y="926"/>
                  </a:lnTo>
                  <a:lnTo>
                    <a:pt x="320" y="918"/>
                  </a:lnTo>
                  <a:lnTo>
                    <a:pt x="326" y="909"/>
                  </a:lnTo>
                  <a:lnTo>
                    <a:pt x="332" y="901"/>
                  </a:lnTo>
                  <a:lnTo>
                    <a:pt x="334" y="893"/>
                  </a:lnTo>
                  <a:lnTo>
                    <a:pt x="337" y="885"/>
                  </a:lnTo>
                  <a:lnTo>
                    <a:pt x="336" y="866"/>
                  </a:lnTo>
                  <a:lnTo>
                    <a:pt x="336" y="850"/>
                  </a:lnTo>
                  <a:lnTo>
                    <a:pt x="336" y="842"/>
                  </a:lnTo>
                  <a:lnTo>
                    <a:pt x="337" y="836"/>
                  </a:lnTo>
                  <a:lnTo>
                    <a:pt x="340" y="829"/>
                  </a:lnTo>
                  <a:lnTo>
                    <a:pt x="344" y="825"/>
                  </a:lnTo>
                  <a:lnTo>
                    <a:pt x="350" y="821"/>
                  </a:lnTo>
                  <a:lnTo>
                    <a:pt x="357" y="820"/>
                  </a:lnTo>
                  <a:lnTo>
                    <a:pt x="364" y="820"/>
                  </a:lnTo>
                  <a:lnTo>
                    <a:pt x="370" y="820"/>
                  </a:lnTo>
                  <a:lnTo>
                    <a:pt x="386" y="822"/>
                  </a:lnTo>
                  <a:lnTo>
                    <a:pt x="404" y="825"/>
                  </a:lnTo>
                  <a:lnTo>
                    <a:pt x="404" y="806"/>
                  </a:lnTo>
                  <a:lnTo>
                    <a:pt x="408" y="790"/>
                  </a:lnTo>
                  <a:lnTo>
                    <a:pt x="412" y="776"/>
                  </a:lnTo>
                  <a:lnTo>
                    <a:pt x="418" y="762"/>
                  </a:lnTo>
                  <a:lnTo>
                    <a:pt x="425" y="750"/>
                  </a:lnTo>
                  <a:lnTo>
                    <a:pt x="434" y="741"/>
                  </a:lnTo>
                  <a:lnTo>
                    <a:pt x="444" y="730"/>
                  </a:lnTo>
                  <a:lnTo>
                    <a:pt x="453" y="722"/>
                  </a:lnTo>
                  <a:lnTo>
                    <a:pt x="474" y="706"/>
                  </a:lnTo>
                  <a:lnTo>
                    <a:pt x="494" y="691"/>
                  </a:lnTo>
                  <a:lnTo>
                    <a:pt x="505" y="683"/>
                  </a:lnTo>
                  <a:lnTo>
                    <a:pt x="514" y="675"/>
                  </a:lnTo>
                  <a:lnTo>
                    <a:pt x="522" y="665"/>
                  </a:lnTo>
                  <a:lnTo>
                    <a:pt x="530" y="656"/>
                  </a:lnTo>
                  <a:lnTo>
                    <a:pt x="537" y="647"/>
                  </a:lnTo>
                  <a:lnTo>
                    <a:pt x="541" y="639"/>
                  </a:lnTo>
                  <a:lnTo>
                    <a:pt x="542" y="631"/>
                  </a:lnTo>
                  <a:lnTo>
                    <a:pt x="544" y="621"/>
                  </a:lnTo>
                  <a:lnTo>
                    <a:pt x="544" y="612"/>
                  </a:lnTo>
                  <a:lnTo>
                    <a:pt x="544" y="601"/>
                  </a:lnTo>
                  <a:lnTo>
                    <a:pt x="545" y="591"/>
                  </a:lnTo>
                  <a:lnTo>
                    <a:pt x="548" y="577"/>
                  </a:lnTo>
                  <a:lnTo>
                    <a:pt x="552" y="571"/>
                  </a:lnTo>
                  <a:lnTo>
                    <a:pt x="558" y="565"/>
                  </a:lnTo>
                  <a:lnTo>
                    <a:pt x="566" y="559"/>
                  </a:lnTo>
                  <a:lnTo>
                    <a:pt x="574" y="552"/>
                  </a:lnTo>
                  <a:lnTo>
                    <a:pt x="582" y="545"/>
                  </a:lnTo>
                  <a:lnTo>
                    <a:pt x="589" y="537"/>
                  </a:lnTo>
                  <a:lnTo>
                    <a:pt x="591" y="533"/>
                  </a:lnTo>
                  <a:lnTo>
                    <a:pt x="594" y="528"/>
                  </a:lnTo>
                  <a:lnTo>
                    <a:pt x="595" y="523"/>
                  </a:lnTo>
                  <a:lnTo>
                    <a:pt x="595" y="517"/>
                  </a:lnTo>
                  <a:lnTo>
                    <a:pt x="594" y="509"/>
                  </a:lnTo>
                  <a:lnTo>
                    <a:pt x="591" y="501"/>
                  </a:lnTo>
                  <a:lnTo>
                    <a:pt x="589" y="495"/>
                  </a:lnTo>
                  <a:lnTo>
                    <a:pt x="584" y="488"/>
                  </a:lnTo>
                  <a:lnTo>
                    <a:pt x="580" y="480"/>
                  </a:lnTo>
                  <a:lnTo>
                    <a:pt x="576" y="473"/>
                  </a:lnTo>
                  <a:lnTo>
                    <a:pt x="573" y="465"/>
                  </a:lnTo>
                  <a:lnTo>
                    <a:pt x="572" y="457"/>
                  </a:lnTo>
                  <a:lnTo>
                    <a:pt x="565" y="449"/>
                  </a:lnTo>
                  <a:lnTo>
                    <a:pt x="557" y="440"/>
                  </a:lnTo>
                  <a:lnTo>
                    <a:pt x="552" y="432"/>
                  </a:lnTo>
                  <a:lnTo>
                    <a:pt x="545" y="421"/>
                  </a:lnTo>
                  <a:lnTo>
                    <a:pt x="536" y="401"/>
                  </a:lnTo>
                  <a:lnTo>
                    <a:pt x="528" y="380"/>
                  </a:lnTo>
                  <a:lnTo>
                    <a:pt x="513" y="335"/>
                  </a:lnTo>
                  <a:lnTo>
                    <a:pt x="502" y="288"/>
                  </a:lnTo>
                  <a:lnTo>
                    <a:pt x="496" y="264"/>
                  </a:lnTo>
                  <a:lnTo>
                    <a:pt x="489" y="241"/>
                  </a:lnTo>
                  <a:lnTo>
                    <a:pt x="481" y="220"/>
                  </a:lnTo>
                  <a:lnTo>
                    <a:pt x="472" y="199"/>
                  </a:lnTo>
                  <a:lnTo>
                    <a:pt x="465" y="189"/>
                  </a:lnTo>
                  <a:lnTo>
                    <a:pt x="460" y="180"/>
                  </a:lnTo>
                  <a:lnTo>
                    <a:pt x="453" y="171"/>
                  </a:lnTo>
                  <a:lnTo>
                    <a:pt x="446" y="161"/>
                  </a:lnTo>
                  <a:lnTo>
                    <a:pt x="438" y="153"/>
                  </a:lnTo>
                  <a:lnTo>
                    <a:pt x="429" y="145"/>
                  </a:lnTo>
                  <a:lnTo>
                    <a:pt x="420" y="139"/>
                  </a:lnTo>
                  <a:lnTo>
                    <a:pt x="409" y="132"/>
                  </a:lnTo>
                  <a:lnTo>
                    <a:pt x="393" y="117"/>
                  </a:lnTo>
                  <a:lnTo>
                    <a:pt x="377" y="104"/>
                  </a:lnTo>
                  <a:lnTo>
                    <a:pt x="369" y="99"/>
                  </a:lnTo>
                  <a:lnTo>
                    <a:pt x="360" y="94"/>
                  </a:lnTo>
                  <a:lnTo>
                    <a:pt x="349" y="91"/>
                  </a:lnTo>
                  <a:lnTo>
                    <a:pt x="337" y="90"/>
                  </a:lnTo>
                  <a:lnTo>
                    <a:pt x="316" y="92"/>
                  </a:lnTo>
                  <a:lnTo>
                    <a:pt x="297" y="96"/>
                  </a:lnTo>
                  <a:lnTo>
                    <a:pt x="288" y="99"/>
                  </a:lnTo>
                  <a:lnTo>
                    <a:pt x="277" y="100"/>
                  </a:lnTo>
                  <a:lnTo>
                    <a:pt x="265" y="102"/>
                  </a:lnTo>
                  <a:lnTo>
                    <a:pt x="253" y="102"/>
                  </a:lnTo>
                  <a:lnTo>
                    <a:pt x="246" y="102"/>
                  </a:lnTo>
                  <a:lnTo>
                    <a:pt x="240" y="99"/>
                  </a:lnTo>
                  <a:lnTo>
                    <a:pt x="232" y="95"/>
                  </a:lnTo>
                  <a:lnTo>
                    <a:pt x="224" y="90"/>
                  </a:lnTo>
                  <a:lnTo>
                    <a:pt x="208" y="76"/>
                  </a:lnTo>
                  <a:lnTo>
                    <a:pt x="190" y="60"/>
                  </a:lnTo>
                  <a:lnTo>
                    <a:pt x="174" y="43"/>
                  </a:lnTo>
                  <a:lnTo>
                    <a:pt x="162" y="26"/>
                  </a:lnTo>
                  <a:lnTo>
                    <a:pt x="157" y="18"/>
                  </a:lnTo>
                  <a:lnTo>
                    <a:pt x="153" y="11"/>
                  </a:lnTo>
                  <a:lnTo>
                    <a:pt x="152" y="4"/>
                  </a:lnTo>
                  <a:lnTo>
                    <a:pt x="150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6" name="Freeform 107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1095375" y="4019550"/>
              <a:ext cx="119063" cy="153988"/>
            </a:xfrm>
            <a:custGeom>
              <a:avLst/>
              <a:gdLst/>
              <a:ahLst/>
              <a:cxnLst>
                <a:cxn ang="0">
                  <a:pos x="276" y="237"/>
                </a:cxn>
                <a:cxn ang="0">
                  <a:pos x="273" y="216"/>
                </a:cxn>
                <a:cxn ang="0">
                  <a:pos x="268" y="181"/>
                </a:cxn>
                <a:cxn ang="0">
                  <a:pos x="254" y="145"/>
                </a:cxn>
                <a:cxn ang="0">
                  <a:pos x="230" y="111"/>
                </a:cxn>
                <a:cxn ang="0">
                  <a:pos x="202" y="83"/>
                </a:cxn>
                <a:cxn ang="0">
                  <a:pos x="170" y="64"/>
                </a:cxn>
                <a:cxn ang="0">
                  <a:pos x="141" y="60"/>
                </a:cxn>
                <a:cxn ang="0">
                  <a:pos x="118" y="55"/>
                </a:cxn>
                <a:cxn ang="0">
                  <a:pos x="72" y="20"/>
                </a:cxn>
                <a:cxn ang="0">
                  <a:pos x="31" y="43"/>
                </a:cxn>
                <a:cxn ang="0">
                  <a:pos x="55" y="80"/>
                </a:cxn>
                <a:cxn ang="0">
                  <a:pos x="94" y="114"/>
                </a:cxn>
                <a:cxn ang="0">
                  <a:pos x="118" y="120"/>
                </a:cxn>
                <a:cxn ang="0">
                  <a:pos x="162" y="110"/>
                </a:cxn>
                <a:cxn ang="0">
                  <a:pos x="178" y="119"/>
                </a:cxn>
                <a:cxn ang="0">
                  <a:pos x="186" y="151"/>
                </a:cxn>
                <a:cxn ang="0">
                  <a:pos x="180" y="167"/>
                </a:cxn>
                <a:cxn ang="0">
                  <a:pos x="148" y="193"/>
                </a:cxn>
                <a:cxn ang="0">
                  <a:pos x="101" y="216"/>
                </a:cxn>
                <a:cxn ang="0">
                  <a:pos x="92" y="279"/>
                </a:cxn>
                <a:cxn ang="0">
                  <a:pos x="88" y="297"/>
                </a:cxn>
                <a:cxn ang="0">
                  <a:pos x="77" y="309"/>
                </a:cxn>
                <a:cxn ang="0">
                  <a:pos x="61" y="301"/>
                </a:cxn>
                <a:cxn ang="0">
                  <a:pos x="51" y="285"/>
                </a:cxn>
                <a:cxn ang="0">
                  <a:pos x="37" y="284"/>
                </a:cxn>
                <a:cxn ang="0">
                  <a:pos x="16" y="292"/>
                </a:cxn>
                <a:cxn ang="0">
                  <a:pos x="1" y="307"/>
                </a:cxn>
                <a:cxn ang="0">
                  <a:pos x="4" y="352"/>
                </a:cxn>
                <a:cxn ang="0">
                  <a:pos x="13" y="376"/>
                </a:cxn>
                <a:cxn ang="0">
                  <a:pos x="27" y="393"/>
                </a:cxn>
                <a:cxn ang="0">
                  <a:pos x="44" y="405"/>
                </a:cxn>
                <a:cxn ang="0">
                  <a:pos x="66" y="411"/>
                </a:cxn>
                <a:cxn ang="0">
                  <a:pos x="96" y="400"/>
                </a:cxn>
                <a:cxn ang="0">
                  <a:pos x="125" y="373"/>
                </a:cxn>
                <a:cxn ang="0">
                  <a:pos x="158" y="323"/>
                </a:cxn>
                <a:cxn ang="0">
                  <a:pos x="193" y="248"/>
                </a:cxn>
                <a:cxn ang="0">
                  <a:pos x="218" y="248"/>
                </a:cxn>
                <a:cxn ang="0">
                  <a:pos x="228" y="292"/>
                </a:cxn>
                <a:cxn ang="0">
                  <a:pos x="234" y="315"/>
                </a:cxn>
                <a:cxn ang="0">
                  <a:pos x="241" y="320"/>
                </a:cxn>
                <a:cxn ang="0">
                  <a:pos x="253" y="312"/>
                </a:cxn>
                <a:cxn ang="0">
                  <a:pos x="258" y="280"/>
                </a:cxn>
                <a:cxn ang="0">
                  <a:pos x="261" y="248"/>
                </a:cxn>
                <a:cxn ang="0">
                  <a:pos x="270" y="241"/>
                </a:cxn>
              </a:cxnLst>
              <a:rect l="0" t="0" r="r" b="b"/>
              <a:pathLst>
                <a:path w="276" h="411">
                  <a:moveTo>
                    <a:pt x="270" y="241"/>
                  </a:moveTo>
                  <a:lnTo>
                    <a:pt x="274" y="240"/>
                  </a:lnTo>
                  <a:lnTo>
                    <a:pt x="276" y="237"/>
                  </a:lnTo>
                  <a:lnTo>
                    <a:pt x="276" y="233"/>
                  </a:lnTo>
                  <a:lnTo>
                    <a:pt x="276" y="228"/>
                  </a:lnTo>
                  <a:lnTo>
                    <a:pt x="273" y="216"/>
                  </a:lnTo>
                  <a:lnTo>
                    <a:pt x="270" y="205"/>
                  </a:lnTo>
                  <a:lnTo>
                    <a:pt x="270" y="193"/>
                  </a:lnTo>
                  <a:lnTo>
                    <a:pt x="268" y="181"/>
                  </a:lnTo>
                  <a:lnTo>
                    <a:pt x="264" y="169"/>
                  </a:lnTo>
                  <a:lnTo>
                    <a:pt x="260" y="157"/>
                  </a:lnTo>
                  <a:lnTo>
                    <a:pt x="254" y="145"/>
                  </a:lnTo>
                  <a:lnTo>
                    <a:pt x="246" y="133"/>
                  </a:lnTo>
                  <a:lnTo>
                    <a:pt x="240" y="122"/>
                  </a:lnTo>
                  <a:lnTo>
                    <a:pt x="230" y="111"/>
                  </a:lnTo>
                  <a:lnTo>
                    <a:pt x="222" y="100"/>
                  </a:lnTo>
                  <a:lnTo>
                    <a:pt x="212" y="91"/>
                  </a:lnTo>
                  <a:lnTo>
                    <a:pt x="202" y="83"/>
                  </a:lnTo>
                  <a:lnTo>
                    <a:pt x="192" y="75"/>
                  </a:lnTo>
                  <a:lnTo>
                    <a:pt x="181" y="70"/>
                  </a:lnTo>
                  <a:lnTo>
                    <a:pt x="170" y="64"/>
                  </a:lnTo>
                  <a:lnTo>
                    <a:pt x="161" y="62"/>
                  </a:lnTo>
                  <a:lnTo>
                    <a:pt x="150" y="60"/>
                  </a:lnTo>
                  <a:lnTo>
                    <a:pt x="141" y="60"/>
                  </a:lnTo>
                  <a:lnTo>
                    <a:pt x="133" y="59"/>
                  </a:lnTo>
                  <a:lnTo>
                    <a:pt x="125" y="58"/>
                  </a:lnTo>
                  <a:lnTo>
                    <a:pt x="118" y="55"/>
                  </a:lnTo>
                  <a:lnTo>
                    <a:pt x="105" y="48"/>
                  </a:lnTo>
                  <a:lnTo>
                    <a:pt x="93" y="40"/>
                  </a:lnTo>
                  <a:lnTo>
                    <a:pt x="72" y="20"/>
                  </a:lnTo>
                  <a:lnTo>
                    <a:pt x="55" y="0"/>
                  </a:lnTo>
                  <a:lnTo>
                    <a:pt x="31" y="0"/>
                  </a:lnTo>
                  <a:lnTo>
                    <a:pt x="31" y="43"/>
                  </a:lnTo>
                  <a:lnTo>
                    <a:pt x="36" y="55"/>
                  </a:lnTo>
                  <a:lnTo>
                    <a:pt x="44" y="68"/>
                  </a:lnTo>
                  <a:lnTo>
                    <a:pt x="55" y="80"/>
                  </a:lnTo>
                  <a:lnTo>
                    <a:pt x="66" y="94"/>
                  </a:lnTo>
                  <a:lnTo>
                    <a:pt x="80" y="104"/>
                  </a:lnTo>
                  <a:lnTo>
                    <a:pt x="94" y="114"/>
                  </a:lnTo>
                  <a:lnTo>
                    <a:pt x="102" y="116"/>
                  </a:lnTo>
                  <a:lnTo>
                    <a:pt x="110" y="119"/>
                  </a:lnTo>
                  <a:lnTo>
                    <a:pt x="118" y="120"/>
                  </a:lnTo>
                  <a:lnTo>
                    <a:pt x="126" y="122"/>
                  </a:lnTo>
                  <a:lnTo>
                    <a:pt x="142" y="115"/>
                  </a:lnTo>
                  <a:lnTo>
                    <a:pt x="162" y="110"/>
                  </a:lnTo>
                  <a:lnTo>
                    <a:pt x="169" y="111"/>
                  </a:lnTo>
                  <a:lnTo>
                    <a:pt x="173" y="114"/>
                  </a:lnTo>
                  <a:lnTo>
                    <a:pt x="178" y="119"/>
                  </a:lnTo>
                  <a:lnTo>
                    <a:pt x="181" y="126"/>
                  </a:lnTo>
                  <a:lnTo>
                    <a:pt x="185" y="140"/>
                  </a:lnTo>
                  <a:lnTo>
                    <a:pt x="186" y="151"/>
                  </a:lnTo>
                  <a:lnTo>
                    <a:pt x="185" y="156"/>
                  </a:lnTo>
                  <a:lnTo>
                    <a:pt x="184" y="161"/>
                  </a:lnTo>
                  <a:lnTo>
                    <a:pt x="180" y="167"/>
                  </a:lnTo>
                  <a:lnTo>
                    <a:pt x="174" y="172"/>
                  </a:lnTo>
                  <a:lnTo>
                    <a:pt x="162" y="183"/>
                  </a:lnTo>
                  <a:lnTo>
                    <a:pt x="148" y="193"/>
                  </a:lnTo>
                  <a:lnTo>
                    <a:pt x="132" y="203"/>
                  </a:lnTo>
                  <a:lnTo>
                    <a:pt x="116" y="211"/>
                  </a:lnTo>
                  <a:lnTo>
                    <a:pt x="101" y="216"/>
                  </a:lnTo>
                  <a:lnTo>
                    <a:pt x="90" y="217"/>
                  </a:lnTo>
                  <a:lnTo>
                    <a:pt x="92" y="249"/>
                  </a:lnTo>
                  <a:lnTo>
                    <a:pt x="92" y="279"/>
                  </a:lnTo>
                  <a:lnTo>
                    <a:pt x="90" y="285"/>
                  </a:lnTo>
                  <a:lnTo>
                    <a:pt x="89" y="292"/>
                  </a:lnTo>
                  <a:lnTo>
                    <a:pt x="88" y="297"/>
                  </a:lnTo>
                  <a:lnTo>
                    <a:pt x="85" y="301"/>
                  </a:lnTo>
                  <a:lnTo>
                    <a:pt x="81" y="307"/>
                  </a:lnTo>
                  <a:lnTo>
                    <a:pt x="77" y="309"/>
                  </a:lnTo>
                  <a:lnTo>
                    <a:pt x="72" y="312"/>
                  </a:lnTo>
                  <a:lnTo>
                    <a:pt x="66" y="313"/>
                  </a:lnTo>
                  <a:lnTo>
                    <a:pt x="61" y="301"/>
                  </a:lnTo>
                  <a:lnTo>
                    <a:pt x="56" y="292"/>
                  </a:lnTo>
                  <a:lnTo>
                    <a:pt x="53" y="288"/>
                  </a:lnTo>
                  <a:lnTo>
                    <a:pt x="51" y="285"/>
                  </a:lnTo>
                  <a:lnTo>
                    <a:pt x="47" y="284"/>
                  </a:lnTo>
                  <a:lnTo>
                    <a:pt x="43" y="284"/>
                  </a:lnTo>
                  <a:lnTo>
                    <a:pt x="37" y="284"/>
                  </a:lnTo>
                  <a:lnTo>
                    <a:pt x="31" y="285"/>
                  </a:lnTo>
                  <a:lnTo>
                    <a:pt x="24" y="288"/>
                  </a:lnTo>
                  <a:lnTo>
                    <a:pt x="16" y="292"/>
                  </a:lnTo>
                  <a:lnTo>
                    <a:pt x="11" y="296"/>
                  </a:lnTo>
                  <a:lnTo>
                    <a:pt x="5" y="301"/>
                  </a:lnTo>
                  <a:lnTo>
                    <a:pt x="1" y="307"/>
                  </a:lnTo>
                  <a:lnTo>
                    <a:pt x="0" y="313"/>
                  </a:lnTo>
                  <a:lnTo>
                    <a:pt x="1" y="333"/>
                  </a:lnTo>
                  <a:lnTo>
                    <a:pt x="4" y="352"/>
                  </a:lnTo>
                  <a:lnTo>
                    <a:pt x="7" y="360"/>
                  </a:lnTo>
                  <a:lnTo>
                    <a:pt x="9" y="368"/>
                  </a:lnTo>
                  <a:lnTo>
                    <a:pt x="13" y="376"/>
                  </a:lnTo>
                  <a:lnTo>
                    <a:pt x="17" y="383"/>
                  </a:lnTo>
                  <a:lnTo>
                    <a:pt x="21" y="388"/>
                  </a:lnTo>
                  <a:lnTo>
                    <a:pt x="27" y="393"/>
                  </a:lnTo>
                  <a:lnTo>
                    <a:pt x="32" y="399"/>
                  </a:lnTo>
                  <a:lnTo>
                    <a:pt x="39" y="403"/>
                  </a:lnTo>
                  <a:lnTo>
                    <a:pt x="44" y="405"/>
                  </a:lnTo>
                  <a:lnTo>
                    <a:pt x="51" y="408"/>
                  </a:lnTo>
                  <a:lnTo>
                    <a:pt x="58" y="409"/>
                  </a:lnTo>
                  <a:lnTo>
                    <a:pt x="66" y="411"/>
                  </a:lnTo>
                  <a:lnTo>
                    <a:pt x="76" y="409"/>
                  </a:lnTo>
                  <a:lnTo>
                    <a:pt x="86" y="405"/>
                  </a:lnTo>
                  <a:lnTo>
                    <a:pt x="96" y="400"/>
                  </a:lnTo>
                  <a:lnTo>
                    <a:pt x="106" y="392"/>
                  </a:lnTo>
                  <a:lnTo>
                    <a:pt x="116" y="383"/>
                  </a:lnTo>
                  <a:lnTo>
                    <a:pt x="125" y="373"/>
                  </a:lnTo>
                  <a:lnTo>
                    <a:pt x="134" y="361"/>
                  </a:lnTo>
                  <a:lnTo>
                    <a:pt x="142" y="349"/>
                  </a:lnTo>
                  <a:lnTo>
                    <a:pt x="158" y="323"/>
                  </a:lnTo>
                  <a:lnTo>
                    <a:pt x="173" y="296"/>
                  </a:lnTo>
                  <a:lnTo>
                    <a:pt x="184" y="269"/>
                  </a:lnTo>
                  <a:lnTo>
                    <a:pt x="193" y="248"/>
                  </a:lnTo>
                  <a:lnTo>
                    <a:pt x="204" y="249"/>
                  </a:lnTo>
                  <a:lnTo>
                    <a:pt x="212" y="249"/>
                  </a:lnTo>
                  <a:lnTo>
                    <a:pt x="218" y="248"/>
                  </a:lnTo>
                  <a:lnTo>
                    <a:pt x="222" y="248"/>
                  </a:lnTo>
                  <a:lnTo>
                    <a:pt x="224" y="269"/>
                  </a:lnTo>
                  <a:lnTo>
                    <a:pt x="228" y="292"/>
                  </a:lnTo>
                  <a:lnTo>
                    <a:pt x="229" y="303"/>
                  </a:lnTo>
                  <a:lnTo>
                    <a:pt x="233" y="312"/>
                  </a:lnTo>
                  <a:lnTo>
                    <a:pt x="234" y="315"/>
                  </a:lnTo>
                  <a:lnTo>
                    <a:pt x="237" y="317"/>
                  </a:lnTo>
                  <a:lnTo>
                    <a:pt x="238" y="319"/>
                  </a:lnTo>
                  <a:lnTo>
                    <a:pt x="241" y="320"/>
                  </a:lnTo>
                  <a:lnTo>
                    <a:pt x="245" y="319"/>
                  </a:lnTo>
                  <a:lnTo>
                    <a:pt x="249" y="316"/>
                  </a:lnTo>
                  <a:lnTo>
                    <a:pt x="253" y="312"/>
                  </a:lnTo>
                  <a:lnTo>
                    <a:pt x="254" y="308"/>
                  </a:lnTo>
                  <a:lnTo>
                    <a:pt x="257" y="295"/>
                  </a:lnTo>
                  <a:lnTo>
                    <a:pt x="258" y="280"/>
                  </a:lnTo>
                  <a:lnTo>
                    <a:pt x="258" y="267"/>
                  </a:lnTo>
                  <a:lnTo>
                    <a:pt x="260" y="253"/>
                  </a:lnTo>
                  <a:lnTo>
                    <a:pt x="261" y="248"/>
                  </a:lnTo>
                  <a:lnTo>
                    <a:pt x="264" y="245"/>
                  </a:lnTo>
                  <a:lnTo>
                    <a:pt x="266" y="243"/>
                  </a:lnTo>
                  <a:lnTo>
                    <a:pt x="270" y="24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7" name="Freeform 108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1347788" y="4014788"/>
              <a:ext cx="373062" cy="365125"/>
            </a:xfrm>
            <a:custGeom>
              <a:avLst/>
              <a:gdLst/>
              <a:ahLst/>
              <a:cxnLst>
                <a:cxn ang="0">
                  <a:pos x="488" y="110"/>
                </a:cxn>
                <a:cxn ang="0">
                  <a:pos x="513" y="127"/>
                </a:cxn>
                <a:cxn ang="0">
                  <a:pos x="565" y="110"/>
                </a:cxn>
                <a:cxn ang="0">
                  <a:pos x="552" y="189"/>
                </a:cxn>
                <a:cxn ang="0">
                  <a:pos x="403" y="260"/>
                </a:cxn>
                <a:cxn ang="0">
                  <a:pos x="384" y="291"/>
                </a:cxn>
                <a:cxn ang="0">
                  <a:pos x="373" y="329"/>
                </a:cxn>
                <a:cxn ang="0">
                  <a:pos x="336" y="335"/>
                </a:cxn>
                <a:cxn ang="0">
                  <a:pos x="295" y="320"/>
                </a:cxn>
                <a:cxn ang="0">
                  <a:pos x="267" y="307"/>
                </a:cxn>
                <a:cxn ang="0">
                  <a:pos x="244" y="231"/>
                </a:cxn>
                <a:cxn ang="0">
                  <a:pos x="187" y="164"/>
                </a:cxn>
                <a:cxn ang="0">
                  <a:pos x="163" y="98"/>
                </a:cxn>
                <a:cxn ang="0">
                  <a:pos x="114" y="143"/>
                </a:cxn>
                <a:cxn ang="0">
                  <a:pos x="79" y="138"/>
                </a:cxn>
                <a:cxn ang="0">
                  <a:pos x="35" y="122"/>
                </a:cxn>
                <a:cxn ang="0">
                  <a:pos x="2" y="148"/>
                </a:cxn>
                <a:cxn ang="0">
                  <a:pos x="22" y="200"/>
                </a:cxn>
                <a:cxn ang="0">
                  <a:pos x="67" y="207"/>
                </a:cxn>
                <a:cxn ang="0">
                  <a:pos x="102" y="221"/>
                </a:cxn>
                <a:cxn ang="0">
                  <a:pos x="148" y="245"/>
                </a:cxn>
                <a:cxn ang="0">
                  <a:pos x="196" y="283"/>
                </a:cxn>
                <a:cxn ang="0">
                  <a:pos x="240" y="344"/>
                </a:cxn>
                <a:cxn ang="0">
                  <a:pos x="288" y="392"/>
                </a:cxn>
                <a:cxn ang="0">
                  <a:pos x="289" y="452"/>
                </a:cxn>
                <a:cxn ang="0">
                  <a:pos x="277" y="499"/>
                </a:cxn>
                <a:cxn ang="0">
                  <a:pos x="307" y="581"/>
                </a:cxn>
                <a:cxn ang="0">
                  <a:pos x="392" y="703"/>
                </a:cxn>
                <a:cxn ang="0">
                  <a:pos x="403" y="765"/>
                </a:cxn>
                <a:cxn ang="0">
                  <a:pos x="409" y="817"/>
                </a:cxn>
                <a:cxn ang="0">
                  <a:pos x="491" y="878"/>
                </a:cxn>
                <a:cxn ang="0">
                  <a:pos x="521" y="941"/>
                </a:cxn>
                <a:cxn ang="0">
                  <a:pos x="560" y="970"/>
                </a:cxn>
                <a:cxn ang="0">
                  <a:pos x="645" y="922"/>
                </a:cxn>
                <a:cxn ang="0">
                  <a:pos x="699" y="865"/>
                </a:cxn>
                <a:cxn ang="0">
                  <a:pos x="693" y="832"/>
                </a:cxn>
                <a:cxn ang="0">
                  <a:pos x="656" y="796"/>
                </a:cxn>
                <a:cxn ang="0">
                  <a:pos x="699" y="748"/>
                </a:cxn>
                <a:cxn ang="0">
                  <a:pos x="740" y="699"/>
                </a:cxn>
                <a:cxn ang="0">
                  <a:pos x="720" y="651"/>
                </a:cxn>
                <a:cxn ang="0">
                  <a:pos x="721" y="608"/>
                </a:cxn>
                <a:cxn ang="0">
                  <a:pos x="777" y="615"/>
                </a:cxn>
                <a:cxn ang="0">
                  <a:pos x="844" y="581"/>
                </a:cxn>
                <a:cxn ang="0">
                  <a:pos x="852" y="537"/>
                </a:cxn>
                <a:cxn ang="0">
                  <a:pos x="837" y="459"/>
                </a:cxn>
                <a:cxn ang="0">
                  <a:pos x="873" y="404"/>
                </a:cxn>
                <a:cxn ang="0">
                  <a:pos x="835" y="356"/>
                </a:cxn>
                <a:cxn ang="0">
                  <a:pos x="816" y="324"/>
                </a:cxn>
                <a:cxn ang="0">
                  <a:pos x="809" y="224"/>
                </a:cxn>
                <a:cxn ang="0">
                  <a:pos x="771" y="90"/>
                </a:cxn>
                <a:cxn ang="0">
                  <a:pos x="717" y="78"/>
                </a:cxn>
                <a:cxn ang="0">
                  <a:pos x="683" y="20"/>
                </a:cxn>
                <a:cxn ang="0">
                  <a:pos x="653" y="52"/>
                </a:cxn>
                <a:cxn ang="0">
                  <a:pos x="621" y="72"/>
                </a:cxn>
                <a:cxn ang="0">
                  <a:pos x="563" y="50"/>
                </a:cxn>
                <a:cxn ang="0">
                  <a:pos x="504" y="62"/>
                </a:cxn>
              </a:cxnLst>
              <a:rect l="0" t="0" r="r" b="b"/>
              <a:pathLst>
                <a:path w="873" h="976">
                  <a:moveTo>
                    <a:pt x="481" y="91"/>
                  </a:moveTo>
                  <a:lnTo>
                    <a:pt x="483" y="100"/>
                  </a:lnTo>
                  <a:lnTo>
                    <a:pt x="484" y="104"/>
                  </a:lnTo>
                  <a:lnTo>
                    <a:pt x="487" y="104"/>
                  </a:lnTo>
                  <a:lnTo>
                    <a:pt x="488" y="103"/>
                  </a:lnTo>
                  <a:lnTo>
                    <a:pt x="488" y="110"/>
                  </a:lnTo>
                  <a:lnTo>
                    <a:pt x="489" y="118"/>
                  </a:lnTo>
                  <a:lnTo>
                    <a:pt x="492" y="122"/>
                  </a:lnTo>
                  <a:lnTo>
                    <a:pt x="495" y="124"/>
                  </a:lnTo>
                  <a:lnTo>
                    <a:pt x="500" y="127"/>
                  </a:lnTo>
                  <a:lnTo>
                    <a:pt x="505" y="127"/>
                  </a:lnTo>
                  <a:lnTo>
                    <a:pt x="513" y="127"/>
                  </a:lnTo>
                  <a:lnTo>
                    <a:pt x="519" y="126"/>
                  </a:lnTo>
                  <a:lnTo>
                    <a:pt x="523" y="124"/>
                  </a:lnTo>
                  <a:lnTo>
                    <a:pt x="525" y="123"/>
                  </a:lnTo>
                  <a:lnTo>
                    <a:pt x="529" y="118"/>
                  </a:lnTo>
                  <a:lnTo>
                    <a:pt x="536" y="110"/>
                  </a:lnTo>
                  <a:lnTo>
                    <a:pt x="565" y="110"/>
                  </a:lnTo>
                  <a:lnTo>
                    <a:pt x="565" y="123"/>
                  </a:lnTo>
                  <a:lnTo>
                    <a:pt x="565" y="134"/>
                  </a:lnTo>
                  <a:lnTo>
                    <a:pt x="565" y="149"/>
                  </a:lnTo>
                  <a:lnTo>
                    <a:pt x="563" y="165"/>
                  </a:lnTo>
                  <a:lnTo>
                    <a:pt x="557" y="177"/>
                  </a:lnTo>
                  <a:lnTo>
                    <a:pt x="552" y="189"/>
                  </a:lnTo>
                  <a:lnTo>
                    <a:pt x="544" y="199"/>
                  </a:lnTo>
                  <a:lnTo>
                    <a:pt x="535" y="208"/>
                  </a:lnTo>
                  <a:lnTo>
                    <a:pt x="525" y="215"/>
                  </a:lnTo>
                  <a:lnTo>
                    <a:pt x="513" y="221"/>
                  </a:lnTo>
                  <a:lnTo>
                    <a:pt x="461" y="240"/>
                  </a:lnTo>
                  <a:lnTo>
                    <a:pt x="403" y="260"/>
                  </a:lnTo>
                  <a:lnTo>
                    <a:pt x="396" y="263"/>
                  </a:lnTo>
                  <a:lnTo>
                    <a:pt x="391" y="267"/>
                  </a:lnTo>
                  <a:lnTo>
                    <a:pt x="388" y="272"/>
                  </a:lnTo>
                  <a:lnTo>
                    <a:pt x="387" y="279"/>
                  </a:lnTo>
                  <a:lnTo>
                    <a:pt x="385" y="284"/>
                  </a:lnTo>
                  <a:lnTo>
                    <a:pt x="384" y="291"/>
                  </a:lnTo>
                  <a:lnTo>
                    <a:pt x="383" y="296"/>
                  </a:lnTo>
                  <a:lnTo>
                    <a:pt x="379" y="301"/>
                  </a:lnTo>
                  <a:lnTo>
                    <a:pt x="379" y="311"/>
                  </a:lnTo>
                  <a:lnTo>
                    <a:pt x="377" y="317"/>
                  </a:lnTo>
                  <a:lnTo>
                    <a:pt x="376" y="324"/>
                  </a:lnTo>
                  <a:lnTo>
                    <a:pt x="373" y="329"/>
                  </a:lnTo>
                  <a:lnTo>
                    <a:pt x="369" y="332"/>
                  </a:lnTo>
                  <a:lnTo>
                    <a:pt x="364" y="336"/>
                  </a:lnTo>
                  <a:lnTo>
                    <a:pt x="357" y="337"/>
                  </a:lnTo>
                  <a:lnTo>
                    <a:pt x="349" y="337"/>
                  </a:lnTo>
                  <a:lnTo>
                    <a:pt x="343" y="337"/>
                  </a:lnTo>
                  <a:lnTo>
                    <a:pt x="336" y="335"/>
                  </a:lnTo>
                  <a:lnTo>
                    <a:pt x="331" y="332"/>
                  </a:lnTo>
                  <a:lnTo>
                    <a:pt x="324" y="329"/>
                  </a:lnTo>
                  <a:lnTo>
                    <a:pt x="317" y="325"/>
                  </a:lnTo>
                  <a:lnTo>
                    <a:pt x="311" y="323"/>
                  </a:lnTo>
                  <a:lnTo>
                    <a:pt x="303" y="320"/>
                  </a:lnTo>
                  <a:lnTo>
                    <a:pt x="295" y="320"/>
                  </a:lnTo>
                  <a:lnTo>
                    <a:pt x="288" y="319"/>
                  </a:lnTo>
                  <a:lnTo>
                    <a:pt x="281" y="319"/>
                  </a:lnTo>
                  <a:lnTo>
                    <a:pt x="276" y="316"/>
                  </a:lnTo>
                  <a:lnTo>
                    <a:pt x="272" y="313"/>
                  </a:lnTo>
                  <a:lnTo>
                    <a:pt x="269" y="311"/>
                  </a:lnTo>
                  <a:lnTo>
                    <a:pt x="267" y="307"/>
                  </a:lnTo>
                  <a:lnTo>
                    <a:pt x="264" y="301"/>
                  </a:lnTo>
                  <a:lnTo>
                    <a:pt x="263" y="297"/>
                  </a:lnTo>
                  <a:lnTo>
                    <a:pt x="259" y="273"/>
                  </a:lnTo>
                  <a:lnTo>
                    <a:pt x="253" y="248"/>
                  </a:lnTo>
                  <a:lnTo>
                    <a:pt x="249" y="239"/>
                  </a:lnTo>
                  <a:lnTo>
                    <a:pt x="244" y="231"/>
                  </a:lnTo>
                  <a:lnTo>
                    <a:pt x="237" y="221"/>
                  </a:lnTo>
                  <a:lnTo>
                    <a:pt x="231" y="213"/>
                  </a:lnTo>
                  <a:lnTo>
                    <a:pt x="216" y="197"/>
                  </a:lnTo>
                  <a:lnTo>
                    <a:pt x="202" y="181"/>
                  </a:lnTo>
                  <a:lnTo>
                    <a:pt x="194" y="172"/>
                  </a:lnTo>
                  <a:lnTo>
                    <a:pt x="187" y="164"/>
                  </a:lnTo>
                  <a:lnTo>
                    <a:pt x="180" y="155"/>
                  </a:lnTo>
                  <a:lnTo>
                    <a:pt x="174" y="144"/>
                  </a:lnTo>
                  <a:lnTo>
                    <a:pt x="170" y="134"/>
                  </a:lnTo>
                  <a:lnTo>
                    <a:pt x="166" y="123"/>
                  </a:lnTo>
                  <a:lnTo>
                    <a:pt x="163" y="110"/>
                  </a:lnTo>
                  <a:lnTo>
                    <a:pt x="163" y="98"/>
                  </a:lnTo>
                  <a:lnTo>
                    <a:pt x="139" y="98"/>
                  </a:lnTo>
                  <a:lnTo>
                    <a:pt x="131" y="112"/>
                  </a:lnTo>
                  <a:lnTo>
                    <a:pt x="124" y="128"/>
                  </a:lnTo>
                  <a:lnTo>
                    <a:pt x="122" y="135"/>
                  </a:lnTo>
                  <a:lnTo>
                    <a:pt x="116" y="140"/>
                  </a:lnTo>
                  <a:lnTo>
                    <a:pt x="114" y="143"/>
                  </a:lnTo>
                  <a:lnTo>
                    <a:pt x="111" y="144"/>
                  </a:lnTo>
                  <a:lnTo>
                    <a:pt x="107" y="144"/>
                  </a:lnTo>
                  <a:lnTo>
                    <a:pt x="103" y="145"/>
                  </a:lnTo>
                  <a:lnTo>
                    <a:pt x="94" y="144"/>
                  </a:lnTo>
                  <a:lnTo>
                    <a:pt x="86" y="141"/>
                  </a:lnTo>
                  <a:lnTo>
                    <a:pt x="79" y="138"/>
                  </a:lnTo>
                  <a:lnTo>
                    <a:pt x="72" y="134"/>
                  </a:lnTo>
                  <a:lnTo>
                    <a:pt x="66" y="128"/>
                  </a:lnTo>
                  <a:lnTo>
                    <a:pt x="59" y="124"/>
                  </a:lnTo>
                  <a:lnTo>
                    <a:pt x="51" y="122"/>
                  </a:lnTo>
                  <a:lnTo>
                    <a:pt x="42" y="122"/>
                  </a:lnTo>
                  <a:lnTo>
                    <a:pt x="35" y="122"/>
                  </a:lnTo>
                  <a:lnTo>
                    <a:pt x="28" y="123"/>
                  </a:lnTo>
                  <a:lnTo>
                    <a:pt x="20" y="126"/>
                  </a:lnTo>
                  <a:lnTo>
                    <a:pt x="14" y="130"/>
                  </a:lnTo>
                  <a:lnTo>
                    <a:pt x="8" y="135"/>
                  </a:lnTo>
                  <a:lnTo>
                    <a:pt x="4" y="141"/>
                  </a:lnTo>
                  <a:lnTo>
                    <a:pt x="2" y="148"/>
                  </a:lnTo>
                  <a:lnTo>
                    <a:pt x="0" y="157"/>
                  </a:lnTo>
                  <a:lnTo>
                    <a:pt x="2" y="167"/>
                  </a:lnTo>
                  <a:lnTo>
                    <a:pt x="4" y="176"/>
                  </a:lnTo>
                  <a:lnTo>
                    <a:pt x="8" y="185"/>
                  </a:lnTo>
                  <a:lnTo>
                    <a:pt x="15" y="193"/>
                  </a:lnTo>
                  <a:lnTo>
                    <a:pt x="22" y="200"/>
                  </a:lnTo>
                  <a:lnTo>
                    <a:pt x="31" y="207"/>
                  </a:lnTo>
                  <a:lnTo>
                    <a:pt x="39" y="209"/>
                  </a:lnTo>
                  <a:lnTo>
                    <a:pt x="48" y="211"/>
                  </a:lnTo>
                  <a:lnTo>
                    <a:pt x="56" y="211"/>
                  </a:lnTo>
                  <a:lnTo>
                    <a:pt x="63" y="209"/>
                  </a:lnTo>
                  <a:lnTo>
                    <a:pt x="67" y="207"/>
                  </a:lnTo>
                  <a:lnTo>
                    <a:pt x="72" y="204"/>
                  </a:lnTo>
                  <a:lnTo>
                    <a:pt x="82" y="199"/>
                  </a:lnTo>
                  <a:lnTo>
                    <a:pt x="96" y="193"/>
                  </a:lnTo>
                  <a:lnTo>
                    <a:pt x="98" y="204"/>
                  </a:lnTo>
                  <a:lnTo>
                    <a:pt x="100" y="215"/>
                  </a:lnTo>
                  <a:lnTo>
                    <a:pt x="102" y="221"/>
                  </a:lnTo>
                  <a:lnTo>
                    <a:pt x="106" y="228"/>
                  </a:lnTo>
                  <a:lnTo>
                    <a:pt x="108" y="233"/>
                  </a:lnTo>
                  <a:lnTo>
                    <a:pt x="112" y="236"/>
                  </a:lnTo>
                  <a:lnTo>
                    <a:pt x="118" y="239"/>
                  </a:lnTo>
                  <a:lnTo>
                    <a:pt x="123" y="241"/>
                  </a:lnTo>
                  <a:lnTo>
                    <a:pt x="148" y="245"/>
                  </a:lnTo>
                  <a:lnTo>
                    <a:pt x="180" y="253"/>
                  </a:lnTo>
                  <a:lnTo>
                    <a:pt x="187" y="257"/>
                  </a:lnTo>
                  <a:lnTo>
                    <a:pt x="190" y="263"/>
                  </a:lnTo>
                  <a:lnTo>
                    <a:pt x="192" y="267"/>
                  </a:lnTo>
                  <a:lnTo>
                    <a:pt x="194" y="272"/>
                  </a:lnTo>
                  <a:lnTo>
                    <a:pt x="196" y="283"/>
                  </a:lnTo>
                  <a:lnTo>
                    <a:pt x="199" y="296"/>
                  </a:lnTo>
                  <a:lnTo>
                    <a:pt x="204" y="305"/>
                  </a:lnTo>
                  <a:lnTo>
                    <a:pt x="210" y="315"/>
                  </a:lnTo>
                  <a:lnTo>
                    <a:pt x="216" y="323"/>
                  </a:lnTo>
                  <a:lnTo>
                    <a:pt x="224" y="329"/>
                  </a:lnTo>
                  <a:lnTo>
                    <a:pt x="240" y="344"/>
                  </a:lnTo>
                  <a:lnTo>
                    <a:pt x="256" y="356"/>
                  </a:lnTo>
                  <a:lnTo>
                    <a:pt x="264" y="363"/>
                  </a:lnTo>
                  <a:lnTo>
                    <a:pt x="271" y="369"/>
                  </a:lnTo>
                  <a:lnTo>
                    <a:pt x="277" y="377"/>
                  </a:lnTo>
                  <a:lnTo>
                    <a:pt x="283" y="384"/>
                  </a:lnTo>
                  <a:lnTo>
                    <a:pt x="288" y="392"/>
                  </a:lnTo>
                  <a:lnTo>
                    <a:pt x="292" y="401"/>
                  </a:lnTo>
                  <a:lnTo>
                    <a:pt x="295" y="411"/>
                  </a:lnTo>
                  <a:lnTo>
                    <a:pt x="295" y="423"/>
                  </a:lnTo>
                  <a:lnTo>
                    <a:pt x="295" y="435"/>
                  </a:lnTo>
                  <a:lnTo>
                    <a:pt x="292" y="444"/>
                  </a:lnTo>
                  <a:lnTo>
                    <a:pt x="289" y="452"/>
                  </a:lnTo>
                  <a:lnTo>
                    <a:pt x="285" y="460"/>
                  </a:lnTo>
                  <a:lnTo>
                    <a:pt x="283" y="467"/>
                  </a:lnTo>
                  <a:lnTo>
                    <a:pt x="280" y="473"/>
                  </a:lnTo>
                  <a:lnTo>
                    <a:pt x="277" y="480"/>
                  </a:lnTo>
                  <a:lnTo>
                    <a:pt x="277" y="488"/>
                  </a:lnTo>
                  <a:lnTo>
                    <a:pt x="277" y="499"/>
                  </a:lnTo>
                  <a:lnTo>
                    <a:pt x="279" y="509"/>
                  </a:lnTo>
                  <a:lnTo>
                    <a:pt x="280" y="519"/>
                  </a:lnTo>
                  <a:lnTo>
                    <a:pt x="283" y="528"/>
                  </a:lnTo>
                  <a:lnTo>
                    <a:pt x="288" y="547"/>
                  </a:lnTo>
                  <a:lnTo>
                    <a:pt x="296" y="564"/>
                  </a:lnTo>
                  <a:lnTo>
                    <a:pt x="307" y="581"/>
                  </a:lnTo>
                  <a:lnTo>
                    <a:pt x="317" y="597"/>
                  </a:lnTo>
                  <a:lnTo>
                    <a:pt x="328" y="612"/>
                  </a:lnTo>
                  <a:lnTo>
                    <a:pt x="340" y="628"/>
                  </a:lnTo>
                  <a:lnTo>
                    <a:pt x="363" y="657"/>
                  </a:lnTo>
                  <a:lnTo>
                    <a:pt x="384" y="688"/>
                  </a:lnTo>
                  <a:lnTo>
                    <a:pt x="392" y="703"/>
                  </a:lnTo>
                  <a:lnTo>
                    <a:pt x="397" y="719"/>
                  </a:lnTo>
                  <a:lnTo>
                    <a:pt x="400" y="726"/>
                  </a:lnTo>
                  <a:lnTo>
                    <a:pt x="401" y="736"/>
                  </a:lnTo>
                  <a:lnTo>
                    <a:pt x="403" y="744"/>
                  </a:lnTo>
                  <a:lnTo>
                    <a:pt x="403" y="753"/>
                  </a:lnTo>
                  <a:lnTo>
                    <a:pt x="403" y="765"/>
                  </a:lnTo>
                  <a:lnTo>
                    <a:pt x="403" y="774"/>
                  </a:lnTo>
                  <a:lnTo>
                    <a:pt x="403" y="784"/>
                  </a:lnTo>
                  <a:lnTo>
                    <a:pt x="403" y="796"/>
                  </a:lnTo>
                  <a:lnTo>
                    <a:pt x="404" y="802"/>
                  </a:lnTo>
                  <a:lnTo>
                    <a:pt x="407" y="810"/>
                  </a:lnTo>
                  <a:lnTo>
                    <a:pt x="409" y="817"/>
                  </a:lnTo>
                  <a:lnTo>
                    <a:pt x="415" y="822"/>
                  </a:lnTo>
                  <a:lnTo>
                    <a:pt x="427" y="834"/>
                  </a:lnTo>
                  <a:lnTo>
                    <a:pt x="441" y="846"/>
                  </a:lnTo>
                  <a:lnTo>
                    <a:pt x="457" y="857"/>
                  </a:lnTo>
                  <a:lnTo>
                    <a:pt x="475" y="868"/>
                  </a:lnTo>
                  <a:lnTo>
                    <a:pt x="491" y="878"/>
                  </a:lnTo>
                  <a:lnTo>
                    <a:pt x="505" y="892"/>
                  </a:lnTo>
                  <a:lnTo>
                    <a:pt x="512" y="900"/>
                  </a:lnTo>
                  <a:lnTo>
                    <a:pt x="516" y="909"/>
                  </a:lnTo>
                  <a:lnTo>
                    <a:pt x="519" y="920"/>
                  </a:lnTo>
                  <a:lnTo>
                    <a:pt x="520" y="930"/>
                  </a:lnTo>
                  <a:lnTo>
                    <a:pt x="521" y="941"/>
                  </a:lnTo>
                  <a:lnTo>
                    <a:pt x="524" y="950"/>
                  </a:lnTo>
                  <a:lnTo>
                    <a:pt x="527" y="958"/>
                  </a:lnTo>
                  <a:lnTo>
                    <a:pt x="529" y="964"/>
                  </a:lnTo>
                  <a:lnTo>
                    <a:pt x="529" y="976"/>
                  </a:lnTo>
                  <a:lnTo>
                    <a:pt x="544" y="973"/>
                  </a:lnTo>
                  <a:lnTo>
                    <a:pt x="560" y="970"/>
                  </a:lnTo>
                  <a:lnTo>
                    <a:pt x="576" y="965"/>
                  </a:lnTo>
                  <a:lnTo>
                    <a:pt x="593" y="958"/>
                  </a:lnTo>
                  <a:lnTo>
                    <a:pt x="612" y="949"/>
                  </a:lnTo>
                  <a:lnTo>
                    <a:pt x="629" y="937"/>
                  </a:lnTo>
                  <a:lnTo>
                    <a:pt x="637" y="930"/>
                  </a:lnTo>
                  <a:lnTo>
                    <a:pt x="645" y="922"/>
                  </a:lnTo>
                  <a:lnTo>
                    <a:pt x="655" y="913"/>
                  </a:lnTo>
                  <a:lnTo>
                    <a:pt x="663" y="904"/>
                  </a:lnTo>
                  <a:lnTo>
                    <a:pt x="672" y="892"/>
                  </a:lnTo>
                  <a:lnTo>
                    <a:pt x="680" y="881"/>
                  </a:lnTo>
                  <a:lnTo>
                    <a:pt x="689" y="872"/>
                  </a:lnTo>
                  <a:lnTo>
                    <a:pt x="699" y="865"/>
                  </a:lnTo>
                  <a:lnTo>
                    <a:pt x="709" y="860"/>
                  </a:lnTo>
                  <a:lnTo>
                    <a:pt x="719" y="856"/>
                  </a:lnTo>
                  <a:lnTo>
                    <a:pt x="729" y="852"/>
                  </a:lnTo>
                  <a:lnTo>
                    <a:pt x="740" y="849"/>
                  </a:lnTo>
                  <a:lnTo>
                    <a:pt x="723" y="842"/>
                  </a:lnTo>
                  <a:lnTo>
                    <a:pt x="693" y="832"/>
                  </a:lnTo>
                  <a:lnTo>
                    <a:pt x="680" y="824"/>
                  </a:lnTo>
                  <a:lnTo>
                    <a:pt x="668" y="816"/>
                  </a:lnTo>
                  <a:lnTo>
                    <a:pt x="663" y="810"/>
                  </a:lnTo>
                  <a:lnTo>
                    <a:pt x="660" y="806"/>
                  </a:lnTo>
                  <a:lnTo>
                    <a:pt x="657" y="801"/>
                  </a:lnTo>
                  <a:lnTo>
                    <a:pt x="656" y="796"/>
                  </a:lnTo>
                  <a:lnTo>
                    <a:pt x="657" y="786"/>
                  </a:lnTo>
                  <a:lnTo>
                    <a:pt x="660" y="778"/>
                  </a:lnTo>
                  <a:lnTo>
                    <a:pt x="664" y="770"/>
                  </a:lnTo>
                  <a:lnTo>
                    <a:pt x="669" y="765"/>
                  </a:lnTo>
                  <a:lnTo>
                    <a:pt x="683" y="756"/>
                  </a:lnTo>
                  <a:lnTo>
                    <a:pt x="699" y="748"/>
                  </a:lnTo>
                  <a:lnTo>
                    <a:pt x="713" y="738"/>
                  </a:lnTo>
                  <a:lnTo>
                    <a:pt x="728" y="729"/>
                  </a:lnTo>
                  <a:lnTo>
                    <a:pt x="733" y="724"/>
                  </a:lnTo>
                  <a:lnTo>
                    <a:pt x="737" y="716"/>
                  </a:lnTo>
                  <a:lnTo>
                    <a:pt x="740" y="708"/>
                  </a:lnTo>
                  <a:lnTo>
                    <a:pt x="740" y="699"/>
                  </a:lnTo>
                  <a:lnTo>
                    <a:pt x="740" y="691"/>
                  </a:lnTo>
                  <a:lnTo>
                    <a:pt x="737" y="683"/>
                  </a:lnTo>
                  <a:lnTo>
                    <a:pt x="733" y="673"/>
                  </a:lnTo>
                  <a:lnTo>
                    <a:pt x="728" y="667"/>
                  </a:lnTo>
                  <a:lnTo>
                    <a:pt x="724" y="659"/>
                  </a:lnTo>
                  <a:lnTo>
                    <a:pt x="720" y="651"/>
                  </a:lnTo>
                  <a:lnTo>
                    <a:pt x="717" y="641"/>
                  </a:lnTo>
                  <a:lnTo>
                    <a:pt x="716" y="633"/>
                  </a:lnTo>
                  <a:lnTo>
                    <a:pt x="717" y="627"/>
                  </a:lnTo>
                  <a:lnTo>
                    <a:pt x="717" y="620"/>
                  </a:lnTo>
                  <a:lnTo>
                    <a:pt x="720" y="613"/>
                  </a:lnTo>
                  <a:lnTo>
                    <a:pt x="721" y="608"/>
                  </a:lnTo>
                  <a:lnTo>
                    <a:pt x="725" y="604"/>
                  </a:lnTo>
                  <a:lnTo>
                    <a:pt x="729" y="600"/>
                  </a:lnTo>
                  <a:lnTo>
                    <a:pt x="735" y="597"/>
                  </a:lnTo>
                  <a:lnTo>
                    <a:pt x="740" y="597"/>
                  </a:lnTo>
                  <a:lnTo>
                    <a:pt x="759" y="605"/>
                  </a:lnTo>
                  <a:lnTo>
                    <a:pt x="777" y="615"/>
                  </a:lnTo>
                  <a:lnTo>
                    <a:pt x="784" y="613"/>
                  </a:lnTo>
                  <a:lnTo>
                    <a:pt x="795" y="609"/>
                  </a:lnTo>
                  <a:lnTo>
                    <a:pt x="807" y="604"/>
                  </a:lnTo>
                  <a:lnTo>
                    <a:pt x="820" y="597"/>
                  </a:lnTo>
                  <a:lnTo>
                    <a:pt x="833" y="589"/>
                  </a:lnTo>
                  <a:lnTo>
                    <a:pt x="844" y="581"/>
                  </a:lnTo>
                  <a:lnTo>
                    <a:pt x="849" y="577"/>
                  </a:lnTo>
                  <a:lnTo>
                    <a:pt x="852" y="573"/>
                  </a:lnTo>
                  <a:lnTo>
                    <a:pt x="855" y="571"/>
                  </a:lnTo>
                  <a:lnTo>
                    <a:pt x="855" y="567"/>
                  </a:lnTo>
                  <a:lnTo>
                    <a:pt x="855" y="552"/>
                  </a:lnTo>
                  <a:lnTo>
                    <a:pt x="852" y="537"/>
                  </a:lnTo>
                  <a:lnTo>
                    <a:pt x="849" y="525"/>
                  </a:lnTo>
                  <a:lnTo>
                    <a:pt x="847" y="512"/>
                  </a:lnTo>
                  <a:lnTo>
                    <a:pt x="843" y="500"/>
                  </a:lnTo>
                  <a:lnTo>
                    <a:pt x="840" y="487"/>
                  </a:lnTo>
                  <a:lnTo>
                    <a:pt x="837" y="473"/>
                  </a:lnTo>
                  <a:lnTo>
                    <a:pt x="837" y="459"/>
                  </a:lnTo>
                  <a:lnTo>
                    <a:pt x="837" y="452"/>
                  </a:lnTo>
                  <a:lnTo>
                    <a:pt x="840" y="445"/>
                  </a:lnTo>
                  <a:lnTo>
                    <a:pt x="844" y="440"/>
                  </a:lnTo>
                  <a:lnTo>
                    <a:pt x="848" y="433"/>
                  </a:lnTo>
                  <a:lnTo>
                    <a:pt x="860" y="420"/>
                  </a:lnTo>
                  <a:lnTo>
                    <a:pt x="873" y="404"/>
                  </a:lnTo>
                  <a:lnTo>
                    <a:pt x="873" y="368"/>
                  </a:lnTo>
                  <a:lnTo>
                    <a:pt x="864" y="367"/>
                  </a:lnTo>
                  <a:lnTo>
                    <a:pt x="855" y="365"/>
                  </a:lnTo>
                  <a:lnTo>
                    <a:pt x="848" y="363"/>
                  </a:lnTo>
                  <a:lnTo>
                    <a:pt x="841" y="360"/>
                  </a:lnTo>
                  <a:lnTo>
                    <a:pt x="835" y="356"/>
                  </a:lnTo>
                  <a:lnTo>
                    <a:pt x="831" y="352"/>
                  </a:lnTo>
                  <a:lnTo>
                    <a:pt x="827" y="348"/>
                  </a:lnTo>
                  <a:lnTo>
                    <a:pt x="823" y="343"/>
                  </a:lnTo>
                  <a:lnTo>
                    <a:pt x="820" y="337"/>
                  </a:lnTo>
                  <a:lnTo>
                    <a:pt x="817" y="331"/>
                  </a:lnTo>
                  <a:lnTo>
                    <a:pt x="816" y="324"/>
                  </a:lnTo>
                  <a:lnTo>
                    <a:pt x="815" y="316"/>
                  </a:lnTo>
                  <a:lnTo>
                    <a:pt x="813" y="299"/>
                  </a:lnTo>
                  <a:lnTo>
                    <a:pt x="813" y="277"/>
                  </a:lnTo>
                  <a:lnTo>
                    <a:pt x="812" y="259"/>
                  </a:lnTo>
                  <a:lnTo>
                    <a:pt x="811" y="240"/>
                  </a:lnTo>
                  <a:lnTo>
                    <a:pt x="809" y="224"/>
                  </a:lnTo>
                  <a:lnTo>
                    <a:pt x="807" y="209"/>
                  </a:lnTo>
                  <a:lnTo>
                    <a:pt x="801" y="184"/>
                  </a:lnTo>
                  <a:lnTo>
                    <a:pt x="793" y="160"/>
                  </a:lnTo>
                  <a:lnTo>
                    <a:pt x="785" y="138"/>
                  </a:lnTo>
                  <a:lnTo>
                    <a:pt x="777" y="115"/>
                  </a:lnTo>
                  <a:lnTo>
                    <a:pt x="771" y="90"/>
                  </a:lnTo>
                  <a:lnTo>
                    <a:pt x="765" y="60"/>
                  </a:lnTo>
                  <a:lnTo>
                    <a:pt x="755" y="66"/>
                  </a:lnTo>
                  <a:lnTo>
                    <a:pt x="744" y="72"/>
                  </a:lnTo>
                  <a:lnTo>
                    <a:pt x="732" y="78"/>
                  </a:lnTo>
                  <a:lnTo>
                    <a:pt x="723" y="79"/>
                  </a:lnTo>
                  <a:lnTo>
                    <a:pt x="717" y="78"/>
                  </a:lnTo>
                  <a:lnTo>
                    <a:pt x="712" y="76"/>
                  </a:lnTo>
                  <a:lnTo>
                    <a:pt x="708" y="74"/>
                  </a:lnTo>
                  <a:lnTo>
                    <a:pt x="704" y="70"/>
                  </a:lnTo>
                  <a:lnTo>
                    <a:pt x="697" y="59"/>
                  </a:lnTo>
                  <a:lnTo>
                    <a:pt x="692" y="47"/>
                  </a:lnTo>
                  <a:lnTo>
                    <a:pt x="683" y="20"/>
                  </a:lnTo>
                  <a:lnTo>
                    <a:pt x="675" y="0"/>
                  </a:lnTo>
                  <a:lnTo>
                    <a:pt x="671" y="6"/>
                  </a:lnTo>
                  <a:lnTo>
                    <a:pt x="667" y="15"/>
                  </a:lnTo>
                  <a:lnTo>
                    <a:pt x="663" y="26"/>
                  </a:lnTo>
                  <a:lnTo>
                    <a:pt x="657" y="39"/>
                  </a:lnTo>
                  <a:lnTo>
                    <a:pt x="653" y="52"/>
                  </a:lnTo>
                  <a:lnTo>
                    <a:pt x="647" y="63"/>
                  </a:lnTo>
                  <a:lnTo>
                    <a:pt x="644" y="67"/>
                  </a:lnTo>
                  <a:lnTo>
                    <a:pt x="640" y="70"/>
                  </a:lnTo>
                  <a:lnTo>
                    <a:pt x="636" y="72"/>
                  </a:lnTo>
                  <a:lnTo>
                    <a:pt x="632" y="72"/>
                  </a:lnTo>
                  <a:lnTo>
                    <a:pt x="621" y="72"/>
                  </a:lnTo>
                  <a:lnTo>
                    <a:pt x="612" y="70"/>
                  </a:lnTo>
                  <a:lnTo>
                    <a:pt x="604" y="66"/>
                  </a:lnTo>
                  <a:lnTo>
                    <a:pt x="595" y="60"/>
                  </a:lnTo>
                  <a:lnTo>
                    <a:pt x="585" y="56"/>
                  </a:lnTo>
                  <a:lnTo>
                    <a:pt x="575" y="52"/>
                  </a:lnTo>
                  <a:lnTo>
                    <a:pt x="563" y="50"/>
                  </a:lnTo>
                  <a:lnTo>
                    <a:pt x="548" y="48"/>
                  </a:lnTo>
                  <a:lnTo>
                    <a:pt x="537" y="50"/>
                  </a:lnTo>
                  <a:lnTo>
                    <a:pt x="528" y="52"/>
                  </a:lnTo>
                  <a:lnTo>
                    <a:pt x="520" y="55"/>
                  </a:lnTo>
                  <a:lnTo>
                    <a:pt x="512" y="58"/>
                  </a:lnTo>
                  <a:lnTo>
                    <a:pt x="504" y="62"/>
                  </a:lnTo>
                  <a:lnTo>
                    <a:pt x="495" y="64"/>
                  </a:lnTo>
                  <a:lnTo>
                    <a:pt x="487" y="66"/>
                  </a:lnTo>
                  <a:lnTo>
                    <a:pt x="476" y="67"/>
                  </a:lnTo>
                  <a:lnTo>
                    <a:pt x="481" y="9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8" name="Freeform 109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1343025" y="4313238"/>
              <a:ext cx="231775" cy="384175"/>
            </a:xfrm>
            <a:custGeom>
              <a:avLst/>
              <a:gdLst/>
              <a:ahLst/>
              <a:cxnLst>
                <a:cxn ang="0">
                  <a:pos x="505" y="190"/>
                </a:cxn>
                <a:cxn ang="0">
                  <a:pos x="487" y="216"/>
                </a:cxn>
                <a:cxn ang="0">
                  <a:pos x="472" y="257"/>
                </a:cxn>
                <a:cxn ang="0">
                  <a:pos x="472" y="294"/>
                </a:cxn>
                <a:cxn ang="0">
                  <a:pos x="492" y="345"/>
                </a:cxn>
                <a:cxn ang="0">
                  <a:pos x="515" y="386"/>
                </a:cxn>
                <a:cxn ang="0">
                  <a:pos x="515" y="413"/>
                </a:cxn>
                <a:cxn ang="0">
                  <a:pos x="493" y="456"/>
                </a:cxn>
                <a:cxn ang="0">
                  <a:pos x="432" y="518"/>
                </a:cxn>
                <a:cxn ang="0">
                  <a:pos x="407" y="550"/>
                </a:cxn>
                <a:cxn ang="0">
                  <a:pos x="380" y="586"/>
                </a:cxn>
                <a:cxn ang="0">
                  <a:pos x="367" y="630"/>
                </a:cxn>
                <a:cxn ang="0">
                  <a:pos x="375" y="719"/>
                </a:cxn>
                <a:cxn ang="0">
                  <a:pos x="383" y="811"/>
                </a:cxn>
                <a:cxn ang="0">
                  <a:pos x="393" y="933"/>
                </a:cxn>
                <a:cxn ang="0">
                  <a:pos x="384" y="993"/>
                </a:cxn>
                <a:cxn ang="0">
                  <a:pos x="348" y="999"/>
                </a:cxn>
                <a:cxn ang="0">
                  <a:pos x="276" y="999"/>
                </a:cxn>
                <a:cxn ang="0">
                  <a:pos x="227" y="1009"/>
                </a:cxn>
                <a:cxn ang="0">
                  <a:pos x="192" y="1027"/>
                </a:cxn>
                <a:cxn ang="0">
                  <a:pos x="164" y="1025"/>
                </a:cxn>
                <a:cxn ang="0">
                  <a:pos x="130" y="994"/>
                </a:cxn>
                <a:cxn ang="0">
                  <a:pos x="115" y="830"/>
                </a:cxn>
                <a:cxn ang="0">
                  <a:pos x="86" y="769"/>
                </a:cxn>
                <a:cxn ang="0">
                  <a:pos x="62" y="685"/>
                </a:cxn>
                <a:cxn ang="0">
                  <a:pos x="31" y="658"/>
                </a:cxn>
                <a:cxn ang="0">
                  <a:pos x="10" y="638"/>
                </a:cxn>
                <a:cxn ang="0">
                  <a:pos x="0" y="601"/>
                </a:cxn>
                <a:cxn ang="0">
                  <a:pos x="12" y="554"/>
                </a:cxn>
                <a:cxn ang="0">
                  <a:pos x="46" y="519"/>
                </a:cxn>
                <a:cxn ang="0">
                  <a:pos x="94" y="500"/>
                </a:cxn>
                <a:cxn ang="0">
                  <a:pos x="151" y="493"/>
                </a:cxn>
                <a:cxn ang="0">
                  <a:pos x="178" y="502"/>
                </a:cxn>
                <a:cxn ang="0">
                  <a:pos x="204" y="511"/>
                </a:cxn>
                <a:cxn ang="0">
                  <a:pos x="235" y="502"/>
                </a:cxn>
                <a:cxn ang="0">
                  <a:pos x="251" y="477"/>
                </a:cxn>
                <a:cxn ang="0">
                  <a:pos x="299" y="374"/>
                </a:cxn>
                <a:cxn ang="0">
                  <a:pos x="365" y="316"/>
                </a:cxn>
                <a:cxn ang="0">
                  <a:pos x="380" y="296"/>
                </a:cxn>
                <a:cxn ang="0">
                  <a:pos x="324" y="282"/>
                </a:cxn>
                <a:cxn ang="0">
                  <a:pos x="291" y="262"/>
                </a:cxn>
                <a:cxn ang="0">
                  <a:pos x="265" y="232"/>
                </a:cxn>
                <a:cxn ang="0">
                  <a:pos x="234" y="162"/>
                </a:cxn>
                <a:cxn ang="0">
                  <a:pos x="239" y="134"/>
                </a:cxn>
                <a:cxn ang="0">
                  <a:pos x="244" y="97"/>
                </a:cxn>
                <a:cxn ang="0">
                  <a:pos x="277" y="84"/>
                </a:cxn>
                <a:cxn ang="0">
                  <a:pos x="320" y="28"/>
                </a:cxn>
                <a:cxn ang="0">
                  <a:pos x="391" y="13"/>
                </a:cxn>
                <a:cxn ang="0">
                  <a:pos x="416" y="6"/>
                </a:cxn>
                <a:cxn ang="0">
                  <a:pos x="439" y="38"/>
                </a:cxn>
                <a:cxn ang="0">
                  <a:pos x="503" y="82"/>
                </a:cxn>
                <a:cxn ang="0">
                  <a:pos x="531" y="124"/>
                </a:cxn>
                <a:cxn ang="0">
                  <a:pos x="539" y="162"/>
                </a:cxn>
              </a:cxnLst>
              <a:rect l="0" t="0" r="r" b="b"/>
              <a:pathLst>
                <a:path w="541" h="1029">
                  <a:moveTo>
                    <a:pt x="541" y="180"/>
                  </a:moveTo>
                  <a:lnTo>
                    <a:pt x="525" y="184"/>
                  </a:lnTo>
                  <a:lnTo>
                    <a:pt x="511" y="188"/>
                  </a:lnTo>
                  <a:lnTo>
                    <a:pt x="505" y="190"/>
                  </a:lnTo>
                  <a:lnTo>
                    <a:pt x="500" y="193"/>
                  </a:lnTo>
                  <a:lnTo>
                    <a:pt x="496" y="198"/>
                  </a:lnTo>
                  <a:lnTo>
                    <a:pt x="493" y="204"/>
                  </a:lnTo>
                  <a:lnTo>
                    <a:pt x="487" y="216"/>
                  </a:lnTo>
                  <a:lnTo>
                    <a:pt x="481" y="226"/>
                  </a:lnTo>
                  <a:lnTo>
                    <a:pt x="477" y="236"/>
                  </a:lnTo>
                  <a:lnTo>
                    <a:pt x="475" y="246"/>
                  </a:lnTo>
                  <a:lnTo>
                    <a:pt x="472" y="257"/>
                  </a:lnTo>
                  <a:lnTo>
                    <a:pt x="471" y="266"/>
                  </a:lnTo>
                  <a:lnTo>
                    <a:pt x="469" y="276"/>
                  </a:lnTo>
                  <a:lnTo>
                    <a:pt x="471" y="285"/>
                  </a:lnTo>
                  <a:lnTo>
                    <a:pt x="472" y="294"/>
                  </a:lnTo>
                  <a:lnTo>
                    <a:pt x="473" y="305"/>
                  </a:lnTo>
                  <a:lnTo>
                    <a:pt x="477" y="314"/>
                  </a:lnTo>
                  <a:lnTo>
                    <a:pt x="481" y="325"/>
                  </a:lnTo>
                  <a:lnTo>
                    <a:pt x="492" y="345"/>
                  </a:lnTo>
                  <a:lnTo>
                    <a:pt x="505" y="366"/>
                  </a:lnTo>
                  <a:lnTo>
                    <a:pt x="509" y="373"/>
                  </a:lnTo>
                  <a:lnTo>
                    <a:pt x="513" y="380"/>
                  </a:lnTo>
                  <a:lnTo>
                    <a:pt x="515" y="386"/>
                  </a:lnTo>
                  <a:lnTo>
                    <a:pt x="516" y="393"/>
                  </a:lnTo>
                  <a:lnTo>
                    <a:pt x="516" y="400"/>
                  </a:lnTo>
                  <a:lnTo>
                    <a:pt x="516" y="406"/>
                  </a:lnTo>
                  <a:lnTo>
                    <a:pt x="515" y="413"/>
                  </a:lnTo>
                  <a:lnTo>
                    <a:pt x="513" y="420"/>
                  </a:lnTo>
                  <a:lnTo>
                    <a:pt x="508" y="432"/>
                  </a:lnTo>
                  <a:lnTo>
                    <a:pt x="501" y="444"/>
                  </a:lnTo>
                  <a:lnTo>
                    <a:pt x="493" y="456"/>
                  </a:lnTo>
                  <a:lnTo>
                    <a:pt x="483" y="468"/>
                  </a:lnTo>
                  <a:lnTo>
                    <a:pt x="461" y="489"/>
                  </a:lnTo>
                  <a:lnTo>
                    <a:pt x="441" y="509"/>
                  </a:lnTo>
                  <a:lnTo>
                    <a:pt x="432" y="518"/>
                  </a:lnTo>
                  <a:lnTo>
                    <a:pt x="424" y="526"/>
                  </a:lnTo>
                  <a:lnTo>
                    <a:pt x="419" y="534"/>
                  </a:lnTo>
                  <a:lnTo>
                    <a:pt x="415" y="541"/>
                  </a:lnTo>
                  <a:lnTo>
                    <a:pt x="407" y="550"/>
                  </a:lnTo>
                  <a:lnTo>
                    <a:pt x="399" y="559"/>
                  </a:lnTo>
                  <a:lnTo>
                    <a:pt x="391" y="569"/>
                  </a:lnTo>
                  <a:lnTo>
                    <a:pt x="385" y="577"/>
                  </a:lnTo>
                  <a:lnTo>
                    <a:pt x="380" y="586"/>
                  </a:lnTo>
                  <a:lnTo>
                    <a:pt x="376" y="595"/>
                  </a:lnTo>
                  <a:lnTo>
                    <a:pt x="372" y="603"/>
                  </a:lnTo>
                  <a:lnTo>
                    <a:pt x="369" y="613"/>
                  </a:lnTo>
                  <a:lnTo>
                    <a:pt x="367" y="630"/>
                  </a:lnTo>
                  <a:lnTo>
                    <a:pt x="365" y="647"/>
                  </a:lnTo>
                  <a:lnTo>
                    <a:pt x="365" y="666"/>
                  </a:lnTo>
                  <a:lnTo>
                    <a:pt x="368" y="683"/>
                  </a:lnTo>
                  <a:lnTo>
                    <a:pt x="375" y="719"/>
                  </a:lnTo>
                  <a:lnTo>
                    <a:pt x="380" y="755"/>
                  </a:lnTo>
                  <a:lnTo>
                    <a:pt x="383" y="774"/>
                  </a:lnTo>
                  <a:lnTo>
                    <a:pt x="384" y="793"/>
                  </a:lnTo>
                  <a:lnTo>
                    <a:pt x="383" y="811"/>
                  </a:lnTo>
                  <a:lnTo>
                    <a:pt x="379" y="830"/>
                  </a:lnTo>
                  <a:lnTo>
                    <a:pt x="387" y="874"/>
                  </a:lnTo>
                  <a:lnTo>
                    <a:pt x="392" y="913"/>
                  </a:lnTo>
                  <a:lnTo>
                    <a:pt x="393" y="933"/>
                  </a:lnTo>
                  <a:lnTo>
                    <a:pt x="393" y="950"/>
                  </a:lnTo>
                  <a:lnTo>
                    <a:pt x="393" y="969"/>
                  </a:lnTo>
                  <a:lnTo>
                    <a:pt x="391" y="987"/>
                  </a:lnTo>
                  <a:lnTo>
                    <a:pt x="384" y="993"/>
                  </a:lnTo>
                  <a:lnTo>
                    <a:pt x="377" y="997"/>
                  </a:lnTo>
                  <a:lnTo>
                    <a:pt x="371" y="998"/>
                  </a:lnTo>
                  <a:lnTo>
                    <a:pt x="363" y="999"/>
                  </a:lnTo>
                  <a:lnTo>
                    <a:pt x="348" y="999"/>
                  </a:lnTo>
                  <a:lnTo>
                    <a:pt x="331" y="999"/>
                  </a:lnTo>
                  <a:lnTo>
                    <a:pt x="311" y="999"/>
                  </a:lnTo>
                  <a:lnTo>
                    <a:pt x="295" y="999"/>
                  </a:lnTo>
                  <a:lnTo>
                    <a:pt x="276" y="999"/>
                  </a:lnTo>
                  <a:lnTo>
                    <a:pt x="252" y="999"/>
                  </a:lnTo>
                  <a:lnTo>
                    <a:pt x="243" y="1001"/>
                  </a:lnTo>
                  <a:lnTo>
                    <a:pt x="234" y="1003"/>
                  </a:lnTo>
                  <a:lnTo>
                    <a:pt x="227" y="1009"/>
                  </a:lnTo>
                  <a:lnTo>
                    <a:pt x="219" y="1014"/>
                  </a:lnTo>
                  <a:lnTo>
                    <a:pt x="211" y="1019"/>
                  </a:lnTo>
                  <a:lnTo>
                    <a:pt x="203" y="1025"/>
                  </a:lnTo>
                  <a:lnTo>
                    <a:pt x="192" y="1027"/>
                  </a:lnTo>
                  <a:lnTo>
                    <a:pt x="180" y="1029"/>
                  </a:lnTo>
                  <a:lnTo>
                    <a:pt x="175" y="1029"/>
                  </a:lnTo>
                  <a:lnTo>
                    <a:pt x="170" y="1027"/>
                  </a:lnTo>
                  <a:lnTo>
                    <a:pt x="164" y="1025"/>
                  </a:lnTo>
                  <a:lnTo>
                    <a:pt x="159" y="1022"/>
                  </a:lnTo>
                  <a:lnTo>
                    <a:pt x="148" y="1014"/>
                  </a:lnTo>
                  <a:lnTo>
                    <a:pt x="139" y="1005"/>
                  </a:lnTo>
                  <a:lnTo>
                    <a:pt x="130" y="994"/>
                  </a:lnTo>
                  <a:lnTo>
                    <a:pt x="123" y="983"/>
                  </a:lnTo>
                  <a:lnTo>
                    <a:pt x="118" y="973"/>
                  </a:lnTo>
                  <a:lnTo>
                    <a:pt x="115" y="963"/>
                  </a:lnTo>
                  <a:lnTo>
                    <a:pt x="115" y="830"/>
                  </a:lnTo>
                  <a:lnTo>
                    <a:pt x="104" y="817"/>
                  </a:lnTo>
                  <a:lnTo>
                    <a:pt x="96" y="801"/>
                  </a:lnTo>
                  <a:lnTo>
                    <a:pt x="91" y="785"/>
                  </a:lnTo>
                  <a:lnTo>
                    <a:pt x="86" y="769"/>
                  </a:lnTo>
                  <a:lnTo>
                    <a:pt x="78" y="734"/>
                  </a:lnTo>
                  <a:lnTo>
                    <a:pt x="66" y="698"/>
                  </a:lnTo>
                  <a:lnTo>
                    <a:pt x="64" y="690"/>
                  </a:lnTo>
                  <a:lnTo>
                    <a:pt x="62" y="685"/>
                  </a:lnTo>
                  <a:lnTo>
                    <a:pt x="58" y="679"/>
                  </a:lnTo>
                  <a:lnTo>
                    <a:pt x="54" y="674"/>
                  </a:lnTo>
                  <a:lnTo>
                    <a:pt x="43" y="666"/>
                  </a:lnTo>
                  <a:lnTo>
                    <a:pt x="31" y="658"/>
                  </a:lnTo>
                  <a:lnTo>
                    <a:pt x="24" y="654"/>
                  </a:lnTo>
                  <a:lnTo>
                    <a:pt x="19" y="650"/>
                  </a:lnTo>
                  <a:lnTo>
                    <a:pt x="14" y="645"/>
                  </a:lnTo>
                  <a:lnTo>
                    <a:pt x="10" y="638"/>
                  </a:lnTo>
                  <a:lnTo>
                    <a:pt x="6" y="631"/>
                  </a:lnTo>
                  <a:lnTo>
                    <a:pt x="3" y="623"/>
                  </a:lnTo>
                  <a:lnTo>
                    <a:pt x="0" y="613"/>
                  </a:lnTo>
                  <a:lnTo>
                    <a:pt x="0" y="601"/>
                  </a:lnTo>
                  <a:lnTo>
                    <a:pt x="0" y="589"/>
                  </a:lnTo>
                  <a:lnTo>
                    <a:pt x="3" y="575"/>
                  </a:lnTo>
                  <a:lnTo>
                    <a:pt x="7" y="565"/>
                  </a:lnTo>
                  <a:lnTo>
                    <a:pt x="12" y="554"/>
                  </a:lnTo>
                  <a:lnTo>
                    <a:pt x="19" y="545"/>
                  </a:lnTo>
                  <a:lnTo>
                    <a:pt x="27" y="535"/>
                  </a:lnTo>
                  <a:lnTo>
                    <a:pt x="36" y="527"/>
                  </a:lnTo>
                  <a:lnTo>
                    <a:pt x="46" y="519"/>
                  </a:lnTo>
                  <a:lnTo>
                    <a:pt x="56" y="514"/>
                  </a:lnTo>
                  <a:lnTo>
                    <a:pt x="68" y="509"/>
                  </a:lnTo>
                  <a:lnTo>
                    <a:pt x="80" y="504"/>
                  </a:lnTo>
                  <a:lnTo>
                    <a:pt x="94" y="500"/>
                  </a:lnTo>
                  <a:lnTo>
                    <a:pt x="107" y="497"/>
                  </a:lnTo>
                  <a:lnTo>
                    <a:pt x="122" y="494"/>
                  </a:lnTo>
                  <a:lnTo>
                    <a:pt x="136" y="493"/>
                  </a:lnTo>
                  <a:lnTo>
                    <a:pt x="151" y="493"/>
                  </a:lnTo>
                  <a:lnTo>
                    <a:pt x="158" y="494"/>
                  </a:lnTo>
                  <a:lnTo>
                    <a:pt x="164" y="496"/>
                  </a:lnTo>
                  <a:lnTo>
                    <a:pt x="171" y="498"/>
                  </a:lnTo>
                  <a:lnTo>
                    <a:pt x="178" y="502"/>
                  </a:lnTo>
                  <a:lnTo>
                    <a:pt x="184" y="505"/>
                  </a:lnTo>
                  <a:lnTo>
                    <a:pt x="191" y="509"/>
                  </a:lnTo>
                  <a:lnTo>
                    <a:pt x="198" y="510"/>
                  </a:lnTo>
                  <a:lnTo>
                    <a:pt x="204" y="511"/>
                  </a:lnTo>
                  <a:lnTo>
                    <a:pt x="214" y="510"/>
                  </a:lnTo>
                  <a:lnTo>
                    <a:pt x="223" y="509"/>
                  </a:lnTo>
                  <a:lnTo>
                    <a:pt x="230" y="506"/>
                  </a:lnTo>
                  <a:lnTo>
                    <a:pt x="235" y="502"/>
                  </a:lnTo>
                  <a:lnTo>
                    <a:pt x="240" y="497"/>
                  </a:lnTo>
                  <a:lnTo>
                    <a:pt x="244" y="492"/>
                  </a:lnTo>
                  <a:lnTo>
                    <a:pt x="248" y="485"/>
                  </a:lnTo>
                  <a:lnTo>
                    <a:pt x="251" y="477"/>
                  </a:lnTo>
                  <a:lnTo>
                    <a:pt x="260" y="442"/>
                  </a:lnTo>
                  <a:lnTo>
                    <a:pt x="271" y="402"/>
                  </a:lnTo>
                  <a:lnTo>
                    <a:pt x="279" y="394"/>
                  </a:lnTo>
                  <a:lnTo>
                    <a:pt x="299" y="374"/>
                  </a:lnTo>
                  <a:lnTo>
                    <a:pt x="319" y="354"/>
                  </a:lnTo>
                  <a:lnTo>
                    <a:pt x="331" y="342"/>
                  </a:lnTo>
                  <a:lnTo>
                    <a:pt x="344" y="333"/>
                  </a:lnTo>
                  <a:lnTo>
                    <a:pt x="365" y="316"/>
                  </a:lnTo>
                  <a:lnTo>
                    <a:pt x="375" y="308"/>
                  </a:lnTo>
                  <a:lnTo>
                    <a:pt x="380" y="301"/>
                  </a:lnTo>
                  <a:lnTo>
                    <a:pt x="381" y="298"/>
                  </a:lnTo>
                  <a:lnTo>
                    <a:pt x="380" y="296"/>
                  </a:lnTo>
                  <a:lnTo>
                    <a:pt x="377" y="294"/>
                  </a:lnTo>
                  <a:lnTo>
                    <a:pt x="373" y="294"/>
                  </a:lnTo>
                  <a:lnTo>
                    <a:pt x="347" y="289"/>
                  </a:lnTo>
                  <a:lnTo>
                    <a:pt x="324" y="282"/>
                  </a:lnTo>
                  <a:lnTo>
                    <a:pt x="315" y="278"/>
                  </a:lnTo>
                  <a:lnTo>
                    <a:pt x="307" y="274"/>
                  </a:lnTo>
                  <a:lnTo>
                    <a:pt x="299" y="269"/>
                  </a:lnTo>
                  <a:lnTo>
                    <a:pt x="291" y="262"/>
                  </a:lnTo>
                  <a:lnTo>
                    <a:pt x="284" y="256"/>
                  </a:lnTo>
                  <a:lnTo>
                    <a:pt x="277" y="249"/>
                  </a:lnTo>
                  <a:lnTo>
                    <a:pt x="272" y="241"/>
                  </a:lnTo>
                  <a:lnTo>
                    <a:pt x="265" y="232"/>
                  </a:lnTo>
                  <a:lnTo>
                    <a:pt x="253" y="210"/>
                  </a:lnTo>
                  <a:lnTo>
                    <a:pt x="240" y="186"/>
                  </a:lnTo>
                  <a:lnTo>
                    <a:pt x="236" y="173"/>
                  </a:lnTo>
                  <a:lnTo>
                    <a:pt x="234" y="162"/>
                  </a:lnTo>
                  <a:lnTo>
                    <a:pt x="232" y="156"/>
                  </a:lnTo>
                  <a:lnTo>
                    <a:pt x="234" y="149"/>
                  </a:lnTo>
                  <a:lnTo>
                    <a:pt x="236" y="142"/>
                  </a:lnTo>
                  <a:lnTo>
                    <a:pt x="239" y="134"/>
                  </a:lnTo>
                  <a:lnTo>
                    <a:pt x="240" y="124"/>
                  </a:lnTo>
                  <a:lnTo>
                    <a:pt x="240" y="108"/>
                  </a:lnTo>
                  <a:lnTo>
                    <a:pt x="241" y="102"/>
                  </a:lnTo>
                  <a:lnTo>
                    <a:pt x="244" y="97"/>
                  </a:lnTo>
                  <a:lnTo>
                    <a:pt x="247" y="94"/>
                  </a:lnTo>
                  <a:lnTo>
                    <a:pt x="252" y="92"/>
                  </a:lnTo>
                  <a:lnTo>
                    <a:pt x="264" y="88"/>
                  </a:lnTo>
                  <a:lnTo>
                    <a:pt x="277" y="84"/>
                  </a:lnTo>
                  <a:lnTo>
                    <a:pt x="247" y="29"/>
                  </a:lnTo>
                  <a:lnTo>
                    <a:pt x="273" y="29"/>
                  </a:lnTo>
                  <a:lnTo>
                    <a:pt x="297" y="29"/>
                  </a:lnTo>
                  <a:lnTo>
                    <a:pt x="320" y="28"/>
                  </a:lnTo>
                  <a:lnTo>
                    <a:pt x="343" y="25"/>
                  </a:lnTo>
                  <a:lnTo>
                    <a:pt x="363" y="22"/>
                  </a:lnTo>
                  <a:lnTo>
                    <a:pt x="381" y="17"/>
                  </a:lnTo>
                  <a:lnTo>
                    <a:pt x="391" y="13"/>
                  </a:lnTo>
                  <a:lnTo>
                    <a:pt x="399" y="9"/>
                  </a:lnTo>
                  <a:lnTo>
                    <a:pt x="407" y="5"/>
                  </a:lnTo>
                  <a:lnTo>
                    <a:pt x="415" y="0"/>
                  </a:lnTo>
                  <a:lnTo>
                    <a:pt x="416" y="6"/>
                  </a:lnTo>
                  <a:lnTo>
                    <a:pt x="419" y="14"/>
                  </a:lnTo>
                  <a:lnTo>
                    <a:pt x="421" y="21"/>
                  </a:lnTo>
                  <a:lnTo>
                    <a:pt x="427" y="26"/>
                  </a:lnTo>
                  <a:lnTo>
                    <a:pt x="439" y="38"/>
                  </a:lnTo>
                  <a:lnTo>
                    <a:pt x="453" y="50"/>
                  </a:lnTo>
                  <a:lnTo>
                    <a:pt x="469" y="61"/>
                  </a:lnTo>
                  <a:lnTo>
                    <a:pt x="487" y="72"/>
                  </a:lnTo>
                  <a:lnTo>
                    <a:pt x="503" y="82"/>
                  </a:lnTo>
                  <a:lnTo>
                    <a:pt x="517" y="96"/>
                  </a:lnTo>
                  <a:lnTo>
                    <a:pt x="524" y="104"/>
                  </a:lnTo>
                  <a:lnTo>
                    <a:pt x="528" y="113"/>
                  </a:lnTo>
                  <a:lnTo>
                    <a:pt x="531" y="124"/>
                  </a:lnTo>
                  <a:lnTo>
                    <a:pt x="532" y="134"/>
                  </a:lnTo>
                  <a:lnTo>
                    <a:pt x="533" y="145"/>
                  </a:lnTo>
                  <a:lnTo>
                    <a:pt x="536" y="154"/>
                  </a:lnTo>
                  <a:lnTo>
                    <a:pt x="539" y="162"/>
                  </a:lnTo>
                  <a:lnTo>
                    <a:pt x="541" y="168"/>
                  </a:lnTo>
                  <a:lnTo>
                    <a:pt x="541" y="18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9" name="Freeform 110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1314450" y="4368800"/>
              <a:ext cx="192088" cy="138113"/>
            </a:xfrm>
            <a:custGeom>
              <a:avLst/>
              <a:gdLst/>
              <a:ahLst/>
              <a:cxnLst>
                <a:cxn ang="0">
                  <a:pos x="278" y="24"/>
                </a:cxn>
                <a:cxn ang="0">
                  <a:pos x="257" y="23"/>
                </a:cxn>
                <a:cxn ang="0">
                  <a:pos x="249" y="16"/>
                </a:cxn>
                <a:cxn ang="0">
                  <a:pos x="240" y="7"/>
                </a:cxn>
                <a:cxn ang="0">
                  <a:pos x="226" y="0"/>
                </a:cxn>
                <a:cxn ang="0">
                  <a:pos x="205" y="0"/>
                </a:cxn>
                <a:cxn ang="0">
                  <a:pos x="158" y="8"/>
                </a:cxn>
                <a:cxn ang="0">
                  <a:pos x="118" y="18"/>
                </a:cxn>
                <a:cxn ang="0">
                  <a:pos x="93" y="27"/>
                </a:cxn>
                <a:cxn ang="0">
                  <a:pos x="74" y="39"/>
                </a:cxn>
                <a:cxn ang="0">
                  <a:pos x="65" y="48"/>
                </a:cxn>
                <a:cxn ang="0">
                  <a:pos x="62" y="56"/>
                </a:cxn>
                <a:cxn ang="0">
                  <a:pos x="64" y="74"/>
                </a:cxn>
                <a:cxn ang="0">
                  <a:pos x="72" y="103"/>
                </a:cxn>
                <a:cxn ang="0">
                  <a:pos x="74" y="134"/>
                </a:cxn>
                <a:cxn ang="0">
                  <a:pos x="70" y="155"/>
                </a:cxn>
                <a:cxn ang="0">
                  <a:pos x="64" y="171"/>
                </a:cxn>
                <a:cxn ang="0">
                  <a:pos x="52" y="179"/>
                </a:cxn>
                <a:cxn ang="0">
                  <a:pos x="37" y="180"/>
                </a:cxn>
                <a:cxn ang="0">
                  <a:pos x="26" y="176"/>
                </a:cxn>
                <a:cxn ang="0">
                  <a:pos x="13" y="166"/>
                </a:cxn>
                <a:cxn ang="0">
                  <a:pos x="2" y="168"/>
                </a:cxn>
                <a:cxn ang="0">
                  <a:pos x="1" y="180"/>
                </a:cxn>
                <a:cxn ang="0">
                  <a:pos x="2" y="199"/>
                </a:cxn>
                <a:cxn ang="0">
                  <a:pos x="6" y="210"/>
                </a:cxn>
                <a:cxn ang="0">
                  <a:pos x="21" y="220"/>
                </a:cxn>
                <a:cxn ang="0">
                  <a:pos x="46" y="234"/>
                </a:cxn>
                <a:cxn ang="0">
                  <a:pos x="68" y="246"/>
                </a:cxn>
                <a:cxn ang="0">
                  <a:pos x="80" y="258"/>
                </a:cxn>
                <a:cxn ang="0">
                  <a:pos x="92" y="275"/>
                </a:cxn>
                <a:cxn ang="0">
                  <a:pos x="100" y="300"/>
                </a:cxn>
                <a:cxn ang="0">
                  <a:pos x="105" y="328"/>
                </a:cxn>
                <a:cxn ang="0">
                  <a:pos x="114" y="355"/>
                </a:cxn>
                <a:cxn ang="0">
                  <a:pos x="128" y="367"/>
                </a:cxn>
                <a:cxn ang="0">
                  <a:pos x="146" y="356"/>
                </a:cxn>
                <a:cxn ang="0">
                  <a:pos x="166" y="348"/>
                </a:cxn>
                <a:cxn ang="0">
                  <a:pos x="188" y="344"/>
                </a:cxn>
                <a:cxn ang="0">
                  <a:pos x="213" y="343"/>
                </a:cxn>
                <a:cxn ang="0">
                  <a:pos x="226" y="346"/>
                </a:cxn>
                <a:cxn ang="0">
                  <a:pos x="240" y="352"/>
                </a:cxn>
                <a:cxn ang="0">
                  <a:pos x="253" y="359"/>
                </a:cxn>
                <a:cxn ang="0">
                  <a:pos x="266" y="361"/>
                </a:cxn>
                <a:cxn ang="0">
                  <a:pos x="285" y="359"/>
                </a:cxn>
                <a:cxn ang="0">
                  <a:pos x="297" y="352"/>
                </a:cxn>
                <a:cxn ang="0">
                  <a:pos x="306" y="342"/>
                </a:cxn>
                <a:cxn ang="0">
                  <a:pos x="313" y="327"/>
                </a:cxn>
                <a:cxn ang="0">
                  <a:pos x="333" y="252"/>
                </a:cxn>
                <a:cxn ang="0">
                  <a:pos x="361" y="224"/>
                </a:cxn>
                <a:cxn ang="0">
                  <a:pos x="393" y="192"/>
                </a:cxn>
                <a:cxn ang="0">
                  <a:pos x="427" y="166"/>
                </a:cxn>
                <a:cxn ang="0">
                  <a:pos x="442" y="151"/>
                </a:cxn>
                <a:cxn ang="0">
                  <a:pos x="442" y="146"/>
                </a:cxn>
                <a:cxn ang="0">
                  <a:pos x="435" y="144"/>
                </a:cxn>
                <a:cxn ang="0">
                  <a:pos x="386" y="132"/>
                </a:cxn>
                <a:cxn ang="0">
                  <a:pos x="369" y="124"/>
                </a:cxn>
                <a:cxn ang="0">
                  <a:pos x="353" y="112"/>
                </a:cxn>
                <a:cxn ang="0">
                  <a:pos x="339" y="99"/>
                </a:cxn>
                <a:cxn ang="0">
                  <a:pos x="327" y="82"/>
                </a:cxn>
                <a:cxn ang="0">
                  <a:pos x="302" y="36"/>
                </a:cxn>
              </a:cxnLst>
              <a:rect l="0" t="0" r="r" b="b"/>
              <a:pathLst>
                <a:path w="443" h="367">
                  <a:moveTo>
                    <a:pt x="290" y="24"/>
                  </a:moveTo>
                  <a:lnTo>
                    <a:pt x="278" y="24"/>
                  </a:lnTo>
                  <a:lnTo>
                    <a:pt x="261" y="24"/>
                  </a:lnTo>
                  <a:lnTo>
                    <a:pt x="257" y="23"/>
                  </a:lnTo>
                  <a:lnTo>
                    <a:pt x="253" y="20"/>
                  </a:lnTo>
                  <a:lnTo>
                    <a:pt x="249" y="16"/>
                  </a:lnTo>
                  <a:lnTo>
                    <a:pt x="244" y="12"/>
                  </a:lnTo>
                  <a:lnTo>
                    <a:pt x="240" y="7"/>
                  </a:lnTo>
                  <a:lnTo>
                    <a:pt x="233" y="3"/>
                  </a:lnTo>
                  <a:lnTo>
                    <a:pt x="226" y="0"/>
                  </a:lnTo>
                  <a:lnTo>
                    <a:pt x="218" y="0"/>
                  </a:lnTo>
                  <a:lnTo>
                    <a:pt x="205" y="0"/>
                  </a:lnTo>
                  <a:lnTo>
                    <a:pt x="184" y="3"/>
                  </a:lnTo>
                  <a:lnTo>
                    <a:pt x="158" y="8"/>
                  </a:lnTo>
                  <a:lnTo>
                    <a:pt x="132" y="14"/>
                  </a:lnTo>
                  <a:lnTo>
                    <a:pt x="118" y="18"/>
                  </a:lnTo>
                  <a:lnTo>
                    <a:pt x="105" y="23"/>
                  </a:lnTo>
                  <a:lnTo>
                    <a:pt x="93" y="27"/>
                  </a:lnTo>
                  <a:lnTo>
                    <a:pt x="84" y="32"/>
                  </a:lnTo>
                  <a:lnTo>
                    <a:pt x="74" y="39"/>
                  </a:lnTo>
                  <a:lnTo>
                    <a:pt x="68" y="46"/>
                  </a:lnTo>
                  <a:lnTo>
                    <a:pt x="65" y="48"/>
                  </a:lnTo>
                  <a:lnTo>
                    <a:pt x="64" y="52"/>
                  </a:lnTo>
                  <a:lnTo>
                    <a:pt x="62" y="56"/>
                  </a:lnTo>
                  <a:lnTo>
                    <a:pt x="62" y="60"/>
                  </a:lnTo>
                  <a:lnTo>
                    <a:pt x="64" y="74"/>
                  </a:lnTo>
                  <a:lnTo>
                    <a:pt x="68" y="88"/>
                  </a:lnTo>
                  <a:lnTo>
                    <a:pt x="72" y="103"/>
                  </a:lnTo>
                  <a:lnTo>
                    <a:pt x="74" y="120"/>
                  </a:lnTo>
                  <a:lnTo>
                    <a:pt x="74" y="134"/>
                  </a:lnTo>
                  <a:lnTo>
                    <a:pt x="73" y="144"/>
                  </a:lnTo>
                  <a:lnTo>
                    <a:pt x="70" y="155"/>
                  </a:lnTo>
                  <a:lnTo>
                    <a:pt x="68" y="164"/>
                  </a:lnTo>
                  <a:lnTo>
                    <a:pt x="64" y="171"/>
                  </a:lnTo>
                  <a:lnTo>
                    <a:pt x="58" y="176"/>
                  </a:lnTo>
                  <a:lnTo>
                    <a:pt x="52" y="179"/>
                  </a:lnTo>
                  <a:lnTo>
                    <a:pt x="44" y="180"/>
                  </a:lnTo>
                  <a:lnTo>
                    <a:pt x="37" y="180"/>
                  </a:lnTo>
                  <a:lnTo>
                    <a:pt x="32" y="179"/>
                  </a:lnTo>
                  <a:lnTo>
                    <a:pt x="26" y="176"/>
                  </a:lnTo>
                  <a:lnTo>
                    <a:pt x="21" y="174"/>
                  </a:lnTo>
                  <a:lnTo>
                    <a:pt x="13" y="166"/>
                  </a:lnTo>
                  <a:lnTo>
                    <a:pt x="8" y="156"/>
                  </a:lnTo>
                  <a:lnTo>
                    <a:pt x="2" y="168"/>
                  </a:lnTo>
                  <a:lnTo>
                    <a:pt x="0" y="175"/>
                  </a:lnTo>
                  <a:lnTo>
                    <a:pt x="1" y="180"/>
                  </a:lnTo>
                  <a:lnTo>
                    <a:pt x="2" y="192"/>
                  </a:lnTo>
                  <a:lnTo>
                    <a:pt x="2" y="199"/>
                  </a:lnTo>
                  <a:lnTo>
                    <a:pt x="4" y="204"/>
                  </a:lnTo>
                  <a:lnTo>
                    <a:pt x="6" y="210"/>
                  </a:lnTo>
                  <a:lnTo>
                    <a:pt x="10" y="214"/>
                  </a:lnTo>
                  <a:lnTo>
                    <a:pt x="21" y="220"/>
                  </a:lnTo>
                  <a:lnTo>
                    <a:pt x="33" y="227"/>
                  </a:lnTo>
                  <a:lnTo>
                    <a:pt x="46" y="234"/>
                  </a:lnTo>
                  <a:lnTo>
                    <a:pt x="60" y="240"/>
                  </a:lnTo>
                  <a:lnTo>
                    <a:pt x="68" y="246"/>
                  </a:lnTo>
                  <a:lnTo>
                    <a:pt x="74" y="251"/>
                  </a:lnTo>
                  <a:lnTo>
                    <a:pt x="80" y="258"/>
                  </a:lnTo>
                  <a:lnTo>
                    <a:pt x="86" y="264"/>
                  </a:lnTo>
                  <a:lnTo>
                    <a:pt x="92" y="275"/>
                  </a:lnTo>
                  <a:lnTo>
                    <a:pt x="96" y="287"/>
                  </a:lnTo>
                  <a:lnTo>
                    <a:pt x="100" y="300"/>
                  </a:lnTo>
                  <a:lnTo>
                    <a:pt x="102" y="314"/>
                  </a:lnTo>
                  <a:lnTo>
                    <a:pt x="105" y="328"/>
                  </a:lnTo>
                  <a:lnTo>
                    <a:pt x="109" y="342"/>
                  </a:lnTo>
                  <a:lnTo>
                    <a:pt x="114" y="355"/>
                  </a:lnTo>
                  <a:lnTo>
                    <a:pt x="122" y="367"/>
                  </a:lnTo>
                  <a:lnTo>
                    <a:pt x="128" y="367"/>
                  </a:lnTo>
                  <a:lnTo>
                    <a:pt x="137" y="361"/>
                  </a:lnTo>
                  <a:lnTo>
                    <a:pt x="146" y="356"/>
                  </a:lnTo>
                  <a:lnTo>
                    <a:pt x="156" y="352"/>
                  </a:lnTo>
                  <a:lnTo>
                    <a:pt x="166" y="348"/>
                  </a:lnTo>
                  <a:lnTo>
                    <a:pt x="176" y="346"/>
                  </a:lnTo>
                  <a:lnTo>
                    <a:pt x="188" y="344"/>
                  </a:lnTo>
                  <a:lnTo>
                    <a:pt x="200" y="343"/>
                  </a:lnTo>
                  <a:lnTo>
                    <a:pt x="213" y="343"/>
                  </a:lnTo>
                  <a:lnTo>
                    <a:pt x="220" y="344"/>
                  </a:lnTo>
                  <a:lnTo>
                    <a:pt x="226" y="346"/>
                  </a:lnTo>
                  <a:lnTo>
                    <a:pt x="233" y="348"/>
                  </a:lnTo>
                  <a:lnTo>
                    <a:pt x="240" y="352"/>
                  </a:lnTo>
                  <a:lnTo>
                    <a:pt x="246" y="355"/>
                  </a:lnTo>
                  <a:lnTo>
                    <a:pt x="253" y="359"/>
                  </a:lnTo>
                  <a:lnTo>
                    <a:pt x="260" y="360"/>
                  </a:lnTo>
                  <a:lnTo>
                    <a:pt x="266" y="361"/>
                  </a:lnTo>
                  <a:lnTo>
                    <a:pt x="276" y="360"/>
                  </a:lnTo>
                  <a:lnTo>
                    <a:pt x="285" y="359"/>
                  </a:lnTo>
                  <a:lnTo>
                    <a:pt x="292" y="356"/>
                  </a:lnTo>
                  <a:lnTo>
                    <a:pt x="297" y="352"/>
                  </a:lnTo>
                  <a:lnTo>
                    <a:pt x="302" y="347"/>
                  </a:lnTo>
                  <a:lnTo>
                    <a:pt x="306" y="342"/>
                  </a:lnTo>
                  <a:lnTo>
                    <a:pt x="310" y="335"/>
                  </a:lnTo>
                  <a:lnTo>
                    <a:pt x="313" y="327"/>
                  </a:lnTo>
                  <a:lnTo>
                    <a:pt x="322" y="292"/>
                  </a:lnTo>
                  <a:lnTo>
                    <a:pt x="333" y="252"/>
                  </a:lnTo>
                  <a:lnTo>
                    <a:pt x="341" y="244"/>
                  </a:lnTo>
                  <a:lnTo>
                    <a:pt x="361" y="224"/>
                  </a:lnTo>
                  <a:lnTo>
                    <a:pt x="381" y="204"/>
                  </a:lnTo>
                  <a:lnTo>
                    <a:pt x="393" y="192"/>
                  </a:lnTo>
                  <a:lnTo>
                    <a:pt x="406" y="183"/>
                  </a:lnTo>
                  <a:lnTo>
                    <a:pt x="427" y="166"/>
                  </a:lnTo>
                  <a:lnTo>
                    <a:pt x="437" y="158"/>
                  </a:lnTo>
                  <a:lnTo>
                    <a:pt x="442" y="151"/>
                  </a:lnTo>
                  <a:lnTo>
                    <a:pt x="443" y="148"/>
                  </a:lnTo>
                  <a:lnTo>
                    <a:pt x="442" y="146"/>
                  </a:lnTo>
                  <a:lnTo>
                    <a:pt x="439" y="144"/>
                  </a:lnTo>
                  <a:lnTo>
                    <a:pt x="435" y="144"/>
                  </a:lnTo>
                  <a:lnTo>
                    <a:pt x="409" y="139"/>
                  </a:lnTo>
                  <a:lnTo>
                    <a:pt x="386" y="132"/>
                  </a:lnTo>
                  <a:lnTo>
                    <a:pt x="377" y="128"/>
                  </a:lnTo>
                  <a:lnTo>
                    <a:pt x="369" y="124"/>
                  </a:lnTo>
                  <a:lnTo>
                    <a:pt x="361" y="119"/>
                  </a:lnTo>
                  <a:lnTo>
                    <a:pt x="353" y="112"/>
                  </a:lnTo>
                  <a:lnTo>
                    <a:pt x="346" y="106"/>
                  </a:lnTo>
                  <a:lnTo>
                    <a:pt x="339" y="99"/>
                  </a:lnTo>
                  <a:lnTo>
                    <a:pt x="334" y="91"/>
                  </a:lnTo>
                  <a:lnTo>
                    <a:pt x="327" y="82"/>
                  </a:lnTo>
                  <a:lnTo>
                    <a:pt x="315" y="60"/>
                  </a:lnTo>
                  <a:lnTo>
                    <a:pt x="302" y="36"/>
                  </a:lnTo>
                  <a:lnTo>
                    <a:pt x="290" y="2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0" name="Freeform 111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1123950" y="4183063"/>
              <a:ext cx="153988" cy="122237"/>
            </a:xfrm>
            <a:custGeom>
              <a:avLst/>
              <a:gdLst/>
              <a:ahLst/>
              <a:cxnLst>
                <a:cxn ang="0">
                  <a:pos x="276" y="25"/>
                </a:cxn>
                <a:cxn ang="0">
                  <a:pos x="262" y="46"/>
                </a:cxn>
                <a:cxn ang="0">
                  <a:pos x="243" y="60"/>
                </a:cxn>
                <a:cxn ang="0">
                  <a:pos x="219" y="65"/>
                </a:cxn>
                <a:cxn ang="0">
                  <a:pos x="195" y="65"/>
                </a:cxn>
                <a:cxn ang="0">
                  <a:pos x="180" y="60"/>
                </a:cxn>
                <a:cxn ang="0">
                  <a:pos x="167" y="45"/>
                </a:cxn>
                <a:cxn ang="0">
                  <a:pos x="159" y="26"/>
                </a:cxn>
                <a:cxn ang="0">
                  <a:pos x="152" y="14"/>
                </a:cxn>
                <a:cxn ang="0">
                  <a:pos x="142" y="5"/>
                </a:cxn>
                <a:cxn ang="0">
                  <a:pos x="126" y="0"/>
                </a:cxn>
                <a:cxn ang="0">
                  <a:pos x="106" y="0"/>
                </a:cxn>
                <a:cxn ang="0">
                  <a:pos x="88" y="2"/>
                </a:cxn>
                <a:cxn ang="0">
                  <a:pos x="59" y="13"/>
                </a:cxn>
                <a:cxn ang="0">
                  <a:pos x="32" y="29"/>
                </a:cxn>
                <a:cxn ang="0">
                  <a:pos x="18" y="42"/>
                </a:cxn>
                <a:cxn ang="0">
                  <a:pos x="7" y="58"/>
                </a:cxn>
                <a:cxn ang="0">
                  <a:pos x="0" y="74"/>
                </a:cxn>
                <a:cxn ang="0">
                  <a:pos x="2" y="100"/>
                </a:cxn>
                <a:cxn ang="0">
                  <a:pos x="11" y="136"/>
                </a:cxn>
                <a:cxn ang="0">
                  <a:pos x="30" y="172"/>
                </a:cxn>
                <a:cxn ang="0">
                  <a:pos x="54" y="209"/>
                </a:cxn>
                <a:cxn ang="0">
                  <a:pos x="82" y="245"/>
                </a:cxn>
                <a:cxn ang="0">
                  <a:pos x="112" y="277"/>
                </a:cxn>
                <a:cxn ang="0">
                  <a:pos x="142" y="303"/>
                </a:cxn>
                <a:cxn ang="0">
                  <a:pos x="168" y="323"/>
                </a:cxn>
                <a:cxn ang="0">
                  <a:pos x="182" y="325"/>
                </a:cxn>
                <a:cxn ang="0">
                  <a:pos x="190" y="313"/>
                </a:cxn>
                <a:cxn ang="0">
                  <a:pos x="203" y="302"/>
                </a:cxn>
                <a:cxn ang="0">
                  <a:pos x="222" y="291"/>
                </a:cxn>
                <a:cxn ang="0">
                  <a:pos x="254" y="277"/>
                </a:cxn>
                <a:cxn ang="0">
                  <a:pos x="299" y="266"/>
                </a:cxn>
                <a:cxn ang="0">
                  <a:pos x="323" y="264"/>
                </a:cxn>
                <a:cxn ang="0">
                  <a:pos x="332" y="249"/>
                </a:cxn>
                <a:cxn ang="0">
                  <a:pos x="328" y="224"/>
                </a:cxn>
                <a:cxn ang="0">
                  <a:pos x="320" y="201"/>
                </a:cxn>
                <a:cxn ang="0">
                  <a:pos x="314" y="178"/>
                </a:cxn>
                <a:cxn ang="0">
                  <a:pos x="314" y="161"/>
                </a:cxn>
                <a:cxn ang="0">
                  <a:pos x="318" y="153"/>
                </a:cxn>
                <a:cxn ang="0">
                  <a:pos x="328" y="144"/>
                </a:cxn>
                <a:cxn ang="0">
                  <a:pos x="346" y="137"/>
                </a:cxn>
                <a:cxn ang="0">
                  <a:pos x="356" y="129"/>
                </a:cxn>
                <a:cxn ang="0">
                  <a:pos x="360" y="120"/>
                </a:cxn>
                <a:cxn ang="0">
                  <a:pos x="360" y="104"/>
                </a:cxn>
                <a:cxn ang="0">
                  <a:pos x="354" y="88"/>
                </a:cxn>
                <a:cxn ang="0">
                  <a:pos x="336" y="68"/>
                </a:cxn>
                <a:cxn ang="0">
                  <a:pos x="308" y="45"/>
                </a:cxn>
                <a:cxn ang="0">
                  <a:pos x="290" y="25"/>
                </a:cxn>
                <a:cxn ang="0">
                  <a:pos x="284" y="9"/>
                </a:cxn>
                <a:cxn ang="0">
                  <a:pos x="283" y="12"/>
                </a:cxn>
              </a:cxnLst>
              <a:rect l="0" t="0" r="r" b="b"/>
              <a:pathLst>
                <a:path w="362" h="330">
                  <a:moveTo>
                    <a:pt x="283" y="12"/>
                  </a:moveTo>
                  <a:lnTo>
                    <a:pt x="276" y="25"/>
                  </a:lnTo>
                  <a:lnTo>
                    <a:pt x="270" y="37"/>
                  </a:lnTo>
                  <a:lnTo>
                    <a:pt x="262" y="46"/>
                  </a:lnTo>
                  <a:lnTo>
                    <a:pt x="252" y="54"/>
                  </a:lnTo>
                  <a:lnTo>
                    <a:pt x="243" y="60"/>
                  </a:lnTo>
                  <a:lnTo>
                    <a:pt x="232" y="62"/>
                  </a:lnTo>
                  <a:lnTo>
                    <a:pt x="219" y="65"/>
                  </a:lnTo>
                  <a:lnTo>
                    <a:pt x="204" y="65"/>
                  </a:lnTo>
                  <a:lnTo>
                    <a:pt x="195" y="65"/>
                  </a:lnTo>
                  <a:lnTo>
                    <a:pt x="186" y="62"/>
                  </a:lnTo>
                  <a:lnTo>
                    <a:pt x="180" y="60"/>
                  </a:lnTo>
                  <a:lnTo>
                    <a:pt x="175" y="56"/>
                  </a:lnTo>
                  <a:lnTo>
                    <a:pt x="167" y="45"/>
                  </a:lnTo>
                  <a:lnTo>
                    <a:pt x="162" y="32"/>
                  </a:lnTo>
                  <a:lnTo>
                    <a:pt x="159" y="26"/>
                  </a:lnTo>
                  <a:lnTo>
                    <a:pt x="156" y="20"/>
                  </a:lnTo>
                  <a:lnTo>
                    <a:pt x="152" y="14"/>
                  </a:lnTo>
                  <a:lnTo>
                    <a:pt x="148" y="9"/>
                  </a:lnTo>
                  <a:lnTo>
                    <a:pt x="142" y="5"/>
                  </a:lnTo>
                  <a:lnTo>
                    <a:pt x="135" y="2"/>
                  </a:lnTo>
                  <a:lnTo>
                    <a:pt x="126" y="0"/>
                  </a:lnTo>
                  <a:lnTo>
                    <a:pt x="115" y="0"/>
                  </a:lnTo>
                  <a:lnTo>
                    <a:pt x="106" y="0"/>
                  </a:lnTo>
                  <a:lnTo>
                    <a:pt x="98" y="1"/>
                  </a:lnTo>
                  <a:lnTo>
                    <a:pt x="88" y="2"/>
                  </a:lnTo>
                  <a:lnTo>
                    <a:pt x="79" y="5"/>
                  </a:lnTo>
                  <a:lnTo>
                    <a:pt x="59" y="13"/>
                  </a:lnTo>
                  <a:lnTo>
                    <a:pt x="42" y="24"/>
                  </a:lnTo>
                  <a:lnTo>
                    <a:pt x="32" y="29"/>
                  </a:lnTo>
                  <a:lnTo>
                    <a:pt x="24" y="36"/>
                  </a:lnTo>
                  <a:lnTo>
                    <a:pt x="18" y="42"/>
                  </a:lnTo>
                  <a:lnTo>
                    <a:pt x="12" y="50"/>
                  </a:lnTo>
                  <a:lnTo>
                    <a:pt x="7" y="58"/>
                  </a:lnTo>
                  <a:lnTo>
                    <a:pt x="3" y="66"/>
                  </a:lnTo>
                  <a:lnTo>
                    <a:pt x="0" y="74"/>
                  </a:lnTo>
                  <a:lnTo>
                    <a:pt x="0" y="84"/>
                  </a:lnTo>
                  <a:lnTo>
                    <a:pt x="2" y="100"/>
                  </a:lnTo>
                  <a:lnTo>
                    <a:pt x="6" y="117"/>
                  </a:lnTo>
                  <a:lnTo>
                    <a:pt x="11" y="136"/>
                  </a:lnTo>
                  <a:lnTo>
                    <a:pt x="19" y="153"/>
                  </a:lnTo>
                  <a:lnTo>
                    <a:pt x="30" y="172"/>
                  </a:lnTo>
                  <a:lnTo>
                    <a:pt x="42" y="190"/>
                  </a:lnTo>
                  <a:lnTo>
                    <a:pt x="54" y="209"/>
                  </a:lnTo>
                  <a:lnTo>
                    <a:pt x="67" y="228"/>
                  </a:lnTo>
                  <a:lnTo>
                    <a:pt x="82" y="245"/>
                  </a:lnTo>
                  <a:lnTo>
                    <a:pt x="96" y="261"/>
                  </a:lnTo>
                  <a:lnTo>
                    <a:pt x="112" y="277"/>
                  </a:lnTo>
                  <a:lnTo>
                    <a:pt x="127" y="291"/>
                  </a:lnTo>
                  <a:lnTo>
                    <a:pt x="142" y="303"/>
                  </a:lnTo>
                  <a:lnTo>
                    <a:pt x="155" y="314"/>
                  </a:lnTo>
                  <a:lnTo>
                    <a:pt x="168" y="323"/>
                  </a:lnTo>
                  <a:lnTo>
                    <a:pt x="180" y="330"/>
                  </a:lnTo>
                  <a:lnTo>
                    <a:pt x="182" y="325"/>
                  </a:lnTo>
                  <a:lnTo>
                    <a:pt x="184" y="318"/>
                  </a:lnTo>
                  <a:lnTo>
                    <a:pt x="190" y="313"/>
                  </a:lnTo>
                  <a:lnTo>
                    <a:pt x="195" y="307"/>
                  </a:lnTo>
                  <a:lnTo>
                    <a:pt x="203" y="302"/>
                  </a:lnTo>
                  <a:lnTo>
                    <a:pt x="212" y="295"/>
                  </a:lnTo>
                  <a:lnTo>
                    <a:pt x="222" y="291"/>
                  </a:lnTo>
                  <a:lnTo>
                    <a:pt x="232" y="286"/>
                  </a:lnTo>
                  <a:lnTo>
                    <a:pt x="254" y="277"/>
                  </a:lnTo>
                  <a:lnTo>
                    <a:pt x="278" y="270"/>
                  </a:lnTo>
                  <a:lnTo>
                    <a:pt x="299" y="266"/>
                  </a:lnTo>
                  <a:lnTo>
                    <a:pt x="319" y="264"/>
                  </a:lnTo>
                  <a:lnTo>
                    <a:pt x="323" y="264"/>
                  </a:lnTo>
                  <a:lnTo>
                    <a:pt x="331" y="264"/>
                  </a:lnTo>
                  <a:lnTo>
                    <a:pt x="332" y="249"/>
                  </a:lnTo>
                  <a:lnTo>
                    <a:pt x="331" y="236"/>
                  </a:lnTo>
                  <a:lnTo>
                    <a:pt x="328" y="224"/>
                  </a:lnTo>
                  <a:lnTo>
                    <a:pt x="324" y="212"/>
                  </a:lnTo>
                  <a:lnTo>
                    <a:pt x="320" y="201"/>
                  </a:lnTo>
                  <a:lnTo>
                    <a:pt x="316" y="190"/>
                  </a:lnTo>
                  <a:lnTo>
                    <a:pt x="314" y="178"/>
                  </a:lnTo>
                  <a:lnTo>
                    <a:pt x="314" y="168"/>
                  </a:lnTo>
                  <a:lnTo>
                    <a:pt x="314" y="161"/>
                  </a:lnTo>
                  <a:lnTo>
                    <a:pt x="315" y="157"/>
                  </a:lnTo>
                  <a:lnTo>
                    <a:pt x="318" y="153"/>
                  </a:lnTo>
                  <a:lnTo>
                    <a:pt x="320" y="149"/>
                  </a:lnTo>
                  <a:lnTo>
                    <a:pt x="328" y="144"/>
                  </a:lnTo>
                  <a:lnTo>
                    <a:pt x="338" y="141"/>
                  </a:lnTo>
                  <a:lnTo>
                    <a:pt x="346" y="137"/>
                  </a:lnTo>
                  <a:lnTo>
                    <a:pt x="354" y="132"/>
                  </a:lnTo>
                  <a:lnTo>
                    <a:pt x="356" y="129"/>
                  </a:lnTo>
                  <a:lnTo>
                    <a:pt x="359" y="125"/>
                  </a:lnTo>
                  <a:lnTo>
                    <a:pt x="360" y="120"/>
                  </a:lnTo>
                  <a:lnTo>
                    <a:pt x="362" y="113"/>
                  </a:lnTo>
                  <a:lnTo>
                    <a:pt x="360" y="104"/>
                  </a:lnTo>
                  <a:lnTo>
                    <a:pt x="358" y="96"/>
                  </a:lnTo>
                  <a:lnTo>
                    <a:pt x="354" y="88"/>
                  </a:lnTo>
                  <a:lnTo>
                    <a:pt x="350" y="81"/>
                  </a:lnTo>
                  <a:lnTo>
                    <a:pt x="336" y="68"/>
                  </a:lnTo>
                  <a:lnTo>
                    <a:pt x="322" y="57"/>
                  </a:lnTo>
                  <a:lnTo>
                    <a:pt x="308" y="45"/>
                  </a:lnTo>
                  <a:lnTo>
                    <a:pt x="295" y="32"/>
                  </a:lnTo>
                  <a:lnTo>
                    <a:pt x="290" y="25"/>
                  </a:lnTo>
                  <a:lnTo>
                    <a:pt x="287" y="17"/>
                  </a:lnTo>
                  <a:lnTo>
                    <a:pt x="284" y="9"/>
                  </a:lnTo>
                  <a:lnTo>
                    <a:pt x="283" y="0"/>
                  </a:lnTo>
                  <a:lnTo>
                    <a:pt x="283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1" name="Freeform 112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1198563" y="4281488"/>
              <a:ext cx="171450" cy="96837"/>
            </a:xfrm>
            <a:custGeom>
              <a:avLst/>
              <a:gdLst/>
              <a:ahLst/>
              <a:cxnLst>
                <a:cxn ang="0">
                  <a:pos x="388" y="151"/>
                </a:cxn>
                <a:cxn ang="0">
                  <a:pos x="379" y="126"/>
                </a:cxn>
                <a:cxn ang="0">
                  <a:pos x="353" y="107"/>
                </a:cxn>
                <a:cxn ang="0">
                  <a:pos x="337" y="93"/>
                </a:cxn>
                <a:cxn ang="0">
                  <a:pos x="325" y="87"/>
                </a:cxn>
                <a:cxn ang="0">
                  <a:pos x="313" y="91"/>
                </a:cxn>
                <a:cxn ang="0">
                  <a:pos x="303" y="93"/>
                </a:cxn>
                <a:cxn ang="0">
                  <a:pos x="292" y="91"/>
                </a:cxn>
                <a:cxn ang="0">
                  <a:pos x="276" y="83"/>
                </a:cxn>
                <a:cxn ang="0">
                  <a:pos x="256" y="67"/>
                </a:cxn>
                <a:cxn ang="0">
                  <a:pos x="225" y="38"/>
                </a:cxn>
                <a:cxn ang="0">
                  <a:pos x="189" y="12"/>
                </a:cxn>
                <a:cxn ang="0">
                  <a:pos x="168" y="4"/>
                </a:cxn>
                <a:cxn ang="0">
                  <a:pos x="152" y="1"/>
                </a:cxn>
                <a:cxn ang="0">
                  <a:pos x="124" y="2"/>
                </a:cxn>
                <a:cxn ang="0">
                  <a:pos x="77" y="13"/>
                </a:cxn>
                <a:cxn ang="0">
                  <a:pos x="43" y="27"/>
                </a:cxn>
                <a:cxn ang="0">
                  <a:pos x="24" y="38"/>
                </a:cxn>
                <a:cxn ang="0">
                  <a:pos x="9" y="49"/>
                </a:cxn>
                <a:cxn ang="0">
                  <a:pos x="1" y="61"/>
                </a:cxn>
                <a:cxn ang="0">
                  <a:pos x="1" y="71"/>
                </a:cxn>
                <a:cxn ang="0">
                  <a:pos x="9" y="81"/>
                </a:cxn>
                <a:cxn ang="0">
                  <a:pos x="25" y="93"/>
                </a:cxn>
                <a:cxn ang="0">
                  <a:pos x="37" y="110"/>
                </a:cxn>
                <a:cxn ang="0">
                  <a:pos x="55" y="155"/>
                </a:cxn>
                <a:cxn ang="0">
                  <a:pos x="75" y="209"/>
                </a:cxn>
                <a:cxn ang="0">
                  <a:pos x="91" y="242"/>
                </a:cxn>
                <a:cxn ang="0">
                  <a:pos x="103" y="255"/>
                </a:cxn>
                <a:cxn ang="0">
                  <a:pos x="109" y="255"/>
                </a:cxn>
                <a:cxn ang="0">
                  <a:pos x="116" y="250"/>
                </a:cxn>
                <a:cxn ang="0">
                  <a:pos x="135" y="242"/>
                </a:cxn>
                <a:cxn ang="0">
                  <a:pos x="169" y="234"/>
                </a:cxn>
                <a:cxn ang="0">
                  <a:pos x="203" y="230"/>
                </a:cxn>
                <a:cxn ang="0">
                  <a:pos x="232" y="238"/>
                </a:cxn>
                <a:cxn ang="0">
                  <a:pos x="251" y="246"/>
                </a:cxn>
                <a:cxn ang="0">
                  <a:pos x="260" y="243"/>
                </a:cxn>
                <a:cxn ang="0">
                  <a:pos x="271" y="234"/>
                </a:cxn>
                <a:cxn ang="0">
                  <a:pos x="284" y="237"/>
                </a:cxn>
                <a:cxn ang="0">
                  <a:pos x="293" y="245"/>
                </a:cxn>
                <a:cxn ang="0">
                  <a:pos x="305" y="246"/>
                </a:cxn>
                <a:cxn ang="0">
                  <a:pos x="320" y="246"/>
                </a:cxn>
                <a:cxn ang="0">
                  <a:pos x="332" y="241"/>
                </a:cxn>
                <a:cxn ang="0">
                  <a:pos x="344" y="226"/>
                </a:cxn>
                <a:cxn ang="0">
                  <a:pos x="356" y="202"/>
                </a:cxn>
                <a:cxn ang="0">
                  <a:pos x="365" y="187"/>
                </a:cxn>
                <a:cxn ang="0">
                  <a:pos x="373" y="182"/>
                </a:cxn>
                <a:cxn ang="0">
                  <a:pos x="373" y="169"/>
                </a:cxn>
              </a:cxnLst>
              <a:rect l="0" t="0" r="r" b="b"/>
              <a:pathLst>
                <a:path w="397" h="259">
                  <a:moveTo>
                    <a:pt x="373" y="169"/>
                  </a:moveTo>
                  <a:lnTo>
                    <a:pt x="388" y="151"/>
                  </a:lnTo>
                  <a:lnTo>
                    <a:pt x="397" y="138"/>
                  </a:lnTo>
                  <a:lnTo>
                    <a:pt x="379" y="126"/>
                  </a:lnTo>
                  <a:lnTo>
                    <a:pt x="361" y="114"/>
                  </a:lnTo>
                  <a:lnTo>
                    <a:pt x="353" y="107"/>
                  </a:lnTo>
                  <a:lnTo>
                    <a:pt x="345" y="101"/>
                  </a:lnTo>
                  <a:lnTo>
                    <a:pt x="337" y="93"/>
                  </a:lnTo>
                  <a:lnTo>
                    <a:pt x="331" y="85"/>
                  </a:lnTo>
                  <a:lnTo>
                    <a:pt x="325" y="87"/>
                  </a:lnTo>
                  <a:lnTo>
                    <a:pt x="319" y="90"/>
                  </a:lnTo>
                  <a:lnTo>
                    <a:pt x="313" y="91"/>
                  </a:lnTo>
                  <a:lnTo>
                    <a:pt x="308" y="93"/>
                  </a:lnTo>
                  <a:lnTo>
                    <a:pt x="303" y="93"/>
                  </a:lnTo>
                  <a:lnTo>
                    <a:pt x="297" y="93"/>
                  </a:lnTo>
                  <a:lnTo>
                    <a:pt x="292" y="91"/>
                  </a:lnTo>
                  <a:lnTo>
                    <a:pt x="287" y="89"/>
                  </a:lnTo>
                  <a:lnTo>
                    <a:pt x="276" y="83"/>
                  </a:lnTo>
                  <a:lnTo>
                    <a:pt x="267" y="77"/>
                  </a:lnTo>
                  <a:lnTo>
                    <a:pt x="256" y="67"/>
                  </a:lnTo>
                  <a:lnTo>
                    <a:pt x="247" y="58"/>
                  </a:lnTo>
                  <a:lnTo>
                    <a:pt x="225" y="38"/>
                  </a:lnTo>
                  <a:lnTo>
                    <a:pt x="203" y="19"/>
                  </a:lnTo>
                  <a:lnTo>
                    <a:pt x="189" y="12"/>
                  </a:lnTo>
                  <a:lnTo>
                    <a:pt x="176" y="5"/>
                  </a:lnTo>
                  <a:lnTo>
                    <a:pt x="168" y="4"/>
                  </a:lnTo>
                  <a:lnTo>
                    <a:pt x="160" y="1"/>
                  </a:lnTo>
                  <a:lnTo>
                    <a:pt x="152" y="1"/>
                  </a:lnTo>
                  <a:lnTo>
                    <a:pt x="144" y="0"/>
                  </a:lnTo>
                  <a:lnTo>
                    <a:pt x="124" y="2"/>
                  </a:lnTo>
                  <a:lnTo>
                    <a:pt x="101" y="6"/>
                  </a:lnTo>
                  <a:lnTo>
                    <a:pt x="77" y="13"/>
                  </a:lnTo>
                  <a:lnTo>
                    <a:pt x="53" y="22"/>
                  </a:lnTo>
                  <a:lnTo>
                    <a:pt x="43" y="27"/>
                  </a:lnTo>
                  <a:lnTo>
                    <a:pt x="32" y="31"/>
                  </a:lnTo>
                  <a:lnTo>
                    <a:pt x="24" y="38"/>
                  </a:lnTo>
                  <a:lnTo>
                    <a:pt x="16" y="43"/>
                  </a:lnTo>
                  <a:lnTo>
                    <a:pt x="9" y="49"/>
                  </a:lnTo>
                  <a:lnTo>
                    <a:pt x="4" y="54"/>
                  </a:lnTo>
                  <a:lnTo>
                    <a:pt x="1" y="61"/>
                  </a:lnTo>
                  <a:lnTo>
                    <a:pt x="0" y="66"/>
                  </a:lnTo>
                  <a:lnTo>
                    <a:pt x="1" y="71"/>
                  </a:lnTo>
                  <a:lnTo>
                    <a:pt x="4" y="75"/>
                  </a:lnTo>
                  <a:lnTo>
                    <a:pt x="9" y="81"/>
                  </a:lnTo>
                  <a:lnTo>
                    <a:pt x="15" y="86"/>
                  </a:lnTo>
                  <a:lnTo>
                    <a:pt x="25" y="93"/>
                  </a:lnTo>
                  <a:lnTo>
                    <a:pt x="29" y="97"/>
                  </a:lnTo>
                  <a:lnTo>
                    <a:pt x="37" y="110"/>
                  </a:lnTo>
                  <a:lnTo>
                    <a:pt x="45" y="130"/>
                  </a:lnTo>
                  <a:lnTo>
                    <a:pt x="55" y="155"/>
                  </a:lnTo>
                  <a:lnTo>
                    <a:pt x="64" y="182"/>
                  </a:lnTo>
                  <a:lnTo>
                    <a:pt x="75" y="209"/>
                  </a:lnTo>
                  <a:lnTo>
                    <a:pt x="85" y="231"/>
                  </a:lnTo>
                  <a:lnTo>
                    <a:pt x="91" y="242"/>
                  </a:lnTo>
                  <a:lnTo>
                    <a:pt x="97" y="250"/>
                  </a:lnTo>
                  <a:lnTo>
                    <a:pt x="103" y="255"/>
                  </a:lnTo>
                  <a:lnTo>
                    <a:pt x="108" y="259"/>
                  </a:lnTo>
                  <a:lnTo>
                    <a:pt x="109" y="255"/>
                  </a:lnTo>
                  <a:lnTo>
                    <a:pt x="112" y="253"/>
                  </a:lnTo>
                  <a:lnTo>
                    <a:pt x="116" y="250"/>
                  </a:lnTo>
                  <a:lnTo>
                    <a:pt x="121" y="246"/>
                  </a:lnTo>
                  <a:lnTo>
                    <a:pt x="135" y="242"/>
                  </a:lnTo>
                  <a:lnTo>
                    <a:pt x="151" y="237"/>
                  </a:lnTo>
                  <a:lnTo>
                    <a:pt x="169" y="234"/>
                  </a:lnTo>
                  <a:lnTo>
                    <a:pt x="187" y="231"/>
                  </a:lnTo>
                  <a:lnTo>
                    <a:pt x="203" y="230"/>
                  </a:lnTo>
                  <a:lnTo>
                    <a:pt x="216" y="229"/>
                  </a:lnTo>
                  <a:lnTo>
                    <a:pt x="232" y="238"/>
                  </a:lnTo>
                  <a:lnTo>
                    <a:pt x="247" y="247"/>
                  </a:lnTo>
                  <a:lnTo>
                    <a:pt x="251" y="246"/>
                  </a:lnTo>
                  <a:lnTo>
                    <a:pt x="256" y="245"/>
                  </a:lnTo>
                  <a:lnTo>
                    <a:pt x="260" y="243"/>
                  </a:lnTo>
                  <a:lnTo>
                    <a:pt x="264" y="241"/>
                  </a:lnTo>
                  <a:lnTo>
                    <a:pt x="271" y="234"/>
                  </a:lnTo>
                  <a:lnTo>
                    <a:pt x="277" y="229"/>
                  </a:lnTo>
                  <a:lnTo>
                    <a:pt x="284" y="237"/>
                  </a:lnTo>
                  <a:lnTo>
                    <a:pt x="291" y="242"/>
                  </a:lnTo>
                  <a:lnTo>
                    <a:pt x="293" y="245"/>
                  </a:lnTo>
                  <a:lnTo>
                    <a:pt x="299" y="246"/>
                  </a:lnTo>
                  <a:lnTo>
                    <a:pt x="305" y="246"/>
                  </a:lnTo>
                  <a:lnTo>
                    <a:pt x="313" y="247"/>
                  </a:lnTo>
                  <a:lnTo>
                    <a:pt x="320" y="246"/>
                  </a:lnTo>
                  <a:lnTo>
                    <a:pt x="327" y="245"/>
                  </a:lnTo>
                  <a:lnTo>
                    <a:pt x="332" y="241"/>
                  </a:lnTo>
                  <a:lnTo>
                    <a:pt x="337" y="237"/>
                  </a:lnTo>
                  <a:lnTo>
                    <a:pt x="344" y="226"/>
                  </a:lnTo>
                  <a:lnTo>
                    <a:pt x="351" y="214"/>
                  </a:lnTo>
                  <a:lnTo>
                    <a:pt x="356" y="202"/>
                  </a:lnTo>
                  <a:lnTo>
                    <a:pt x="361" y="191"/>
                  </a:lnTo>
                  <a:lnTo>
                    <a:pt x="365" y="187"/>
                  </a:lnTo>
                  <a:lnTo>
                    <a:pt x="369" y="183"/>
                  </a:lnTo>
                  <a:lnTo>
                    <a:pt x="373" y="182"/>
                  </a:lnTo>
                  <a:lnTo>
                    <a:pt x="379" y="181"/>
                  </a:lnTo>
                  <a:lnTo>
                    <a:pt x="373" y="16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2" name="Freeform 113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1244600" y="4349750"/>
              <a:ext cx="146050" cy="87313"/>
            </a:xfrm>
            <a:custGeom>
              <a:avLst/>
              <a:gdLst/>
              <a:ahLst/>
              <a:cxnLst>
                <a:cxn ang="0">
                  <a:pos x="187" y="222"/>
                </a:cxn>
                <a:cxn ang="0">
                  <a:pos x="197" y="230"/>
                </a:cxn>
                <a:cxn ang="0">
                  <a:pos x="207" y="234"/>
                </a:cxn>
                <a:cxn ang="0">
                  <a:pos x="219" y="233"/>
                </a:cxn>
                <a:cxn ang="0">
                  <a:pos x="231" y="225"/>
                </a:cxn>
                <a:cxn ang="0">
                  <a:pos x="237" y="209"/>
                </a:cxn>
                <a:cxn ang="0">
                  <a:pos x="241" y="188"/>
                </a:cxn>
                <a:cxn ang="0">
                  <a:pos x="239" y="157"/>
                </a:cxn>
                <a:cxn ang="0">
                  <a:pos x="231" y="128"/>
                </a:cxn>
                <a:cxn ang="0">
                  <a:pos x="229" y="109"/>
                </a:cxn>
                <a:cxn ang="0">
                  <a:pos x="235" y="98"/>
                </a:cxn>
                <a:cxn ang="0">
                  <a:pos x="251" y="85"/>
                </a:cxn>
                <a:cxn ang="0">
                  <a:pos x="281" y="72"/>
                </a:cxn>
                <a:cxn ang="0">
                  <a:pos x="319" y="62"/>
                </a:cxn>
                <a:cxn ang="0">
                  <a:pos x="332" y="46"/>
                </a:cxn>
                <a:cxn ang="0">
                  <a:pos x="320" y="25"/>
                </a:cxn>
                <a:cxn ang="0">
                  <a:pos x="305" y="9"/>
                </a:cxn>
                <a:cxn ang="0">
                  <a:pos x="284" y="1"/>
                </a:cxn>
                <a:cxn ang="0">
                  <a:pos x="265" y="1"/>
                </a:cxn>
                <a:cxn ang="0">
                  <a:pos x="257" y="6"/>
                </a:cxn>
                <a:cxn ang="0">
                  <a:pos x="248" y="21"/>
                </a:cxn>
                <a:cxn ang="0">
                  <a:pos x="236" y="45"/>
                </a:cxn>
                <a:cxn ang="0">
                  <a:pos x="224" y="60"/>
                </a:cxn>
                <a:cxn ang="0">
                  <a:pos x="212" y="65"/>
                </a:cxn>
                <a:cxn ang="0">
                  <a:pos x="197" y="65"/>
                </a:cxn>
                <a:cxn ang="0">
                  <a:pos x="185" y="64"/>
                </a:cxn>
                <a:cxn ang="0">
                  <a:pos x="176" y="56"/>
                </a:cxn>
                <a:cxn ang="0">
                  <a:pos x="163" y="53"/>
                </a:cxn>
                <a:cxn ang="0">
                  <a:pos x="152" y="62"/>
                </a:cxn>
                <a:cxn ang="0">
                  <a:pos x="143" y="65"/>
                </a:cxn>
                <a:cxn ang="0">
                  <a:pos x="124" y="57"/>
                </a:cxn>
                <a:cxn ang="0">
                  <a:pos x="95" y="49"/>
                </a:cxn>
                <a:cxn ang="0">
                  <a:pos x="61" y="53"/>
                </a:cxn>
                <a:cxn ang="0">
                  <a:pos x="27" y="61"/>
                </a:cxn>
                <a:cxn ang="0">
                  <a:pos x="8" y="69"/>
                </a:cxn>
                <a:cxn ang="0">
                  <a:pos x="1" y="74"/>
                </a:cxn>
                <a:cxn ang="0">
                  <a:pos x="0" y="84"/>
                </a:cxn>
                <a:cxn ang="0">
                  <a:pos x="4" y="93"/>
                </a:cxn>
                <a:cxn ang="0">
                  <a:pos x="12" y="106"/>
                </a:cxn>
                <a:cxn ang="0">
                  <a:pos x="25" y="121"/>
                </a:cxn>
                <a:cxn ang="0">
                  <a:pos x="35" y="136"/>
                </a:cxn>
                <a:cxn ang="0">
                  <a:pos x="27" y="160"/>
                </a:cxn>
                <a:cxn ang="0">
                  <a:pos x="19" y="182"/>
                </a:cxn>
                <a:cxn ang="0">
                  <a:pos x="28" y="197"/>
                </a:cxn>
                <a:cxn ang="0">
                  <a:pos x="44" y="206"/>
                </a:cxn>
                <a:cxn ang="0">
                  <a:pos x="65" y="214"/>
                </a:cxn>
                <a:cxn ang="0">
                  <a:pos x="103" y="220"/>
                </a:cxn>
                <a:cxn ang="0">
                  <a:pos x="151" y="222"/>
                </a:cxn>
                <a:cxn ang="0">
                  <a:pos x="181" y="217"/>
                </a:cxn>
              </a:cxnLst>
              <a:rect l="0" t="0" r="r" b="b"/>
              <a:pathLst>
                <a:path w="337" h="234">
                  <a:moveTo>
                    <a:pt x="181" y="217"/>
                  </a:moveTo>
                  <a:lnTo>
                    <a:pt x="187" y="222"/>
                  </a:lnTo>
                  <a:lnTo>
                    <a:pt x="193" y="228"/>
                  </a:lnTo>
                  <a:lnTo>
                    <a:pt x="197" y="230"/>
                  </a:lnTo>
                  <a:lnTo>
                    <a:pt x="201" y="233"/>
                  </a:lnTo>
                  <a:lnTo>
                    <a:pt x="207" y="234"/>
                  </a:lnTo>
                  <a:lnTo>
                    <a:pt x="211" y="234"/>
                  </a:lnTo>
                  <a:lnTo>
                    <a:pt x="219" y="233"/>
                  </a:lnTo>
                  <a:lnTo>
                    <a:pt x="225" y="230"/>
                  </a:lnTo>
                  <a:lnTo>
                    <a:pt x="231" y="225"/>
                  </a:lnTo>
                  <a:lnTo>
                    <a:pt x="235" y="218"/>
                  </a:lnTo>
                  <a:lnTo>
                    <a:pt x="237" y="209"/>
                  </a:lnTo>
                  <a:lnTo>
                    <a:pt x="240" y="198"/>
                  </a:lnTo>
                  <a:lnTo>
                    <a:pt x="241" y="188"/>
                  </a:lnTo>
                  <a:lnTo>
                    <a:pt x="241" y="174"/>
                  </a:lnTo>
                  <a:lnTo>
                    <a:pt x="239" y="157"/>
                  </a:lnTo>
                  <a:lnTo>
                    <a:pt x="235" y="142"/>
                  </a:lnTo>
                  <a:lnTo>
                    <a:pt x="231" y="128"/>
                  </a:lnTo>
                  <a:lnTo>
                    <a:pt x="229" y="114"/>
                  </a:lnTo>
                  <a:lnTo>
                    <a:pt x="229" y="109"/>
                  </a:lnTo>
                  <a:lnTo>
                    <a:pt x="232" y="104"/>
                  </a:lnTo>
                  <a:lnTo>
                    <a:pt x="235" y="98"/>
                  </a:lnTo>
                  <a:lnTo>
                    <a:pt x="239" y="94"/>
                  </a:lnTo>
                  <a:lnTo>
                    <a:pt x="251" y="85"/>
                  </a:lnTo>
                  <a:lnTo>
                    <a:pt x="265" y="78"/>
                  </a:lnTo>
                  <a:lnTo>
                    <a:pt x="281" y="72"/>
                  </a:lnTo>
                  <a:lnTo>
                    <a:pt x="300" y="66"/>
                  </a:lnTo>
                  <a:lnTo>
                    <a:pt x="319" y="62"/>
                  </a:lnTo>
                  <a:lnTo>
                    <a:pt x="337" y="60"/>
                  </a:lnTo>
                  <a:lnTo>
                    <a:pt x="332" y="46"/>
                  </a:lnTo>
                  <a:lnTo>
                    <a:pt x="327" y="36"/>
                  </a:lnTo>
                  <a:lnTo>
                    <a:pt x="320" y="25"/>
                  </a:lnTo>
                  <a:lnTo>
                    <a:pt x="313" y="16"/>
                  </a:lnTo>
                  <a:lnTo>
                    <a:pt x="305" y="9"/>
                  </a:lnTo>
                  <a:lnTo>
                    <a:pt x="295" y="4"/>
                  </a:lnTo>
                  <a:lnTo>
                    <a:pt x="284" y="1"/>
                  </a:lnTo>
                  <a:lnTo>
                    <a:pt x="271" y="0"/>
                  </a:lnTo>
                  <a:lnTo>
                    <a:pt x="265" y="1"/>
                  </a:lnTo>
                  <a:lnTo>
                    <a:pt x="261" y="2"/>
                  </a:lnTo>
                  <a:lnTo>
                    <a:pt x="257" y="6"/>
                  </a:lnTo>
                  <a:lnTo>
                    <a:pt x="253" y="10"/>
                  </a:lnTo>
                  <a:lnTo>
                    <a:pt x="248" y="21"/>
                  </a:lnTo>
                  <a:lnTo>
                    <a:pt x="243" y="33"/>
                  </a:lnTo>
                  <a:lnTo>
                    <a:pt x="236" y="45"/>
                  </a:lnTo>
                  <a:lnTo>
                    <a:pt x="229" y="56"/>
                  </a:lnTo>
                  <a:lnTo>
                    <a:pt x="224" y="60"/>
                  </a:lnTo>
                  <a:lnTo>
                    <a:pt x="219" y="64"/>
                  </a:lnTo>
                  <a:lnTo>
                    <a:pt x="212" y="65"/>
                  </a:lnTo>
                  <a:lnTo>
                    <a:pt x="205" y="66"/>
                  </a:lnTo>
                  <a:lnTo>
                    <a:pt x="197" y="65"/>
                  </a:lnTo>
                  <a:lnTo>
                    <a:pt x="191" y="65"/>
                  </a:lnTo>
                  <a:lnTo>
                    <a:pt x="185" y="64"/>
                  </a:lnTo>
                  <a:lnTo>
                    <a:pt x="183" y="61"/>
                  </a:lnTo>
                  <a:lnTo>
                    <a:pt x="176" y="56"/>
                  </a:lnTo>
                  <a:lnTo>
                    <a:pt x="169" y="48"/>
                  </a:lnTo>
                  <a:lnTo>
                    <a:pt x="163" y="53"/>
                  </a:lnTo>
                  <a:lnTo>
                    <a:pt x="156" y="60"/>
                  </a:lnTo>
                  <a:lnTo>
                    <a:pt x="152" y="62"/>
                  </a:lnTo>
                  <a:lnTo>
                    <a:pt x="148" y="64"/>
                  </a:lnTo>
                  <a:lnTo>
                    <a:pt x="143" y="65"/>
                  </a:lnTo>
                  <a:lnTo>
                    <a:pt x="139" y="66"/>
                  </a:lnTo>
                  <a:lnTo>
                    <a:pt x="124" y="57"/>
                  </a:lnTo>
                  <a:lnTo>
                    <a:pt x="108" y="48"/>
                  </a:lnTo>
                  <a:lnTo>
                    <a:pt x="95" y="49"/>
                  </a:lnTo>
                  <a:lnTo>
                    <a:pt x="79" y="50"/>
                  </a:lnTo>
                  <a:lnTo>
                    <a:pt x="61" y="53"/>
                  </a:lnTo>
                  <a:lnTo>
                    <a:pt x="43" y="56"/>
                  </a:lnTo>
                  <a:lnTo>
                    <a:pt x="27" y="61"/>
                  </a:lnTo>
                  <a:lnTo>
                    <a:pt x="13" y="65"/>
                  </a:lnTo>
                  <a:lnTo>
                    <a:pt x="8" y="69"/>
                  </a:lnTo>
                  <a:lnTo>
                    <a:pt x="4" y="72"/>
                  </a:lnTo>
                  <a:lnTo>
                    <a:pt x="1" y="74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1" y="89"/>
                  </a:lnTo>
                  <a:lnTo>
                    <a:pt x="4" y="93"/>
                  </a:lnTo>
                  <a:lnTo>
                    <a:pt x="5" y="97"/>
                  </a:lnTo>
                  <a:lnTo>
                    <a:pt x="12" y="106"/>
                  </a:lnTo>
                  <a:lnTo>
                    <a:pt x="19" y="113"/>
                  </a:lnTo>
                  <a:lnTo>
                    <a:pt x="25" y="121"/>
                  </a:lnTo>
                  <a:lnTo>
                    <a:pt x="31" y="128"/>
                  </a:lnTo>
                  <a:lnTo>
                    <a:pt x="35" y="136"/>
                  </a:lnTo>
                  <a:lnTo>
                    <a:pt x="36" y="144"/>
                  </a:lnTo>
                  <a:lnTo>
                    <a:pt x="27" y="160"/>
                  </a:lnTo>
                  <a:lnTo>
                    <a:pt x="19" y="174"/>
                  </a:lnTo>
                  <a:lnTo>
                    <a:pt x="19" y="182"/>
                  </a:lnTo>
                  <a:lnTo>
                    <a:pt x="23" y="190"/>
                  </a:lnTo>
                  <a:lnTo>
                    <a:pt x="28" y="197"/>
                  </a:lnTo>
                  <a:lnTo>
                    <a:pt x="36" y="202"/>
                  </a:lnTo>
                  <a:lnTo>
                    <a:pt x="44" y="206"/>
                  </a:lnTo>
                  <a:lnTo>
                    <a:pt x="55" y="210"/>
                  </a:lnTo>
                  <a:lnTo>
                    <a:pt x="65" y="214"/>
                  </a:lnTo>
                  <a:lnTo>
                    <a:pt x="77" y="217"/>
                  </a:lnTo>
                  <a:lnTo>
                    <a:pt x="103" y="220"/>
                  </a:lnTo>
                  <a:lnTo>
                    <a:pt x="128" y="222"/>
                  </a:lnTo>
                  <a:lnTo>
                    <a:pt x="151" y="222"/>
                  </a:lnTo>
                  <a:lnTo>
                    <a:pt x="169" y="222"/>
                  </a:lnTo>
                  <a:lnTo>
                    <a:pt x="181" y="21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3" name="Freeform 114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2471738" y="3470275"/>
              <a:ext cx="231775" cy="244475"/>
            </a:xfrm>
            <a:custGeom>
              <a:avLst/>
              <a:gdLst/>
              <a:ahLst/>
              <a:cxnLst>
                <a:cxn ang="0">
                  <a:pos x="277" y="647"/>
                </a:cxn>
                <a:cxn ang="0">
                  <a:pos x="311" y="643"/>
                </a:cxn>
                <a:cxn ang="0">
                  <a:pos x="340" y="631"/>
                </a:cxn>
                <a:cxn ang="0">
                  <a:pos x="393" y="595"/>
                </a:cxn>
                <a:cxn ang="0">
                  <a:pos x="393" y="578"/>
                </a:cxn>
                <a:cxn ang="0">
                  <a:pos x="375" y="561"/>
                </a:cxn>
                <a:cxn ang="0">
                  <a:pos x="368" y="529"/>
                </a:cxn>
                <a:cxn ang="0">
                  <a:pos x="373" y="509"/>
                </a:cxn>
                <a:cxn ang="0">
                  <a:pos x="388" y="494"/>
                </a:cxn>
                <a:cxn ang="0">
                  <a:pos x="431" y="475"/>
                </a:cxn>
                <a:cxn ang="0">
                  <a:pos x="467" y="443"/>
                </a:cxn>
                <a:cxn ang="0">
                  <a:pos x="483" y="382"/>
                </a:cxn>
                <a:cxn ang="0">
                  <a:pos x="499" y="305"/>
                </a:cxn>
                <a:cxn ang="0">
                  <a:pos x="515" y="209"/>
                </a:cxn>
                <a:cxn ang="0">
                  <a:pos x="531" y="146"/>
                </a:cxn>
                <a:cxn ang="0">
                  <a:pos x="521" y="108"/>
                </a:cxn>
                <a:cxn ang="0">
                  <a:pos x="443" y="50"/>
                </a:cxn>
                <a:cxn ang="0">
                  <a:pos x="376" y="9"/>
                </a:cxn>
                <a:cxn ang="0">
                  <a:pos x="344" y="0"/>
                </a:cxn>
                <a:cxn ang="0">
                  <a:pos x="324" y="4"/>
                </a:cxn>
                <a:cxn ang="0">
                  <a:pos x="308" y="16"/>
                </a:cxn>
                <a:cxn ang="0">
                  <a:pos x="292" y="40"/>
                </a:cxn>
                <a:cxn ang="0">
                  <a:pos x="273" y="86"/>
                </a:cxn>
                <a:cxn ang="0">
                  <a:pos x="255" y="134"/>
                </a:cxn>
                <a:cxn ang="0">
                  <a:pos x="237" y="158"/>
                </a:cxn>
                <a:cxn ang="0">
                  <a:pos x="220" y="170"/>
                </a:cxn>
                <a:cxn ang="0">
                  <a:pos x="199" y="174"/>
                </a:cxn>
                <a:cxn ang="0">
                  <a:pos x="181" y="166"/>
                </a:cxn>
                <a:cxn ang="0">
                  <a:pos x="171" y="154"/>
                </a:cxn>
                <a:cxn ang="0">
                  <a:pos x="147" y="153"/>
                </a:cxn>
                <a:cxn ang="0">
                  <a:pos x="115" y="168"/>
                </a:cxn>
                <a:cxn ang="0">
                  <a:pos x="105" y="184"/>
                </a:cxn>
                <a:cxn ang="0">
                  <a:pos x="100" y="224"/>
                </a:cxn>
                <a:cxn ang="0">
                  <a:pos x="95" y="269"/>
                </a:cxn>
                <a:cxn ang="0">
                  <a:pos x="84" y="298"/>
                </a:cxn>
                <a:cxn ang="0">
                  <a:pos x="60" y="321"/>
                </a:cxn>
                <a:cxn ang="0">
                  <a:pos x="33" y="342"/>
                </a:cxn>
                <a:cxn ang="0">
                  <a:pos x="19" y="364"/>
                </a:cxn>
                <a:cxn ang="0">
                  <a:pos x="12" y="397"/>
                </a:cxn>
                <a:cxn ang="0">
                  <a:pos x="15" y="449"/>
                </a:cxn>
                <a:cxn ang="0">
                  <a:pos x="0" y="487"/>
                </a:cxn>
                <a:cxn ang="0">
                  <a:pos x="5" y="507"/>
                </a:cxn>
                <a:cxn ang="0">
                  <a:pos x="17" y="523"/>
                </a:cxn>
                <a:cxn ang="0">
                  <a:pos x="40" y="535"/>
                </a:cxn>
                <a:cxn ang="0">
                  <a:pos x="79" y="542"/>
                </a:cxn>
                <a:cxn ang="0">
                  <a:pos x="139" y="549"/>
                </a:cxn>
                <a:cxn ang="0">
                  <a:pos x="163" y="546"/>
                </a:cxn>
                <a:cxn ang="0">
                  <a:pos x="171" y="530"/>
                </a:cxn>
                <a:cxn ang="0">
                  <a:pos x="163" y="505"/>
                </a:cxn>
                <a:cxn ang="0">
                  <a:pos x="171" y="494"/>
                </a:cxn>
                <a:cxn ang="0">
                  <a:pos x="199" y="481"/>
                </a:cxn>
                <a:cxn ang="0">
                  <a:pos x="223" y="530"/>
                </a:cxn>
                <a:cxn ang="0">
                  <a:pos x="207" y="555"/>
                </a:cxn>
                <a:cxn ang="0">
                  <a:pos x="259" y="571"/>
                </a:cxn>
                <a:cxn ang="0">
                  <a:pos x="256" y="586"/>
                </a:cxn>
                <a:cxn ang="0">
                  <a:pos x="241" y="605"/>
                </a:cxn>
                <a:cxn ang="0">
                  <a:pos x="215" y="617"/>
                </a:cxn>
                <a:cxn ang="0">
                  <a:pos x="213" y="647"/>
                </a:cxn>
                <a:cxn ang="0">
                  <a:pos x="228" y="650"/>
                </a:cxn>
                <a:cxn ang="0">
                  <a:pos x="253" y="643"/>
                </a:cxn>
              </a:cxnLst>
              <a:rect l="0" t="0" r="r" b="b"/>
              <a:pathLst>
                <a:path w="543" h="650">
                  <a:moveTo>
                    <a:pt x="253" y="643"/>
                  </a:moveTo>
                  <a:lnTo>
                    <a:pt x="265" y="646"/>
                  </a:lnTo>
                  <a:lnTo>
                    <a:pt x="277" y="647"/>
                  </a:lnTo>
                  <a:lnTo>
                    <a:pt x="288" y="647"/>
                  </a:lnTo>
                  <a:lnTo>
                    <a:pt x="300" y="646"/>
                  </a:lnTo>
                  <a:lnTo>
                    <a:pt x="311" y="643"/>
                  </a:lnTo>
                  <a:lnTo>
                    <a:pt x="321" y="641"/>
                  </a:lnTo>
                  <a:lnTo>
                    <a:pt x="331" y="637"/>
                  </a:lnTo>
                  <a:lnTo>
                    <a:pt x="340" y="631"/>
                  </a:lnTo>
                  <a:lnTo>
                    <a:pt x="359" y="621"/>
                  </a:lnTo>
                  <a:lnTo>
                    <a:pt x="377" y="609"/>
                  </a:lnTo>
                  <a:lnTo>
                    <a:pt x="393" y="595"/>
                  </a:lnTo>
                  <a:lnTo>
                    <a:pt x="409" y="583"/>
                  </a:lnTo>
                  <a:lnTo>
                    <a:pt x="401" y="581"/>
                  </a:lnTo>
                  <a:lnTo>
                    <a:pt x="393" y="578"/>
                  </a:lnTo>
                  <a:lnTo>
                    <a:pt x="385" y="573"/>
                  </a:lnTo>
                  <a:lnTo>
                    <a:pt x="380" y="567"/>
                  </a:lnTo>
                  <a:lnTo>
                    <a:pt x="375" y="561"/>
                  </a:lnTo>
                  <a:lnTo>
                    <a:pt x="371" y="553"/>
                  </a:lnTo>
                  <a:lnTo>
                    <a:pt x="368" y="542"/>
                  </a:lnTo>
                  <a:lnTo>
                    <a:pt x="368" y="529"/>
                  </a:lnTo>
                  <a:lnTo>
                    <a:pt x="368" y="522"/>
                  </a:lnTo>
                  <a:lnTo>
                    <a:pt x="371" y="515"/>
                  </a:lnTo>
                  <a:lnTo>
                    <a:pt x="373" y="509"/>
                  </a:lnTo>
                  <a:lnTo>
                    <a:pt x="377" y="503"/>
                  </a:lnTo>
                  <a:lnTo>
                    <a:pt x="383" y="499"/>
                  </a:lnTo>
                  <a:lnTo>
                    <a:pt x="388" y="494"/>
                  </a:lnTo>
                  <a:lnTo>
                    <a:pt x="395" y="491"/>
                  </a:lnTo>
                  <a:lnTo>
                    <a:pt x="401" y="487"/>
                  </a:lnTo>
                  <a:lnTo>
                    <a:pt x="431" y="475"/>
                  </a:lnTo>
                  <a:lnTo>
                    <a:pt x="457" y="463"/>
                  </a:lnTo>
                  <a:lnTo>
                    <a:pt x="463" y="454"/>
                  </a:lnTo>
                  <a:lnTo>
                    <a:pt x="467" y="443"/>
                  </a:lnTo>
                  <a:lnTo>
                    <a:pt x="471" y="429"/>
                  </a:lnTo>
                  <a:lnTo>
                    <a:pt x="475" y="414"/>
                  </a:lnTo>
                  <a:lnTo>
                    <a:pt x="483" y="382"/>
                  </a:lnTo>
                  <a:lnTo>
                    <a:pt x="488" y="354"/>
                  </a:lnTo>
                  <a:lnTo>
                    <a:pt x="495" y="332"/>
                  </a:lnTo>
                  <a:lnTo>
                    <a:pt x="499" y="305"/>
                  </a:lnTo>
                  <a:lnTo>
                    <a:pt x="504" y="274"/>
                  </a:lnTo>
                  <a:lnTo>
                    <a:pt x="508" y="242"/>
                  </a:lnTo>
                  <a:lnTo>
                    <a:pt x="515" y="209"/>
                  </a:lnTo>
                  <a:lnTo>
                    <a:pt x="521" y="177"/>
                  </a:lnTo>
                  <a:lnTo>
                    <a:pt x="525" y="161"/>
                  </a:lnTo>
                  <a:lnTo>
                    <a:pt x="531" y="146"/>
                  </a:lnTo>
                  <a:lnTo>
                    <a:pt x="536" y="133"/>
                  </a:lnTo>
                  <a:lnTo>
                    <a:pt x="543" y="120"/>
                  </a:lnTo>
                  <a:lnTo>
                    <a:pt x="521" y="108"/>
                  </a:lnTo>
                  <a:lnTo>
                    <a:pt x="497" y="92"/>
                  </a:lnTo>
                  <a:lnTo>
                    <a:pt x="471" y="72"/>
                  </a:lnTo>
                  <a:lnTo>
                    <a:pt x="443" y="50"/>
                  </a:lnTo>
                  <a:lnTo>
                    <a:pt x="415" y="32"/>
                  </a:lnTo>
                  <a:lnTo>
                    <a:pt x="388" y="14"/>
                  </a:lnTo>
                  <a:lnTo>
                    <a:pt x="376" y="9"/>
                  </a:lnTo>
                  <a:lnTo>
                    <a:pt x="364" y="4"/>
                  </a:lnTo>
                  <a:lnTo>
                    <a:pt x="353" y="1"/>
                  </a:lnTo>
                  <a:lnTo>
                    <a:pt x="344" y="0"/>
                  </a:lnTo>
                  <a:lnTo>
                    <a:pt x="336" y="0"/>
                  </a:lnTo>
                  <a:lnTo>
                    <a:pt x="329" y="1"/>
                  </a:lnTo>
                  <a:lnTo>
                    <a:pt x="324" y="4"/>
                  </a:lnTo>
                  <a:lnTo>
                    <a:pt x="319" y="8"/>
                  </a:lnTo>
                  <a:lnTo>
                    <a:pt x="313" y="10"/>
                  </a:lnTo>
                  <a:lnTo>
                    <a:pt x="308" y="16"/>
                  </a:lnTo>
                  <a:lnTo>
                    <a:pt x="304" y="21"/>
                  </a:lnTo>
                  <a:lnTo>
                    <a:pt x="300" y="26"/>
                  </a:lnTo>
                  <a:lnTo>
                    <a:pt x="292" y="40"/>
                  </a:lnTo>
                  <a:lnTo>
                    <a:pt x="285" y="54"/>
                  </a:lnTo>
                  <a:lnTo>
                    <a:pt x="280" y="70"/>
                  </a:lnTo>
                  <a:lnTo>
                    <a:pt x="273" y="86"/>
                  </a:lnTo>
                  <a:lnTo>
                    <a:pt x="268" y="104"/>
                  </a:lnTo>
                  <a:lnTo>
                    <a:pt x="261" y="118"/>
                  </a:lnTo>
                  <a:lnTo>
                    <a:pt x="255" y="134"/>
                  </a:lnTo>
                  <a:lnTo>
                    <a:pt x="247" y="146"/>
                  </a:lnTo>
                  <a:lnTo>
                    <a:pt x="241" y="153"/>
                  </a:lnTo>
                  <a:lnTo>
                    <a:pt x="237" y="158"/>
                  </a:lnTo>
                  <a:lnTo>
                    <a:pt x="232" y="162"/>
                  </a:lnTo>
                  <a:lnTo>
                    <a:pt x="227" y="166"/>
                  </a:lnTo>
                  <a:lnTo>
                    <a:pt x="220" y="170"/>
                  </a:lnTo>
                  <a:lnTo>
                    <a:pt x="213" y="172"/>
                  </a:lnTo>
                  <a:lnTo>
                    <a:pt x="207" y="174"/>
                  </a:lnTo>
                  <a:lnTo>
                    <a:pt x="199" y="174"/>
                  </a:lnTo>
                  <a:lnTo>
                    <a:pt x="191" y="173"/>
                  </a:lnTo>
                  <a:lnTo>
                    <a:pt x="185" y="170"/>
                  </a:lnTo>
                  <a:lnTo>
                    <a:pt x="181" y="166"/>
                  </a:lnTo>
                  <a:lnTo>
                    <a:pt x="177" y="162"/>
                  </a:lnTo>
                  <a:lnTo>
                    <a:pt x="175" y="158"/>
                  </a:lnTo>
                  <a:lnTo>
                    <a:pt x="171" y="154"/>
                  </a:lnTo>
                  <a:lnTo>
                    <a:pt x="164" y="152"/>
                  </a:lnTo>
                  <a:lnTo>
                    <a:pt x="157" y="150"/>
                  </a:lnTo>
                  <a:lnTo>
                    <a:pt x="147" y="153"/>
                  </a:lnTo>
                  <a:lnTo>
                    <a:pt x="131" y="160"/>
                  </a:lnTo>
                  <a:lnTo>
                    <a:pt x="123" y="164"/>
                  </a:lnTo>
                  <a:lnTo>
                    <a:pt x="115" y="168"/>
                  </a:lnTo>
                  <a:lnTo>
                    <a:pt x="111" y="172"/>
                  </a:lnTo>
                  <a:lnTo>
                    <a:pt x="108" y="174"/>
                  </a:lnTo>
                  <a:lnTo>
                    <a:pt x="105" y="184"/>
                  </a:lnTo>
                  <a:lnTo>
                    <a:pt x="103" y="196"/>
                  </a:lnTo>
                  <a:lnTo>
                    <a:pt x="101" y="209"/>
                  </a:lnTo>
                  <a:lnTo>
                    <a:pt x="100" y="224"/>
                  </a:lnTo>
                  <a:lnTo>
                    <a:pt x="99" y="238"/>
                  </a:lnTo>
                  <a:lnTo>
                    <a:pt x="97" y="254"/>
                  </a:lnTo>
                  <a:lnTo>
                    <a:pt x="95" y="269"/>
                  </a:lnTo>
                  <a:lnTo>
                    <a:pt x="91" y="282"/>
                  </a:lnTo>
                  <a:lnTo>
                    <a:pt x="88" y="292"/>
                  </a:lnTo>
                  <a:lnTo>
                    <a:pt x="84" y="298"/>
                  </a:lnTo>
                  <a:lnTo>
                    <a:pt x="79" y="305"/>
                  </a:lnTo>
                  <a:lnTo>
                    <a:pt x="73" y="310"/>
                  </a:lnTo>
                  <a:lnTo>
                    <a:pt x="60" y="321"/>
                  </a:lnTo>
                  <a:lnTo>
                    <a:pt x="47" y="330"/>
                  </a:lnTo>
                  <a:lnTo>
                    <a:pt x="40" y="336"/>
                  </a:lnTo>
                  <a:lnTo>
                    <a:pt x="33" y="342"/>
                  </a:lnTo>
                  <a:lnTo>
                    <a:pt x="28" y="348"/>
                  </a:lnTo>
                  <a:lnTo>
                    <a:pt x="23" y="356"/>
                  </a:lnTo>
                  <a:lnTo>
                    <a:pt x="19" y="364"/>
                  </a:lnTo>
                  <a:lnTo>
                    <a:pt x="15" y="373"/>
                  </a:lnTo>
                  <a:lnTo>
                    <a:pt x="13" y="385"/>
                  </a:lnTo>
                  <a:lnTo>
                    <a:pt x="12" y="397"/>
                  </a:lnTo>
                  <a:lnTo>
                    <a:pt x="13" y="414"/>
                  </a:lnTo>
                  <a:lnTo>
                    <a:pt x="15" y="430"/>
                  </a:lnTo>
                  <a:lnTo>
                    <a:pt x="15" y="449"/>
                  </a:lnTo>
                  <a:lnTo>
                    <a:pt x="12" y="469"/>
                  </a:lnTo>
                  <a:lnTo>
                    <a:pt x="7" y="478"/>
                  </a:lnTo>
                  <a:lnTo>
                    <a:pt x="0" y="487"/>
                  </a:lnTo>
                  <a:lnTo>
                    <a:pt x="1" y="495"/>
                  </a:lnTo>
                  <a:lnTo>
                    <a:pt x="3" y="502"/>
                  </a:lnTo>
                  <a:lnTo>
                    <a:pt x="5" y="507"/>
                  </a:lnTo>
                  <a:lnTo>
                    <a:pt x="8" y="514"/>
                  </a:lnTo>
                  <a:lnTo>
                    <a:pt x="12" y="518"/>
                  </a:lnTo>
                  <a:lnTo>
                    <a:pt x="17" y="523"/>
                  </a:lnTo>
                  <a:lnTo>
                    <a:pt x="23" y="527"/>
                  </a:lnTo>
                  <a:lnTo>
                    <a:pt x="28" y="530"/>
                  </a:lnTo>
                  <a:lnTo>
                    <a:pt x="40" y="535"/>
                  </a:lnTo>
                  <a:lnTo>
                    <a:pt x="53" y="539"/>
                  </a:lnTo>
                  <a:lnTo>
                    <a:pt x="67" y="541"/>
                  </a:lnTo>
                  <a:lnTo>
                    <a:pt x="79" y="542"/>
                  </a:lnTo>
                  <a:lnTo>
                    <a:pt x="101" y="543"/>
                  </a:lnTo>
                  <a:lnTo>
                    <a:pt x="127" y="549"/>
                  </a:lnTo>
                  <a:lnTo>
                    <a:pt x="139" y="549"/>
                  </a:lnTo>
                  <a:lnTo>
                    <a:pt x="151" y="549"/>
                  </a:lnTo>
                  <a:lnTo>
                    <a:pt x="157" y="549"/>
                  </a:lnTo>
                  <a:lnTo>
                    <a:pt x="163" y="546"/>
                  </a:lnTo>
                  <a:lnTo>
                    <a:pt x="169" y="545"/>
                  </a:lnTo>
                  <a:lnTo>
                    <a:pt x="175" y="542"/>
                  </a:lnTo>
                  <a:lnTo>
                    <a:pt x="171" y="530"/>
                  </a:lnTo>
                  <a:lnTo>
                    <a:pt x="167" y="523"/>
                  </a:lnTo>
                  <a:lnTo>
                    <a:pt x="164" y="515"/>
                  </a:lnTo>
                  <a:lnTo>
                    <a:pt x="163" y="505"/>
                  </a:lnTo>
                  <a:lnTo>
                    <a:pt x="164" y="501"/>
                  </a:lnTo>
                  <a:lnTo>
                    <a:pt x="167" y="497"/>
                  </a:lnTo>
                  <a:lnTo>
                    <a:pt x="171" y="494"/>
                  </a:lnTo>
                  <a:lnTo>
                    <a:pt x="176" y="491"/>
                  </a:lnTo>
                  <a:lnTo>
                    <a:pt x="188" y="486"/>
                  </a:lnTo>
                  <a:lnTo>
                    <a:pt x="199" y="481"/>
                  </a:lnTo>
                  <a:lnTo>
                    <a:pt x="235" y="481"/>
                  </a:lnTo>
                  <a:lnTo>
                    <a:pt x="235" y="517"/>
                  </a:lnTo>
                  <a:lnTo>
                    <a:pt x="223" y="530"/>
                  </a:lnTo>
                  <a:lnTo>
                    <a:pt x="213" y="542"/>
                  </a:lnTo>
                  <a:lnTo>
                    <a:pt x="209" y="549"/>
                  </a:lnTo>
                  <a:lnTo>
                    <a:pt x="207" y="555"/>
                  </a:lnTo>
                  <a:lnTo>
                    <a:pt x="205" y="563"/>
                  </a:lnTo>
                  <a:lnTo>
                    <a:pt x="205" y="571"/>
                  </a:lnTo>
                  <a:lnTo>
                    <a:pt x="259" y="571"/>
                  </a:lnTo>
                  <a:lnTo>
                    <a:pt x="259" y="577"/>
                  </a:lnTo>
                  <a:lnTo>
                    <a:pt x="257" y="582"/>
                  </a:lnTo>
                  <a:lnTo>
                    <a:pt x="256" y="586"/>
                  </a:lnTo>
                  <a:lnTo>
                    <a:pt x="255" y="591"/>
                  </a:lnTo>
                  <a:lnTo>
                    <a:pt x="248" y="598"/>
                  </a:lnTo>
                  <a:lnTo>
                    <a:pt x="241" y="605"/>
                  </a:lnTo>
                  <a:lnTo>
                    <a:pt x="233" y="610"/>
                  </a:lnTo>
                  <a:lnTo>
                    <a:pt x="224" y="614"/>
                  </a:lnTo>
                  <a:lnTo>
                    <a:pt x="215" y="617"/>
                  </a:lnTo>
                  <a:lnTo>
                    <a:pt x="205" y="619"/>
                  </a:lnTo>
                  <a:lnTo>
                    <a:pt x="205" y="643"/>
                  </a:lnTo>
                  <a:lnTo>
                    <a:pt x="213" y="647"/>
                  </a:lnTo>
                  <a:lnTo>
                    <a:pt x="219" y="650"/>
                  </a:lnTo>
                  <a:lnTo>
                    <a:pt x="224" y="650"/>
                  </a:lnTo>
                  <a:lnTo>
                    <a:pt x="228" y="650"/>
                  </a:lnTo>
                  <a:lnTo>
                    <a:pt x="236" y="649"/>
                  </a:lnTo>
                  <a:lnTo>
                    <a:pt x="247" y="643"/>
                  </a:lnTo>
                  <a:lnTo>
                    <a:pt x="253" y="64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4" name="Freeform 115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2728913" y="3278188"/>
              <a:ext cx="152400" cy="238125"/>
            </a:xfrm>
            <a:custGeom>
              <a:avLst/>
              <a:gdLst/>
              <a:ahLst/>
              <a:cxnLst>
                <a:cxn ang="0">
                  <a:pos x="14" y="141"/>
                </a:cxn>
                <a:cxn ang="0">
                  <a:pos x="25" y="164"/>
                </a:cxn>
                <a:cxn ang="0">
                  <a:pos x="53" y="188"/>
                </a:cxn>
                <a:cxn ang="0">
                  <a:pos x="85" y="207"/>
                </a:cxn>
                <a:cxn ang="0">
                  <a:pos x="114" y="227"/>
                </a:cxn>
                <a:cxn ang="0">
                  <a:pos x="129" y="251"/>
                </a:cxn>
                <a:cxn ang="0">
                  <a:pos x="131" y="271"/>
                </a:cxn>
                <a:cxn ang="0">
                  <a:pos x="129" y="292"/>
                </a:cxn>
                <a:cxn ang="0">
                  <a:pos x="111" y="320"/>
                </a:cxn>
                <a:cxn ang="0">
                  <a:pos x="81" y="345"/>
                </a:cxn>
                <a:cxn ang="0">
                  <a:pos x="45" y="366"/>
                </a:cxn>
                <a:cxn ang="0">
                  <a:pos x="17" y="394"/>
                </a:cxn>
                <a:cxn ang="0">
                  <a:pos x="6" y="418"/>
                </a:cxn>
                <a:cxn ang="0">
                  <a:pos x="5" y="464"/>
                </a:cxn>
                <a:cxn ang="0">
                  <a:pos x="5" y="554"/>
                </a:cxn>
                <a:cxn ang="0">
                  <a:pos x="9" y="577"/>
                </a:cxn>
                <a:cxn ang="0">
                  <a:pos x="18" y="594"/>
                </a:cxn>
                <a:cxn ang="0">
                  <a:pos x="40" y="612"/>
                </a:cxn>
                <a:cxn ang="0">
                  <a:pos x="83" y="626"/>
                </a:cxn>
                <a:cxn ang="0">
                  <a:pos x="137" y="632"/>
                </a:cxn>
                <a:cxn ang="0">
                  <a:pos x="229" y="632"/>
                </a:cxn>
                <a:cxn ang="0">
                  <a:pos x="301" y="629"/>
                </a:cxn>
                <a:cxn ang="0">
                  <a:pos x="317" y="617"/>
                </a:cxn>
                <a:cxn ang="0">
                  <a:pos x="318" y="601"/>
                </a:cxn>
                <a:cxn ang="0">
                  <a:pos x="309" y="585"/>
                </a:cxn>
                <a:cxn ang="0">
                  <a:pos x="273" y="556"/>
                </a:cxn>
                <a:cxn ang="0">
                  <a:pos x="255" y="530"/>
                </a:cxn>
                <a:cxn ang="0">
                  <a:pos x="253" y="496"/>
                </a:cxn>
                <a:cxn ang="0">
                  <a:pos x="266" y="456"/>
                </a:cxn>
                <a:cxn ang="0">
                  <a:pos x="302" y="394"/>
                </a:cxn>
                <a:cxn ang="0">
                  <a:pos x="323" y="355"/>
                </a:cxn>
                <a:cxn ang="0">
                  <a:pos x="335" y="308"/>
                </a:cxn>
                <a:cxn ang="0">
                  <a:pos x="338" y="256"/>
                </a:cxn>
                <a:cxn ang="0">
                  <a:pos x="349" y="196"/>
                </a:cxn>
                <a:cxn ang="0">
                  <a:pos x="334" y="160"/>
                </a:cxn>
                <a:cxn ang="0">
                  <a:pos x="307" y="141"/>
                </a:cxn>
                <a:cxn ang="0">
                  <a:pos x="278" y="107"/>
                </a:cxn>
                <a:cxn ang="0">
                  <a:pos x="259" y="97"/>
                </a:cxn>
                <a:cxn ang="0">
                  <a:pos x="242" y="96"/>
                </a:cxn>
                <a:cxn ang="0">
                  <a:pos x="225" y="95"/>
                </a:cxn>
                <a:cxn ang="0">
                  <a:pos x="218" y="80"/>
                </a:cxn>
                <a:cxn ang="0">
                  <a:pos x="215" y="41"/>
                </a:cxn>
                <a:cxn ang="0">
                  <a:pos x="205" y="16"/>
                </a:cxn>
                <a:cxn ang="0">
                  <a:pos x="182" y="4"/>
                </a:cxn>
                <a:cxn ang="0">
                  <a:pos x="95" y="5"/>
                </a:cxn>
                <a:cxn ang="0">
                  <a:pos x="75" y="5"/>
                </a:cxn>
                <a:cxn ang="0">
                  <a:pos x="40" y="1"/>
                </a:cxn>
                <a:cxn ang="0">
                  <a:pos x="26" y="1"/>
                </a:cxn>
                <a:cxn ang="0">
                  <a:pos x="24" y="5"/>
                </a:cxn>
                <a:cxn ang="0">
                  <a:pos x="28" y="39"/>
                </a:cxn>
                <a:cxn ang="0">
                  <a:pos x="34" y="69"/>
                </a:cxn>
                <a:cxn ang="0">
                  <a:pos x="34" y="104"/>
                </a:cxn>
                <a:cxn ang="0">
                  <a:pos x="22" y="120"/>
                </a:cxn>
                <a:cxn ang="0">
                  <a:pos x="5" y="125"/>
                </a:cxn>
              </a:cxnLst>
              <a:rect l="0" t="0" r="r" b="b"/>
              <a:pathLst>
                <a:path w="354" h="633">
                  <a:moveTo>
                    <a:pt x="12" y="127"/>
                  </a:moveTo>
                  <a:lnTo>
                    <a:pt x="13" y="133"/>
                  </a:lnTo>
                  <a:lnTo>
                    <a:pt x="14" y="141"/>
                  </a:lnTo>
                  <a:lnTo>
                    <a:pt x="16" y="148"/>
                  </a:lnTo>
                  <a:lnTo>
                    <a:pt x="18" y="153"/>
                  </a:lnTo>
                  <a:lnTo>
                    <a:pt x="25" y="164"/>
                  </a:lnTo>
                  <a:lnTo>
                    <a:pt x="33" y="173"/>
                  </a:lnTo>
                  <a:lnTo>
                    <a:pt x="42" y="181"/>
                  </a:lnTo>
                  <a:lnTo>
                    <a:pt x="53" y="188"/>
                  </a:lnTo>
                  <a:lnTo>
                    <a:pt x="63" y="195"/>
                  </a:lnTo>
                  <a:lnTo>
                    <a:pt x="74" y="201"/>
                  </a:lnTo>
                  <a:lnTo>
                    <a:pt x="85" y="207"/>
                  </a:lnTo>
                  <a:lnTo>
                    <a:pt x="95" y="213"/>
                  </a:lnTo>
                  <a:lnTo>
                    <a:pt x="105" y="220"/>
                  </a:lnTo>
                  <a:lnTo>
                    <a:pt x="114" y="227"/>
                  </a:lnTo>
                  <a:lnTo>
                    <a:pt x="121" y="236"/>
                  </a:lnTo>
                  <a:lnTo>
                    <a:pt x="127" y="245"/>
                  </a:lnTo>
                  <a:lnTo>
                    <a:pt x="129" y="251"/>
                  </a:lnTo>
                  <a:lnTo>
                    <a:pt x="130" y="257"/>
                  </a:lnTo>
                  <a:lnTo>
                    <a:pt x="131" y="264"/>
                  </a:lnTo>
                  <a:lnTo>
                    <a:pt x="131" y="271"/>
                  </a:lnTo>
                  <a:lnTo>
                    <a:pt x="131" y="279"/>
                  </a:lnTo>
                  <a:lnTo>
                    <a:pt x="130" y="285"/>
                  </a:lnTo>
                  <a:lnTo>
                    <a:pt x="129" y="292"/>
                  </a:lnTo>
                  <a:lnTo>
                    <a:pt x="126" y="299"/>
                  </a:lnTo>
                  <a:lnTo>
                    <a:pt x="121" y="309"/>
                  </a:lnTo>
                  <a:lnTo>
                    <a:pt x="111" y="320"/>
                  </a:lnTo>
                  <a:lnTo>
                    <a:pt x="102" y="329"/>
                  </a:lnTo>
                  <a:lnTo>
                    <a:pt x="91" y="337"/>
                  </a:lnTo>
                  <a:lnTo>
                    <a:pt x="81" y="345"/>
                  </a:lnTo>
                  <a:lnTo>
                    <a:pt x="69" y="352"/>
                  </a:lnTo>
                  <a:lnTo>
                    <a:pt x="57" y="360"/>
                  </a:lnTo>
                  <a:lnTo>
                    <a:pt x="45" y="366"/>
                  </a:lnTo>
                  <a:lnTo>
                    <a:pt x="34" y="376"/>
                  </a:lnTo>
                  <a:lnTo>
                    <a:pt x="25" y="384"/>
                  </a:lnTo>
                  <a:lnTo>
                    <a:pt x="17" y="394"/>
                  </a:lnTo>
                  <a:lnTo>
                    <a:pt x="10" y="405"/>
                  </a:lnTo>
                  <a:lnTo>
                    <a:pt x="9" y="412"/>
                  </a:lnTo>
                  <a:lnTo>
                    <a:pt x="6" y="418"/>
                  </a:lnTo>
                  <a:lnTo>
                    <a:pt x="6" y="425"/>
                  </a:lnTo>
                  <a:lnTo>
                    <a:pt x="5" y="433"/>
                  </a:lnTo>
                  <a:lnTo>
                    <a:pt x="5" y="464"/>
                  </a:lnTo>
                  <a:lnTo>
                    <a:pt x="5" y="492"/>
                  </a:lnTo>
                  <a:lnTo>
                    <a:pt x="5" y="521"/>
                  </a:lnTo>
                  <a:lnTo>
                    <a:pt x="5" y="554"/>
                  </a:lnTo>
                  <a:lnTo>
                    <a:pt x="6" y="562"/>
                  </a:lnTo>
                  <a:lnTo>
                    <a:pt x="8" y="569"/>
                  </a:lnTo>
                  <a:lnTo>
                    <a:pt x="9" y="577"/>
                  </a:lnTo>
                  <a:lnTo>
                    <a:pt x="12" y="582"/>
                  </a:lnTo>
                  <a:lnTo>
                    <a:pt x="14" y="589"/>
                  </a:lnTo>
                  <a:lnTo>
                    <a:pt x="18" y="594"/>
                  </a:lnTo>
                  <a:lnTo>
                    <a:pt x="22" y="600"/>
                  </a:lnTo>
                  <a:lnTo>
                    <a:pt x="28" y="604"/>
                  </a:lnTo>
                  <a:lnTo>
                    <a:pt x="40" y="612"/>
                  </a:lnTo>
                  <a:lnTo>
                    <a:pt x="52" y="618"/>
                  </a:lnTo>
                  <a:lnTo>
                    <a:pt x="67" y="624"/>
                  </a:lnTo>
                  <a:lnTo>
                    <a:pt x="83" y="626"/>
                  </a:lnTo>
                  <a:lnTo>
                    <a:pt x="99" y="629"/>
                  </a:lnTo>
                  <a:lnTo>
                    <a:pt x="118" y="632"/>
                  </a:lnTo>
                  <a:lnTo>
                    <a:pt x="137" y="632"/>
                  </a:lnTo>
                  <a:lnTo>
                    <a:pt x="155" y="633"/>
                  </a:lnTo>
                  <a:lnTo>
                    <a:pt x="193" y="633"/>
                  </a:lnTo>
                  <a:lnTo>
                    <a:pt x="229" y="632"/>
                  </a:lnTo>
                  <a:lnTo>
                    <a:pt x="261" y="633"/>
                  </a:lnTo>
                  <a:lnTo>
                    <a:pt x="289" y="632"/>
                  </a:lnTo>
                  <a:lnTo>
                    <a:pt x="301" y="629"/>
                  </a:lnTo>
                  <a:lnTo>
                    <a:pt x="310" y="625"/>
                  </a:lnTo>
                  <a:lnTo>
                    <a:pt x="314" y="621"/>
                  </a:lnTo>
                  <a:lnTo>
                    <a:pt x="317" y="617"/>
                  </a:lnTo>
                  <a:lnTo>
                    <a:pt x="318" y="613"/>
                  </a:lnTo>
                  <a:lnTo>
                    <a:pt x="318" y="608"/>
                  </a:lnTo>
                  <a:lnTo>
                    <a:pt x="318" y="601"/>
                  </a:lnTo>
                  <a:lnTo>
                    <a:pt x="315" y="596"/>
                  </a:lnTo>
                  <a:lnTo>
                    <a:pt x="313" y="590"/>
                  </a:lnTo>
                  <a:lnTo>
                    <a:pt x="309" y="585"/>
                  </a:lnTo>
                  <a:lnTo>
                    <a:pt x="298" y="576"/>
                  </a:lnTo>
                  <a:lnTo>
                    <a:pt x="286" y="566"/>
                  </a:lnTo>
                  <a:lnTo>
                    <a:pt x="273" y="556"/>
                  </a:lnTo>
                  <a:lnTo>
                    <a:pt x="262" y="545"/>
                  </a:lnTo>
                  <a:lnTo>
                    <a:pt x="258" y="537"/>
                  </a:lnTo>
                  <a:lnTo>
                    <a:pt x="255" y="530"/>
                  </a:lnTo>
                  <a:lnTo>
                    <a:pt x="253" y="521"/>
                  </a:lnTo>
                  <a:lnTo>
                    <a:pt x="253" y="512"/>
                  </a:lnTo>
                  <a:lnTo>
                    <a:pt x="253" y="496"/>
                  </a:lnTo>
                  <a:lnTo>
                    <a:pt x="255" y="482"/>
                  </a:lnTo>
                  <a:lnTo>
                    <a:pt x="259" y="469"/>
                  </a:lnTo>
                  <a:lnTo>
                    <a:pt x="266" y="456"/>
                  </a:lnTo>
                  <a:lnTo>
                    <a:pt x="279" y="430"/>
                  </a:lnTo>
                  <a:lnTo>
                    <a:pt x="294" y="406"/>
                  </a:lnTo>
                  <a:lnTo>
                    <a:pt x="302" y="394"/>
                  </a:lnTo>
                  <a:lnTo>
                    <a:pt x="310" y="382"/>
                  </a:lnTo>
                  <a:lnTo>
                    <a:pt x="317" y="369"/>
                  </a:lnTo>
                  <a:lnTo>
                    <a:pt x="323" y="355"/>
                  </a:lnTo>
                  <a:lnTo>
                    <a:pt x="329" y="340"/>
                  </a:lnTo>
                  <a:lnTo>
                    <a:pt x="333" y="324"/>
                  </a:lnTo>
                  <a:lnTo>
                    <a:pt x="335" y="308"/>
                  </a:lnTo>
                  <a:lnTo>
                    <a:pt x="337" y="289"/>
                  </a:lnTo>
                  <a:lnTo>
                    <a:pt x="337" y="272"/>
                  </a:lnTo>
                  <a:lnTo>
                    <a:pt x="338" y="256"/>
                  </a:lnTo>
                  <a:lnTo>
                    <a:pt x="341" y="240"/>
                  </a:lnTo>
                  <a:lnTo>
                    <a:pt x="343" y="225"/>
                  </a:lnTo>
                  <a:lnTo>
                    <a:pt x="349" y="196"/>
                  </a:lnTo>
                  <a:lnTo>
                    <a:pt x="354" y="163"/>
                  </a:lnTo>
                  <a:lnTo>
                    <a:pt x="343" y="161"/>
                  </a:lnTo>
                  <a:lnTo>
                    <a:pt x="334" y="160"/>
                  </a:lnTo>
                  <a:lnTo>
                    <a:pt x="326" y="156"/>
                  </a:lnTo>
                  <a:lnTo>
                    <a:pt x="319" y="152"/>
                  </a:lnTo>
                  <a:lnTo>
                    <a:pt x="307" y="141"/>
                  </a:lnTo>
                  <a:lnTo>
                    <a:pt x="297" y="129"/>
                  </a:lnTo>
                  <a:lnTo>
                    <a:pt x="287" y="117"/>
                  </a:lnTo>
                  <a:lnTo>
                    <a:pt x="278" y="107"/>
                  </a:lnTo>
                  <a:lnTo>
                    <a:pt x="273" y="103"/>
                  </a:lnTo>
                  <a:lnTo>
                    <a:pt x="266" y="99"/>
                  </a:lnTo>
                  <a:lnTo>
                    <a:pt x="259" y="97"/>
                  </a:lnTo>
                  <a:lnTo>
                    <a:pt x="253" y="96"/>
                  </a:lnTo>
                  <a:lnTo>
                    <a:pt x="245" y="96"/>
                  </a:lnTo>
                  <a:lnTo>
                    <a:pt x="242" y="96"/>
                  </a:lnTo>
                  <a:lnTo>
                    <a:pt x="239" y="96"/>
                  </a:lnTo>
                  <a:lnTo>
                    <a:pt x="229" y="96"/>
                  </a:lnTo>
                  <a:lnTo>
                    <a:pt x="225" y="95"/>
                  </a:lnTo>
                  <a:lnTo>
                    <a:pt x="221" y="91"/>
                  </a:lnTo>
                  <a:lnTo>
                    <a:pt x="219" y="87"/>
                  </a:lnTo>
                  <a:lnTo>
                    <a:pt x="218" y="80"/>
                  </a:lnTo>
                  <a:lnTo>
                    <a:pt x="217" y="65"/>
                  </a:lnTo>
                  <a:lnTo>
                    <a:pt x="217" y="55"/>
                  </a:lnTo>
                  <a:lnTo>
                    <a:pt x="215" y="41"/>
                  </a:lnTo>
                  <a:lnTo>
                    <a:pt x="213" y="31"/>
                  </a:lnTo>
                  <a:lnTo>
                    <a:pt x="209" y="23"/>
                  </a:lnTo>
                  <a:lnTo>
                    <a:pt x="205" y="16"/>
                  </a:lnTo>
                  <a:lnTo>
                    <a:pt x="198" y="11"/>
                  </a:lnTo>
                  <a:lnTo>
                    <a:pt x="190" y="7"/>
                  </a:lnTo>
                  <a:lnTo>
                    <a:pt x="182" y="4"/>
                  </a:lnTo>
                  <a:lnTo>
                    <a:pt x="174" y="3"/>
                  </a:lnTo>
                  <a:lnTo>
                    <a:pt x="135" y="3"/>
                  </a:lnTo>
                  <a:lnTo>
                    <a:pt x="95" y="5"/>
                  </a:lnTo>
                  <a:lnTo>
                    <a:pt x="86" y="5"/>
                  </a:lnTo>
                  <a:lnTo>
                    <a:pt x="81" y="5"/>
                  </a:lnTo>
                  <a:lnTo>
                    <a:pt x="75" y="5"/>
                  </a:lnTo>
                  <a:lnTo>
                    <a:pt x="66" y="5"/>
                  </a:lnTo>
                  <a:lnTo>
                    <a:pt x="54" y="4"/>
                  </a:lnTo>
                  <a:lnTo>
                    <a:pt x="40" y="1"/>
                  </a:lnTo>
                  <a:lnTo>
                    <a:pt x="34" y="0"/>
                  </a:lnTo>
                  <a:lnTo>
                    <a:pt x="29" y="1"/>
                  </a:lnTo>
                  <a:lnTo>
                    <a:pt x="26" y="1"/>
                  </a:lnTo>
                  <a:lnTo>
                    <a:pt x="25" y="3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19"/>
                  </a:lnTo>
                  <a:lnTo>
                    <a:pt x="25" y="29"/>
                  </a:lnTo>
                  <a:lnTo>
                    <a:pt x="28" y="39"/>
                  </a:lnTo>
                  <a:lnTo>
                    <a:pt x="29" y="49"/>
                  </a:lnTo>
                  <a:lnTo>
                    <a:pt x="32" y="59"/>
                  </a:lnTo>
                  <a:lnTo>
                    <a:pt x="34" y="69"/>
                  </a:lnTo>
                  <a:lnTo>
                    <a:pt x="36" y="81"/>
                  </a:lnTo>
                  <a:lnTo>
                    <a:pt x="36" y="96"/>
                  </a:lnTo>
                  <a:lnTo>
                    <a:pt x="34" y="104"/>
                  </a:lnTo>
                  <a:lnTo>
                    <a:pt x="32" y="111"/>
                  </a:lnTo>
                  <a:lnTo>
                    <a:pt x="28" y="116"/>
                  </a:lnTo>
                  <a:lnTo>
                    <a:pt x="22" y="120"/>
                  </a:lnTo>
                  <a:lnTo>
                    <a:pt x="16" y="123"/>
                  </a:lnTo>
                  <a:lnTo>
                    <a:pt x="10" y="125"/>
                  </a:lnTo>
                  <a:lnTo>
                    <a:pt x="5" y="125"/>
                  </a:lnTo>
                  <a:lnTo>
                    <a:pt x="0" y="127"/>
                  </a:lnTo>
                  <a:lnTo>
                    <a:pt x="12" y="12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5" name="Freeform 116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6838950" y="925513"/>
              <a:ext cx="990600" cy="1130300"/>
            </a:xfrm>
            <a:custGeom>
              <a:avLst/>
              <a:gdLst/>
              <a:ahLst/>
              <a:cxnLst>
                <a:cxn ang="0">
                  <a:pos x="1105" y="2677"/>
                </a:cxn>
                <a:cxn ang="0">
                  <a:pos x="1170" y="2613"/>
                </a:cxn>
                <a:cxn ang="0">
                  <a:pos x="1342" y="2422"/>
                </a:cxn>
                <a:cxn ang="0">
                  <a:pos x="1545" y="2317"/>
                </a:cxn>
                <a:cxn ang="0">
                  <a:pos x="1633" y="2277"/>
                </a:cxn>
                <a:cxn ang="0">
                  <a:pos x="1702" y="2441"/>
                </a:cxn>
                <a:cxn ang="0">
                  <a:pos x="1841" y="2380"/>
                </a:cxn>
                <a:cxn ang="0">
                  <a:pos x="2019" y="2314"/>
                </a:cxn>
                <a:cxn ang="0">
                  <a:pos x="2071" y="2065"/>
                </a:cxn>
                <a:cxn ang="0">
                  <a:pos x="2142" y="1963"/>
                </a:cxn>
                <a:cxn ang="0">
                  <a:pos x="2207" y="1777"/>
                </a:cxn>
                <a:cxn ang="0">
                  <a:pos x="2250" y="1507"/>
                </a:cxn>
                <a:cxn ang="0">
                  <a:pos x="2303" y="1360"/>
                </a:cxn>
                <a:cxn ang="0">
                  <a:pos x="2109" y="1300"/>
                </a:cxn>
                <a:cxn ang="0">
                  <a:pos x="1826" y="1326"/>
                </a:cxn>
                <a:cxn ang="0">
                  <a:pos x="1708" y="1471"/>
                </a:cxn>
                <a:cxn ang="0">
                  <a:pos x="1600" y="1443"/>
                </a:cxn>
                <a:cxn ang="0">
                  <a:pos x="1748" y="1299"/>
                </a:cxn>
                <a:cxn ang="0">
                  <a:pos x="1702" y="1052"/>
                </a:cxn>
                <a:cxn ang="0">
                  <a:pos x="1478" y="978"/>
                </a:cxn>
                <a:cxn ang="0">
                  <a:pos x="1478" y="882"/>
                </a:cxn>
                <a:cxn ang="0">
                  <a:pos x="1668" y="836"/>
                </a:cxn>
                <a:cxn ang="0">
                  <a:pos x="1685" y="655"/>
                </a:cxn>
                <a:cxn ang="0">
                  <a:pos x="1844" y="654"/>
                </a:cxn>
                <a:cxn ang="0">
                  <a:pos x="1926" y="534"/>
                </a:cxn>
                <a:cxn ang="0">
                  <a:pos x="2051" y="449"/>
                </a:cxn>
                <a:cxn ang="0">
                  <a:pos x="2029" y="339"/>
                </a:cxn>
                <a:cxn ang="0">
                  <a:pos x="1893" y="295"/>
                </a:cxn>
                <a:cxn ang="0">
                  <a:pos x="1758" y="289"/>
                </a:cxn>
                <a:cxn ang="0">
                  <a:pos x="1782" y="173"/>
                </a:cxn>
                <a:cxn ang="0">
                  <a:pos x="1674" y="0"/>
                </a:cxn>
                <a:cxn ang="0">
                  <a:pos x="1408" y="200"/>
                </a:cxn>
                <a:cxn ang="0">
                  <a:pos x="1433" y="346"/>
                </a:cxn>
                <a:cxn ang="0">
                  <a:pos x="1538" y="450"/>
                </a:cxn>
                <a:cxn ang="0">
                  <a:pos x="1416" y="463"/>
                </a:cxn>
                <a:cxn ang="0">
                  <a:pos x="1127" y="511"/>
                </a:cxn>
                <a:cxn ang="0">
                  <a:pos x="589" y="914"/>
                </a:cxn>
                <a:cxn ang="0">
                  <a:pos x="343" y="1324"/>
                </a:cxn>
                <a:cxn ang="0">
                  <a:pos x="242" y="1523"/>
                </a:cxn>
                <a:cxn ang="0">
                  <a:pos x="435" y="1568"/>
                </a:cxn>
                <a:cxn ang="0">
                  <a:pos x="515" y="1641"/>
                </a:cxn>
                <a:cxn ang="0">
                  <a:pos x="455" y="1732"/>
                </a:cxn>
                <a:cxn ang="0">
                  <a:pos x="291" y="1768"/>
                </a:cxn>
                <a:cxn ang="0">
                  <a:pos x="195" y="1769"/>
                </a:cxn>
                <a:cxn ang="0">
                  <a:pos x="151" y="1992"/>
                </a:cxn>
                <a:cxn ang="0">
                  <a:pos x="0" y="2185"/>
                </a:cxn>
                <a:cxn ang="0">
                  <a:pos x="83" y="2237"/>
                </a:cxn>
                <a:cxn ang="0">
                  <a:pos x="262" y="2364"/>
                </a:cxn>
                <a:cxn ang="0">
                  <a:pos x="223" y="2474"/>
                </a:cxn>
                <a:cxn ang="0">
                  <a:pos x="182" y="2611"/>
                </a:cxn>
                <a:cxn ang="0">
                  <a:pos x="131" y="2762"/>
                </a:cxn>
                <a:cxn ang="0">
                  <a:pos x="200" y="2829"/>
                </a:cxn>
                <a:cxn ang="0">
                  <a:pos x="311" y="2887"/>
                </a:cxn>
                <a:cxn ang="0">
                  <a:pos x="441" y="2914"/>
                </a:cxn>
                <a:cxn ang="0">
                  <a:pos x="548" y="2950"/>
                </a:cxn>
                <a:cxn ang="0">
                  <a:pos x="705" y="3010"/>
                </a:cxn>
                <a:cxn ang="0">
                  <a:pos x="837" y="2969"/>
                </a:cxn>
                <a:cxn ang="0">
                  <a:pos x="977" y="2890"/>
                </a:cxn>
                <a:cxn ang="0">
                  <a:pos x="1084" y="2799"/>
                </a:cxn>
              </a:cxnLst>
              <a:rect l="0" t="0" r="r" b="b"/>
              <a:pathLst>
                <a:path w="2313" h="3022">
                  <a:moveTo>
                    <a:pt x="1091" y="2799"/>
                  </a:moveTo>
                  <a:lnTo>
                    <a:pt x="1087" y="2786"/>
                  </a:lnTo>
                  <a:lnTo>
                    <a:pt x="1085" y="2773"/>
                  </a:lnTo>
                  <a:lnTo>
                    <a:pt x="1084" y="2759"/>
                  </a:lnTo>
                  <a:lnTo>
                    <a:pt x="1084" y="2746"/>
                  </a:lnTo>
                  <a:lnTo>
                    <a:pt x="1085" y="2730"/>
                  </a:lnTo>
                  <a:lnTo>
                    <a:pt x="1085" y="2717"/>
                  </a:lnTo>
                  <a:lnTo>
                    <a:pt x="1088" y="2706"/>
                  </a:lnTo>
                  <a:lnTo>
                    <a:pt x="1089" y="2698"/>
                  </a:lnTo>
                  <a:lnTo>
                    <a:pt x="1093" y="2690"/>
                  </a:lnTo>
                  <a:lnTo>
                    <a:pt x="1096" y="2685"/>
                  </a:lnTo>
                  <a:lnTo>
                    <a:pt x="1101" y="2681"/>
                  </a:lnTo>
                  <a:lnTo>
                    <a:pt x="1105" y="2677"/>
                  </a:lnTo>
                  <a:lnTo>
                    <a:pt x="1117" y="2671"/>
                  </a:lnTo>
                  <a:lnTo>
                    <a:pt x="1131" y="2667"/>
                  </a:lnTo>
                  <a:lnTo>
                    <a:pt x="1137" y="2663"/>
                  </a:lnTo>
                  <a:lnTo>
                    <a:pt x="1145" y="2659"/>
                  </a:lnTo>
                  <a:lnTo>
                    <a:pt x="1153" y="2655"/>
                  </a:lnTo>
                  <a:lnTo>
                    <a:pt x="1162" y="2649"/>
                  </a:lnTo>
                  <a:lnTo>
                    <a:pt x="1165" y="2647"/>
                  </a:lnTo>
                  <a:lnTo>
                    <a:pt x="1168" y="2643"/>
                  </a:lnTo>
                  <a:lnTo>
                    <a:pt x="1169" y="2641"/>
                  </a:lnTo>
                  <a:lnTo>
                    <a:pt x="1170" y="2637"/>
                  </a:lnTo>
                  <a:lnTo>
                    <a:pt x="1172" y="2630"/>
                  </a:lnTo>
                  <a:lnTo>
                    <a:pt x="1170" y="2621"/>
                  </a:lnTo>
                  <a:lnTo>
                    <a:pt x="1170" y="2613"/>
                  </a:lnTo>
                  <a:lnTo>
                    <a:pt x="1170" y="2605"/>
                  </a:lnTo>
                  <a:lnTo>
                    <a:pt x="1172" y="2597"/>
                  </a:lnTo>
                  <a:lnTo>
                    <a:pt x="1174" y="2589"/>
                  </a:lnTo>
                  <a:lnTo>
                    <a:pt x="1209" y="2561"/>
                  </a:lnTo>
                  <a:lnTo>
                    <a:pt x="1241" y="2537"/>
                  </a:lnTo>
                  <a:lnTo>
                    <a:pt x="1256" y="2525"/>
                  </a:lnTo>
                  <a:lnTo>
                    <a:pt x="1270" y="2512"/>
                  </a:lnTo>
                  <a:lnTo>
                    <a:pt x="1284" y="2497"/>
                  </a:lnTo>
                  <a:lnTo>
                    <a:pt x="1294" y="2481"/>
                  </a:lnTo>
                  <a:lnTo>
                    <a:pt x="1306" y="2465"/>
                  </a:lnTo>
                  <a:lnTo>
                    <a:pt x="1318" y="2449"/>
                  </a:lnTo>
                  <a:lnTo>
                    <a:pt x="1330" y="2436"/>
                  </a:lnTo>
                  <a:lnTo>
                    <a:pt x="1342" y="2422"/>
                  </a:lnTo>
                  <a:lnTo>
                    <a:pt x="1354" y="2410"/>
                  </a:lnTo>
                  <a:lnTo>
                    <a:pt x="1368" y="2400"/>
                  </a:lnTo>
                  <a:lnTo>
                    <a:pt x="1381" y="2389"/>
                  </a:lnTo>
                  <a:lnTo>
                    <a:pt x="1394" y="2380"/>
                  </a:lnTo>
                  <a:lnTo>
                    <a:pt x="1409" y="2372"/>
                  </a:lnTo>
                  <a:lnTo>
                    <a:pt x="1424" y="2364"/>
                  </a:lnTo>
                  <a:lnTo>
                    <a:pt x="1440" y="2356"/>
                  </a:lnTo>
                  <a:lnTo>
                    <a:pt x="1456" y="2349"/>
                  </a:lnTo>
                  <a:lnTo>
                    <a:pt x="1492" y="2336"/>
                  </a:lnTo>
                  <a:lnTo>
                    <a:pt x="1530" y="2324"/>
                  </a:lnTo>
                  <a:lnTo>
                    <a:pt x="1536" y="2322"/>
                  </a:lnTo>
                  <a:lnTo>
                    <a:pt x="1541" y="2320"/>
                  </a:lnTo>
                  <a:lnTo>
                    <a:pt x="1545" y="2317"/>
                  </a:lnTo>
                  <a:lnTo>
                    <a:pt x="1550" y="2313"/>
                  </a:lnTo>
                  <a:lnTo>
                    <a:pt x="1558" y="2305"/>
                  </a:lnTo>
                  <a:lnTo>
                    <a:pt x="1568" y="2294"/>
                  </a:lnTo>
                  <a:lnTo>
                    <a:pt x="1577" y="2285"/>
                  </a:lnTo>
                  <a:lnTo>
                    <a:pt x="1588" y="2277"/>
                  </a:lnTo>
                  <a:lnTo>
                    <a:pt x="1593" y="2274"/>
                  </a:lnTo>
                  <a:lnTo>
                    <a:pt x="1600" y="2272"/>
                  </a:lnTo>
                  <a:lnTo>
                    <a:pt x="1606" y="2270"/>
                  </a:lnTo>
                  <a:lnTo>
                    <a:pt x="1614" y="2270"/>
                  </a:lnTo>
                  <a:lnTo>
                    <a:pt x="1620" y="2270"/>
                  </a:lnTo>
                  <a:lnTo>
                    <a:pt x="1625" y="2272"/>
                  </a:lnTo>
                  <a:lnTo>
                    <a:pt x="1629" y="2274"/>
                  </a:lnTo>
                  <a:lnTo>
                    <a:pt x="1633" y="2277"/>
                  </a:lnTo>
                  <a:lnTo>
                    <a:pt x="1640" y="2286"/>
                  </a:lnTo>
                  <a:lnTo>
                    <a:pt x="1645" y="2297"/>
                  </a:lnTo>
                  <a:lnTo>
                    <a:pt x="1653" y="2325"/>
                  </a:lnTo>
                  <a:lnTo>
                    <a:pt x="1660" y="2357"/>
                  </a:lnTo>
                  <a:lnTo>
                    <a:pt x="1664" y="2373"/>
                  </a:lnTo>
                  <a:lnTo>
                    <a:pt x="1668" y="2389"/>
                  </a:lnTo>
                  <a:lnTo>
                    <a:pt x="1672" y="2404"/>
                  </a:lnTo>
                  <a:lnTo>
                    <a:pt x="1678" y="2417"/>
                  </a:lnTo>
                  <a:lnTo>
                    <a:pt x="1682" y="2424"/>
                  </a:lnTo>
                  <a:lnTo>
                    <a:pt x="1686" y="2429"/>
                  </a:lnTo>
                  <a:lnTo>
                    <a:pt x="1692" y="2433"/>
                  </a:lnTo>
                  <a:lnTo>
                    <a:pt x="1696" y="2437"/>
                  </a:lnTo>
                  <a:lnTo>
                    <a:pt x="1702" y="2441"/>
                  </a:lnTo>
                  <a:lnTo>
                    <a:pt x="1708" y="2442"/>
                  </a:lnTo>
                  <a:lnTo>
                    <a:pt x="1716" y="2444"/>
                  </a:lnTo>
                  <a:lnTo>
                    <a:pt x="1722" y="2445"/>
                  </a:lnTo>
                  <a:lnTo>
                    <a:pt x="1729" y="2444"/>
                  </a:lnTo>
                  <a:lnTo>
                    <a:pt x="1734" y="2442"/>
                  </a:lnTo>
                  <a:lnTo>
                    <a:pt x="1741" y="2441"/>
                  </a:lnTo>
                  <a:lnTo>
                    <a:pt x="1746" y="2438"/>
                  </a:lnTo>
                  <a:lnTo>
                    <a:pt x="1760" y="2430"/>
                  </a:lnTo>
                  <a:lnTo>
                    <a:pt x="1773" y="2422"/>
                  </a:lnTo>
                  <a:lnTo>
                    <a:pt x="1796" y="2404"/>
                  </a:lnTo>
                  <a:lnTo>
                    <a:pt x="1813" y="2390"/>
                  </a:lnTo>
                  <a:lnTo>
                    <a:pt x="1826" y="2385"/>
                  </a:lnTo>
                  <a:lnTo>
                    <a:pt x="1841" y="2380"/>
                  </a:lnTo>
                  <a:lnTo>
                    <a:pt x="1857" y="2377"/>
                  </a:lnTo>
                  <a:lnTo>
                    <a:pt x="1874" y="2374"/>
                  </a:lnTo>
                  <a:lnTo>
                    <a:pt x="1909" y="2370"/>
                  </a:lnTo>
                  <a:lnTo>
                    <a:pt x="1943" y="2366"/>
                  </a:lnTo>
                  <a:lnTo>
                    <a:pt x="1959" y="2364"/>
                  </a:lnTo>
                  <a:lnTo>
                    <a:pt x="1974" y="2358"/>
                  </a:lnTo>
                  <a:lnTo>
                    <a:pt x="1987" y="2353"/>
                  </a:lnTo>
                  <a:lnTo>
                    <a:pt x="1999" y="2345"/>
                  </a:lnTo>
                  <a:lnTo>
                    <a:pt x="2005" y="2340"/>
                  </a:lnTo>
                  <a:lnTo>
                    <a:pt x="2010" y="2334"/>
                  </a:lnTo>
                  <a:lnTo>
                    <a:pt x="2014" y="2329"/>
                  </a:lnTo>
                  <a:lnTo>
                    <a:pt x="2017" y="2322"/>
                  </a:lnTo>
                  <a:lnTo>
                    <a:pt x="2019" y="2314"/>
                  </a:lnTo>
                  <a:lnTo>
                    <a:pt x="2022" y="2306"/>
                  </a:lnTo>
                  <a:lnTo>
                    <a:pt x="2023" y="2298"/>
                  </a:lnTo>
                  <a:lnTo>
                    <a:pt x="2023" y="2288"/>
                  </a:lnTo>
                  <a:lnTo>
                    <a:pt x="2023" y="2269"/>
                  </a:lnTo>
                  <a:lnTo>
                    <a:pt x="2023" y="2253"/>
                  </a:lnTo>
                  <a:lnTo>
                    <a:pt x="2023" y="2241"/>
                  </a:lnTo>
                  <a:lnTo>
                    <a:pt x="2023" y="2228"/>
                  </a:lnTo>
                  <a:lnTo>
                    <a:pt x="2025" y="2204"/>
                  </a:lnTo>
                  <a:lnTo>
                    <a:pt x="2029" y="2182"/>
                  </a:lnTo>
                  <a:lnTo>
                    <a:pt x="2034" y="2161"/>
                  </a:lnTo>
                  <a:lnTo>
                    <a:pt x="2041" y="2142"/>
                  </a:lnTo>
                  <a:lnTo>
                    <a:pt x="2057" y="2104"/>
                  </a:lnTo>
                  <a:lnTo>
                    <a:pt x="2071" y="2065"/>
                  </a:lnTo>
                  <a:lnTo>
                    <a:pt x="2077" y="2030"/>
                  </a:lnTo>
                  <a:lnTo>
                    <a:pt x="2081" y="1997"/>
                  </a:lnTo>
                  <a:lnTo>
                    <a:pt x="2082" y="1982"/>
                  </a:lnTo>
                  <a:lnTo>
                    <a:pt x="2086" y="1967"/>
                  </a:lnTo>
                  <a:lnTo>
                    <a:pt x="2089" y="1960"/>
                  </a:lnTo>
                  <a:lnTo>
                    <a:pt x="2093" y="1953"/>
                  </a:lnTo>
                  <a:lnTo>
                    <a:pt x="2097" y="1945"/>
                  </a:lnTo>
                  <a:lnTo>
                    <a:pt x="2102" y="1939"/>
                  </a:lnTo>
                  <a:lnTo>
                    <a:pt x="2114" y="1948"/>
                  </a:lnTo>
                  <a:lnTo>
                    <a:pt x="2123" y="1956"/>
                  </a:lnTo>
                  <a:lnTo>
                    <a:pt x="2129" y="1959"/>
                  </a:lnTo>
                  <a:lnTo>
                    <a:pt x="2135" y="1961"/>
                  </a:lnTo>
                  <a:lnTo>
                    <a:pt x="2142" y="1963"/>
                  </a:lnTo>
                  <a:lnTo>
                    <a:pt x="2150" y="1963"/>
                  </a:lnTo>
                  <a:lnTo>
                    <a:pt x="2162" y="1961"/>
                  </a:lnTo>
                  <a:lnTo>
                    <a:pt x="2174" y="1959"/>
                  </a:lnTo>
                  <a:lnTo>
                    <a:pt x="2183" y="1953"/>
                  </a:lnTo>
                  <a:lnTo>
                    <a:pt x="2193" y="1948"/>
                  </a:lnTo>
                  <a:lnTo>
                    <a:pt x="2203" y="1943"/>
                  </a:lnTo>
                  <a:lnTo>
                    <a:pt x="2214" y="1937"/>
                  </a:lnTo>
                  <a:lnTo>
                    <a:pt x="2226" y="1935"/>
                  </a:lnTo>
                  <a:lnTo>
                    <a:pt x="2241" y="1933"/>
                  </a:lnTo>
                  <a:lnTo>
                    <a:pt x="2231" y="1896"/>
                  </a:lnTo>
                  <a:lnTo>
                    <a:pt x="2223" y="1857"/>
                  </a:lnTo>
                  <a:lnTo>
                    <a:pt x="2215" y="1817"/>
                  </a:lnTo>
                  <a:lnTo>
                    <a:pt x="2207" y="1777"/>
                  </a:lnTo>
                  <a:lnTo>
                    <a:pt x="2199" y="1736"/>
                  </a:lnTo>
                  <a:lnTo>
                    <a:pt x="2191" y="1693"/>
                  </a:lnTo>
                  <a:lnTo>
                    <a:pt x="2183" y="1651"/>
                  </a:lnTo>
                  <a:lnTo>
                    <a:pt x="2174" y="1608"/>
                  </a:lnTo>
                  <a:lnTo>
                    <a:pt x="2173" y="1603"/>
                  </a:lnTo>
                  <a:lnTo>
                    <a:pt x="2173" y="1597"/>
                  </a:lnTo>
                  <a:lnTo>
                    <a:pt x="2174" y="1592"/>
                  </a:lnTo>
                  <a:lnTo>
                    <a:pt x="2175" y="1587"/>
                  </a:lnTo>
                  <a:lnTo>
                    <a:pt x="2181" y="1576"/>
                  </a:lnTo>
                  <a:lnTo>
                    <a:pt x="2189" y="1565"/>
                  </a:lnTo>
                  <a:lnTo>
                    <a:pt x="2210" y="1543"/>
                  </a:lnTo>
                  <a:lnTo>
                    <a:pt x="2237" y="1519"/>
                  </a:lnTo>
                  <a:lnTo>
                    <a:pt x="2250" y="1507"/>
                  </a:lnTo>
                  <a:lnTo>
                    <a:pt x="2265" y="1493"/>
                  </a:lnTo>
                  <a:lnTo>
                    <a:pt x="2277" y="1480"/>
                  </a:lnTo>
                  <a:lnTo>
                    <a:pt x="2289" y="1465"/>
                  </a:lnTo>
                  <a:lnTo>
                    <a:pt x="2298" y="1451"/>
                  </a:lnTo>
                  <a:lnTo>
                    <a:pt x="2306" y="1436"/>
                  </a:lnTo>
                  <a:lnTo>
                    <a:pt x="2309" y="1428"/>
                  </a:lnTo>
                  <a:lnTo>
                    <a:pt x="2311" y="1420"/>
                  </a:lnTo>
                  <a:lnTo>
                    <a:pt x="2313" y="1411"/>
                  </a:lnTo>
                  <a:lnTo>
                    <a:pt x="2313" y="1403"/>
                  </a:lnTo>
                  <a:lnTo>
                    <a:pt x="2313" y="1392"/>
                  </a:lnTo>
                  <a:lnTo>
                    <a:pt x="2310" y="1382"/>
                  </a:lnTo>
                  <a:lnTo>
                    <a:pt x="2307" y="1371"/>
                  </a:lnTo>
                  <a:lnTo>
                    <a:pt x="2303" y="1360"/>
                  </a:lnTo>
                  <a:lnTo>
                    <a:pt x="2298" y="1351"/>
                  </a:lnTo>
                  <a:lnTo>
                    <a:pt x="2291" y="1340"/>
                  </a:lnTo>
                  <a:lnTo>
                    <a:pt x="2283" y="1331"/>
                  </a:lnTo>
                  <a:lnTo>
                    <a:pt x="2274" y="1322"/>
                  </a:lnTo>
                  <a:lnTo>
                    <a:pt x="2263" y="1314"/>
                  </a:lnTo>
                  <a:lnTo>
                    <a:pt x="2250" y="1307"/>
                  </a:lnTo>
                  <a:lnTo>
                    <a:pt x="2237" y="1300"/>
                  </a:lnTo>
                  <a:lnTo>
                    <a:pt x="2221" y="1296"/>
                  </a:lnTo>
                  <a:lnTo>
                    <a:pt x="2205" y="1294"/>
                  </a:lnTo>
                  <a:lnTo>
                    <a:pt x="2186" y="1292"/>
                  </a:lnTo>
                  <a:lnTo>
                    <a:pt x="2166" y="1292"/>
                  </a:lnTo>
                  <a:lnTo>
                    <a:pt x="2145" y="1295"/>
                  </a:lnTo>
                  <a:lnTo>
                    <a:pt x="2109" y="1300"/>
                  </a:lnTo>
                  <a:lnTo>
                    <a:pt x="2074" y="1303"/>
                  </a:lnTo>
                  <a:lnTo>
                    <a:pt x="2042" y="1304"/>
                  </a:lnTo>
                  <a:lnTo>
                    <a:pt x="2010" y="1304"/>
                  </a:lnTo>
                  <a:lnTo>
                    <a:pt x="1981" y="1303"/>
                  </a:lnTo>
                  <a:lnTo>
                    <a:pt x="1951" y="1303"/>
                  </a:lnTo>
                  <a:lnTo>
                    <a:pt x="1925" y="1303"/>
                  </a:lnTo>
                  <a:lnTo>
                    <a:pt x="1898" y="1306"/>
                  </a:lnTo>
                  <a:lnTo>
                    <a:pt x="1885" y="1307"/>
                  </a:lnTo>
                  <a:lnTo>
                    <a:pt x="1873" y="1310"/>
                  </a:lnTo>
                  <a:lnTo>
                    <a:pt x="1861" y="1312"/>
                  </a:lnTo>
                  <a:lnTo>
                    <a:pt x="1849" y="1316"/>
                  </a:lnTo>
                  <a:lnTo>
                    <a:pt x="1837" y="1320"/>
                  </a:lnTo>
                  <a:lnTo>
                    <a:pt x="1826" y="1326"/>
                  </a:lnTo>
                  <a:lnTo>
                    <a:pt x="1816" y="1332"/>
                  </a:lnTo>
                  <a:lnTo>
                    <a:pt x="1805" y="1340"/>
                  </a:lnTo>
                  <a:lnTo>
                    <a:pt x="1794" y="1350"/>
                  </a:lnTo>
                  <a:lnTo>
                    <a:pt x="1784" y="1359"/>
                  </a:lnTo>
                  <a:lnTo>
                    <a:pt x="1774" y="1371"/>
                  </a:lnTo>
                  <a:lnTo>
                    <a:pt x="1765" y="1384"/>
                  </a:lnTo>
                  <a:lnTo>
                    <a:pt x="1756" y="1397"/>
                  </a:lnTo>
                  <a:lnTo>
                    <a:pt x="1746" y="1413"/>
                  </a:lnTo>
                  <a:lnTo>
                    <a:pt x="1737" y="1432"/>
                  </a:lnTo>
                  <a:lnTo>
                    <a:pt x="1729" y="1451"/>
                  </a:lnTo>
                  <a:lnTo>
                    <a:pt x="1722" y="1459"/>
                  </a:lnTo>
                  <a:lnTo>
                    <a:pt x="1714" y="1465"/>
                  </a:lnTo>
                  <a:lnTo>
                    <a:pt x="1708" y="1471"/>
                  </a:lnTo>
                  <a:lnTo>
                    <a:pt x="1701" y="1475"/>
                  </a:lnTo>
                  <a:lnTo>
                    <a:pt x="1693" y="1479"/>
                  </a:lnTo>
                  <a:lnTo>
                    <a:pt x="1686" y="1483"/>
                  </a:lnTo>
                  <a:lnTo>
                    <a:pt x="1680" y="1484"/>
                  </a:lnTo>
                  <a:lnTo>
                    <a:pt x="1672" y="1485"/>
                  </a:lnTo>
                  <a:lnTo>
                    <a:pt x="1658" y="1487"/>
                  </a:lnTo>
                  <a:lnTo>
                    <a:pt x="1645" y="1485"/>
                  </a:lnTo>
                  <a:lnTo>
                    <a:pt x="1633" y="1483"/>
                  </a:lnTo>
                  <a:lnTo>
                    <a:pt x="1622" y="1476"/>
                  </a:lnTo>
                  <a:lnTo>
                    <a:pt x="1613" y="1469"/>
                  </a:lnTo>
                  <a:lnTo>
                    <a:pt x="1606" y="1461"/>
                  </a:lnTo>
                  <a:lnTo>
                    <a:pt x="1601" y="1452"/>
                  </a:lnTo>
                  <a:lnTo>
                    <a:pt x="1600" y="1443"/>
                  </a:lnTo>
                  <a:lnTo>
                    <a:pt x="1598" y="1437"/>
                  </a:lnTo>
                  <a:lnTo>
                    <a:pt x="1600" y="1432"/>
                  </a:lnTo>
                  <a:lnTo>
                    <a:pt x="1601" y="1427"/>
                  </a:lnTo>
                  <a:lnTo>
                    <a:pt x="1602" y="1423"/>
                  </a:lnTo>
                  <a:lnTo>
                    <a:pt x="1606" y="1417"/>
                  </a:lnTo>
                  <a:lnTo>
                    <a:pt x="1610" y="1412"/>
                  </a:lnTo>
                  <a:lnTo>
                    <a:pt x="1614" y="1408"/>
                  </a:lnTo>
                  <a:lnTo>
                    <a:pt x="1620" y="1403"/>
                  </a:lnTo>
                  <a:lnTo>
                    <a:pt x="1673" y="1366"/>
                  </a:lnTo>
                  <a:lnTo>
                    <a:pt x="1721" y="1331"/>
                  </a:lnTo>
                  <a:lnTo>
                    <a:pt x="1732" y="1322"/>
                  </a:lnTo>
                  <a:lnTo>
                    <a:pt x="1741" y="1311"/>
                  </a:lnTo>
                  <a:lnTo>
                    <a:pt x="1748" y="1299"/>
                  </a:lnTo>
                  <a:lnTo>
                    <a:pt x="1754" y="1286"/>
                  </a:lnTo>
                  <a:lnTo>
                    <a:pt x="1758" y="1270"/>
                  </a:lnTo>
                  <a:lnTo>
                    <a:pt x="1761" y="1252"/>
                  </a:lnTo>
                  <a:lnTo>
                    <a:pt x="1761" y="1232"/>
                  </a:lnTo>
                  <a:lnTo>
                    <a:pt x="1758" y="1211"/>
                  </a:lnTo>
                  <a:lnTo>
                    <a:pt x="1754" y="1183"/>
                  </a:lnTo>
                  <a:lnTo>
                    <a:pt x="1750" y="1158"/>
                  </a:lnTo>
                  <a:lnTo>
                    <a:pt x="1744" y="1134"/>
                  </a:lnTo>
                  <a:lnTo>
                    <a:pt x="1737" y="1114"/>
                  </a:lnTo>
                  <a:lnTo>
                    <a:pt x="1729" y="1095"/>
                  </a:lnTo>
                  <a:lnTo>
                    <a:pt x="1721" y="1079"/>
                  </a:lnTo>
                  <a:lnTo>
                    <a:pt x="1712" y="1066"/>
                  </a:lnTo>
                  <a:lnTo>
                    <a:pt x="1702" y="1052"/>
                  </a:lnTo>
                  <a:lnTo>
                    <a:pt x="1692" y="1042"/>
                  </a:lnTo>
                  <a:lnTo>
                    <a:pt x="1681" y="1032"/>
                  </a:lnTo>
                  <a:lnTo>
                    <a:pt x="1669" y="1026"/>
                  </a:lnTo>
                  <a:lnTo>
                    <a:pt x="1658" y="1019"/>
                  </a:lnTo>
                  <a:lnTo>
                    <a:pt x="1646" y="1014"/>
                  </a:lnTo>
                  <a:lnTo>
                    <a:pt x="1633" y="1008"/>
                  </a:lnTo>
                  <a:lnTo>
                    <a:pt x="1621" y="1006"/>
                  </a:lnTo>
                  <a:lnTo>
                    <a:pt x="1608" y="1003"/>
                  </a:lnTo>
                  <a:lnTo>
                    <a:pt x="1557" y="995"/>
                  </a:lnTo>
                  <a:lnTo>
                    <a:pt x="1510" y="988"/>
                  </a:lnTo>
                  <a:lnTo>
                    <a:pt x="1498" y="986"/>
                  </a:lnTo>
                  <a:lnTo>
                    <a:pt x="1488" y="982"/>
                  </a:lnTo>
                  <a:lnTo>
                    <a:pt x="1478" y="978"/>
                  </a:lnTo>
                  <a:lnTo>
                    <a:pt x="1469" y="972"/>
                  </a:lnTo>
                  <a:lnTo>
                    <a:pt x="1461" y="967"/>
                  </a:lnTo>
                  <a:lnTo>
                    <a:pt x="1453" y="959"/>
                  </a:lnTo>
                  <a:lnTo>
                    <a:pt x="1446" y="950"/>
                  </a:lnTo>
                  <a:lnTo>
                    <a:pt x="1440" y="939"/>
                  </a:lnTo>
                  <a:lnTo>
                    <a:pt x="1440" y="927"/>
                  </a:lnTo>
                  <a:lnTo>
                    <a:pt x="1441" y="916"/>
                  </a:lnTo>
                  <a:lnTo>
                    <a:pt x="1444" y="907"/>
                  </a:lnTo>
                  <a:lnTo>
                    <a:pt x="1448" y="899"/>
                  </a:lnTo>
                  <a:lnTo>
                    <a:pt x="1454" y="892"/>
                  </a:lnTo>
                  <a:lnTo>
                    <a:pt x="1461" y="888"/>
                  </a:lnTo>
                  <a:lnTo>
                    <a:pt x="1469" y="884"/>
                  </a:lnTo>
                  <a:lnTo>
                    <a:pt x="1478" y="882"/>
                  </a:lnTo>
                  <a:lnTo>
                    <a:pt x="1498" y="878"/>
                  </a:lnTo>
                  <a:lnTo>
                    <a:pt x="1521" y="878"/>
                  </a:lnTo>
                  <a:lnTo>
                    <a:pt x="1545" y="878"/>
                  </a:lnTo>
                  <a:lnTo>
                    <a:pt x="1569" y="878"/>
                  </a:lnTo>
                  <a:lnTo>
                    <a:pt x="1593" y="878"/>
                  </a:lnTo>
                  <a:lnTo>
                    <a:pt x="1616" y="875"/>
                  </a:lnTo>
                  <a:lnTo>
                    <a:pt x="1625" y="874"/>
                  </a:lnTo>
                  <a:lnTo>
                    <a:pt x="1636" y="870"/>
                  </a:lnTo>
                  <a:lnTo>
                    <a:pt x="1644" y="866"/>
                  </a:lnTo>
                  <a:lnTo>
                    <a:pt x="1652" y="860"/>
                  </a:lnTo>
                  <a:lnTo>
                    <a:pt x="1658" y="854"/>
                  </a:lnTo>
                  <a:lnTo>
                    <a:pt x="1664" y="846"/>
                  </a:lnTo>
                  <a:lnTo>
                    <a:pt x="1668" y="836"/>
                  </a:lnTo>
                  <a:lnTo>
                    <a:pt x="1670" y="824"/>
                  </a:lnTo>
                  <a:lnTo>
                    <a:pt x="1670" y="811"/>
                  </a:lnTo>
                  <a:lnTo>
                    <a:pt x="1670" y="797"/>
                  </a:lnTo>
                  <a:lnTo>
                    <a:pt x="1668" y="778"/>
                  </a:lnTo>
                  <a:lnTo>
                    <a:pt x="1662" y="759"/>
                  </a:lnTo>
                  <a:lnTo>
                    <a:pt x="1660" y="735"/>
                  </a:lnTo>
                  <a:lnTo>
                    <a:pt x="1660" y="717"/>
                  </a:lnTo>
                  <a:lnTo>
                    <a:pt x="1661" y="699"/>
                  </a:lnTo>
                  <a:lnTo>
                    <a:pt x="1664" y="686"/>
                  </a:lnTo>
                  <a:lnTo>
                    <a:pt x="1666" y="675"/>
                  </a:lnTo>
                  <a:lnTo>
                    <a:pt x="1672" y="667"/>
                  </a:lnTo>
                  <a:lnTo>
                    <a:pt x="1678" y="661"/>
                  </a:lnTo>
                  <a:lnTo>
                    <a:pt x="1685" y="655"/>
                  </a:lnTo>
                  <a:lnTo>
                    <a:pt x="1693" y="653"/>
                  </a:lnTo>
                  <a:lnTo>
                    <a:pt x="1701" y="651"/>
                  </a:lnTo>
                  <a:lnTo>
                    <a:pt x="1709" y="651"/>
                  </a:lnTo>
                  <a:lnTo>
                    <a:pt x="1718" y="651"/>
                  </a:lnTo>
                  <a:lnTo>
                    <a:pt x="1736" y="654"/>
                  </a:lnTo>
                  <a:lnTo>
                    <a:pt x="1753" y="657"/>
                  </a:lnTo>
                  <a:lnTo>
                    <a:pt x="1770" y="659"/>
                  </a:lnTo>
                  <a:lnTo>
                    <a:pt x="1786" y="661"/>
                  </a:lnTo>
                  <a:lnTo>
                    <a:pt x="1800" y="661"/>
                  </a:lnTo>
                  <a:lnTo>
                    <a:pt x="1813" y="661"/>
                  </a:lnTo>
                  <a:lnTo>
                    <a:pt x="1825" y="659"/>
                  </a:lnTo>
                  <a:lnTo>
                    <a:pt x="1834" y="657"/>
                  </a:lnTo>
                  <a:lnTo>
                    <a:pt x="1844" y="654"/>
                  </a:lnTo>
                  <a:lnTo>
                    <a:pt x="1852" y="651"/>
                  </a:lnTo>
                  <a:lnTo>
                    <a:pt x="1860" y="647"/>
                  </a:lnTo>
                  <a:lnTo>
                    <a:pt x="1866" y="643"/>
                  </a:lnTo>
                  <a:lnTo>
                    <a:pt x="1872" y="638"/>
                  </a:lnTo>
                  <a:lnTo>
                    <a:pt x="1876" y="633"/>
                  </a:lnTo>
                  <a:lnTo>
                    <a:pt x="1884" y="622"/>
                  </a:lnTo>
                  <a:lnTo>
                    <a:pt x="1889" y="609"/>
                  </a:lnTo>
                  <a:lnTo>
                    <a:pt x="1897" y="583"/>
                  </a:lnTo>
                  <a:lnTo>
                    <a:pt x="1905" y="559"/>
                  </a:lnTo>
                  <a:lnTo>
                    <a:pt x="1910" y="549"/>
                  </a:lnTo>
                  <a:lnTo>
                    <a:pt x="1917" y="541"/>
                  </a:lnTo>
                  <a:lnTo>
                    <a:pt x="1921" y="537"/>
                  </a:lnTo>
                  <a:lnTo>
                    <a:pt x="1926" y="534"/>
                  </a:lnTo>
                  <a:lnTo>
                    <a:pt x="1933" y="531"/>
                  </a:lnTo>
                  <a:lnTo>
                    <a:pt x="1939" y="530"/>
                  </a:lnTo>
                  <a:lnTo>
                    <a:pt x="1950" y="527"/>
                  </a:lnTo>
                  <a:lnTo>
                    <a:pt x="1961" y="525"/>
                  </a:lnTo>
                  <a:lnTo>
                    <a:pt x="1971" y="522"/>
                  </a:lnTo>
                  <a:lnTo>
                    <a:pt x="1981" y="517"/>
                  </a:lnTo>
                  <a:lnTo>
                    <a:pt x="1990" y="513"/>
                  </a:lnTo>
                  <a:lnTo>
                    <a:pt x="1999" y="507"/>
                  </a:lnTo>
                  <a:lnTo>
                    <a:pt x="2007" y="501"/>
                  </a:lnTo>
                  <a:lnTo>
                    <a:pt x="2015" y="494"/>
                  </a:lnTo>
                  <a:lnTo>
                    <a:pt x="2029" y="481"/>
                  </a:lnTo>
                  <a:lnTo>
                    <a:pt x="2042" y="465"/>
                  </a:lnTo>
                  <a:lnTo>
                    <a:pt x="2051" y="449"/>
                  </a:lnTo>
                  <a:lnTo>
                    <a:pt x="2061" y="433"/>
                  </a:lnTo>
                  <a:lnTo>
                    <a:pt x="2067" y="415"/>
                  </a:lnTo>
                  <a:lnTo>
                    <a:pt x="2071" y="398"/>
                  </a:lnTo>
                  <a:lnTo>
                    <a:pt x="2075" y="382"/>
                  </a:lnTo>
                  <a:lnTo>
                    <a:pt x="2075" y="367"/>
                  </a:lnTo>
                  <a:lnTo>
                    <a:pt x="2074" y="354"/>
                  </a:lnTo>
                  <a:lnTo>
                    <a:pt x="2071" y="342"/>
                  </a:lnTo>
                  <a:lnTo>
                    <a:pt x="2070" y="337"/>
                  </a:lnTo>
                  <a:lnTo>
                    <a:pt x="2066" y="333"/>
                  </a:lnTo>
                  <a:lnTo>
                    <a:pt x="2063" y="329"/>
                  </a:lnTo>
                  <a:lnTo>
                    <a:pt x="2059" y="325"/>
                  </a:lnTo>
                  <a:lnTo>
                    <a:pt x="2043" y="333"/>
                  </a:lnTo>
                  <a:lnTo>
                    <a:pt x="2029" y="339"/>
                  </a:lnTo>
                  <a:lnTo>
                    <a:pt x="2014" y="345"/>
                  </a:lnTo>
                  <a:lnTo>
                    <a:pt x="2002" y="347"/>
                  </a:lnTo>
                  <a:lnTo>
                    <a:pt x="1990" y="349"/>
                  </a:lnTo>
                  <a:lnTo>
                    <a:pt x="1979" y="350"/>
                  </a:lnTo>
                  <a:lnTo>
                    <a:pt x="1969" y="349"/>
                  </a:lnTo>
                  <a:lnTo>
                    <a:pt x="1961" y="346"/>
                  </a:lnTo>
                  <a:lnTo>
                    <a:pt x="1951" y="343"/>
                  </a:lnTo>
                  <a:lnTo>
                    <a:pt x="1943" y="341"/>
                  </a:lnTo>
                  <a:lnTo>
                    <a:pt x="1937" y="335"/>
                  </a:lnTo>
                  <a:lnTo>
                    <a:pt x="1930" y="331"/>
                  </a:lnTo>
                  <a:lnTo>
                    <a:pt x="1917" y="319"/>
                  </a:lnTo>
                  <a:lnTo>
                    <a:pt x="1905" y="307"/>
                  </a:lnTo>
                  <a:lnTo>
                    <a:pt x="1893" y="295"/>
                  </a:lnTo>
                  <a:lnTo>
                    <a:pt x="1881" y="283"/>
                  </a:lnTo>
                  <a:lnTo>
                    <a:pt x="1874" y="278"/>
                  </a:lnTo>
                  <a:lnTo>
                    <a:pt x="1868" y="274"/>
                  </a:lnTo>
                  <a:lnTo>
                    <a:pt x="1860" y="270"/>
                  </a:lnTo>
                  <a:lnTo>
                    <a:pt x="1852" y="267"/>
                  </a:lnTo>
                  <a:lnTo>
                    <a:pt x="1844" y="266"/>
                  </a:lnTo>
                  <a:lnTo>
                    <a:pt x="1834" y="265"/>
                  </a:lnTo>
                  <a:lnTo>
                    <a:pt x="1824" y="265"/>
                  </a:lnTo>
                  <a:lnTo>
                    <a:pt x="1813" y="267"/>
                  </a:lnTo>
                  <a:lnTo>
                    <a:pt x="1801" y="270"/>
                  </a:lnTo>
                  <a:lnTo>
                    <a:pt x="1788" y="274"/>
                  </a:lnTo>
                  <a:lnTo>
                    <a:pt x="1774" y="281"/>
                  </a:lnTo>
                  <a:lnTo>
                    <a:pt x="1758" y="289"/>
                  </a:lnTo>
                  <a:lnTo>
                    <a:pt x="1752" y="293"/>
                  </a:lnTo>
                  <a:lnTo>
                    <a:pt x="1745" y="295"/>
                  </a:lnTo>
                  <a:lnTo>
                    <a:pt x="1741" y="297"/>
                  </a:lnTo>
                  <a:lnTo>
                    <a:pt x="1740" y="295"/>
                  </a:lnTo>
                  <a:lnTo>
                    <a:pt x="1738" y="294"/>
                  </a:lnTo>
                  <a:lnTo>
                    <a:pt x="1738" y="291"/>
                  </a:lnTo>
                  <a:lnTo>
                    <a:pt x="1740" y="287"/>
                  </a:lnTo>
                  <a:lnTo>
                    <a:pt x="1741" y="282"/>
                  </a:lnTo>
                  <a:lnTo>
                    <a:pt x="1756" y="253"/>
                  </a:lnTo>
                  <a:lnTo>
                    <a:pt x="1773" y="210"/>
                  </a:lnTo>
                  <a:lnTo>
                    <a:pt x="1777" y="198"/>
                  </a:lnTo>
                  <a:lnTo>
                    <a:pt x="1780" y="186"/>
                  </a:lnTo>
                  <a:lnTo>
                    <a:pt x="1782" y="173"/>
                  </a:lnTo>
                  <a:lnTo>
                    <a:pt x="1784" y="160"/>
                  </a:lnTo>
                  <a:lnTo>
                    <a:pt x="1784" y="146"/>
                  </a:lnTo>
                  <a:lnTo>
                    <a:pt x="1782" y="133"/>
                  </a:lnTo>
                  <a:lnTo>
                    <a:pt x="1781" y="120"/>
                  </a:lnTo>
                  <a:lnTo>
                    <a:pt x="1777" y="105"/>
                  </a:lnTo>
                  <a:lnTo>
                    <a:pt x="1772" y="92"/>
                  </a:lnTo>
                  <a:lnTo>
                    <a:pt x="1764" y="78"/>
                  </a:lnTo>
                  <a:lnTo>
                    <a:pt x="1754" y="65"/>
                  </a:lnTo>
                  <a:lnTo>
                    <a:pt x="1744" y="50"/>
                  </a:lnTo>
                  <a:lnTo>
                    <a:pt x="1730" y="38"/>
                  </a:lnTo>
                  <a:lnTo>
                    <a:pt x="1714" y="25"/>
                  </a:lnTo>
                  <a:lnTo>
                    <a:pt x="1696" y="12"/>
                  </a:lnTo>
                  <a:lnTo>
                    <a:pt x="1674" y="0"/>
                  </a:lnTo>
                  <a:lnTo>
                    <a:pt x="1618" y="32"/>
                  </a:lnTo>
                  <a:lnTo>
                    <a:pt x="1565" y="61"/>
                  </a:lnTo>
                  <a:lnTo>
                    <a:pt x="1540" y="76"/>
                  </a:lnTo>
                  <a:lnTo>
                    <a:pt x="1514" y="90"/>
                  </a:lnTo>
                  <a:lnTo>
                    <a:pt x="1492" y="106"/>
                  </a:lnTo>
                  <a:lnTo>
                    <a:pt x="1470" y="124"/>
                  </a:lnTo>
                  <a:lnTo>
                    <a:pt x="1460" y="133"/>
                  </a:lnTo>
                  <a:lnTo>
                    <a:pt x="1449" y="142"/>
                  </a:lnTo>
                  <a:lnTo>
                    <a:pt x="1441" y="153"/>
                  </a:lnTo>
                  <a:lnTo>
                    <a:pt x="1432" y="164"/>
                  </a:lnTo>
                  <a:lnTo>
                    <a:pt x="1424" y="176"/>
                  </a:lnTo>
                  <a:lnTo>
                    <a:pt x="1416" y="188"/>
                  </a:lnTo>
                  <a:lnTo>
                    <a:pt x="1408" y="200"/>
                  </a:lnTo>
                  <a:lnTo>
                    <a:pt x="1402" y="214"/>
                  </a:lnTo>
                  <a:lnTo>
                    <a:pt x="1396" y="227"/>
                  </a:lnTo>
                  <a:lnTo>
                    <a:pt x="1390" y="243"/>
                  </a:lnTo>
                  <a:lnTo>
                    <a:pt x="1386" y="259"/>
                  </a:lnTo>
                  <a:lnTo>
                    <a:pt x="1382" y="277"/>
                  </a:lnTo>
                  <a:lnTo>
                    <a:pt x="1378" y="294"/>
                  </a:lnTo>
                  <a:lnTo>
                    <a:pt x="1376" y="314"/>
                  </a:lnTo>
                  <a:lnTo>
                    <a:pt x="1374" y="334"/>
                  </a:lnTo>
                  <a:lnTo>
                    <a:pt x="1373" y="355"/>
                  </a:lnTo>
                  <a:lnTo>
                    <a:pt x="1378" y="354"/>
                  </a:lnTo>
                  <a:lnTo>
                    <a:pt x="1390" y="351"/>
                  </a:lnTo>
                  <a:lnTo>
                    <a:pt x="1409" y="349"/>
                  </a:lnTo>
                  <a:lnTo>
                    <a:pt x="1433" y="346"/>
                  </a:lnTo>
                  <a:lnTo>
                    <a:pt x="1446" y="346"/>
                  </a:lnTo>
                  <a:lnTo>
                    <a:pt x="1461" y="346"/>
                  </a:lnTo>
                  <a:lnTo>
                    <a:pt x="1476" y="347"/>
                  </a:lnTo>
                  <a:lnTo>
                    <a:pt x="1490" y="350"/>
                  </a:lnTo>
                  <a:lnTo>
                    <a:pt x="1505" y="354"/>
                  </a:lnTo>
                  <a:lnTo>
                    <a:pt x="1520" y="359"/>
                  </a:lnTo>
                  <a:lnTo>
                    <a:pt x="1534" y="365"/>
                  </a:lnTo>
                  <a:lnTo>
                    <a:pt x="1548" y="374"/>
                  </a:lnTo>
                  <a:lnTo>
                    <a:pt x="1546" y="402"/>
                  </a:lnTo>
                  <a:lnTo>
                    <a:pt x="1544" y="425"/>
                  </a:lnTo>
                  <a:lnTo>
                    <a:pt x="1542" y="434"/>
                  </a:lnTo>
                  <a:lnTo>
                    <a:pt x="1541" y="443"/>
                  </a:lnTo>
                  <a:lnTo>
                    <a:pt x="1538" y="450"/>
                  </a:lnTo>
                  <a:lnTo>
                    <a:pt x="1534" y="457"/>
                  </a:lnTo>
                  <a:lnTo>
                    <a:pt x="1530" y="462"/>
                  </a:lnTo>
                  <a:lnTo>
                    <a:pt x="1525" y="466"/>
                  </a:lnTo>
                  <a:lnTo>
                    <a:pt x="1517" y="469"/>
                  </a:lnTo>
                  <a:lnTo>
                    <a:pt x="1509" y="471"/>
                  </a:lnTo>
                  <a:lnTo>
                    <a:pt x="1498" y="474"/>
                  </a:lnTo>
                  <a:lnTo>
                    <a:pt x="1488" y="475"/>
                  </a:lnTo>
                  <a:lnTo>
                    <a:pt x="1473" y="475"/>
                  </a:lnTo>
                  <a:lnTo>
                    <a:pt x="1457" y="475"/>
                  </a:lnTo>
                  <a:lnTo>
                    <a:pt x="1448" y="475"/>
                  </a:lnTo>
                  <a:lnTo>
                    <a:pt x="1437" y="473"/>
                  </a:lnTo>
                  <a:lnTo>
                    <a:pt x="1426" y="467"/>
                  </a:lnTo>
                  <a:lnTo>
                    <a:pt x="1416" y="463"/>
                  </a:lnTo>
                  <a:lnTo>
                    <a:pt x="1390" y="451"/>
                  </a:lnTo>
                  <a:lnTo>
                    <a:pt x="1362" y="439"/>
                  </a:lnTo>
                  <a:lnTo>
                    <a:pt x="1346" y="434"/>
                  </a:lnTo>
                  <a:lnTo>
                    <a:pt x="1329" y="430"/>
                  </a:lnTo>
                  <a:lnTo>
                    <a:pt x="1310" y="427"/>
                  </a:lnTo>
                  <a:lnTo>
                    <a:pt x="1290" y="427"/>
                  </a:lnTo>
                  <a:lnTo>
                    <a:pt x="1268" y="429"/>
                  </a:lnTo>
                  <a:lnTo>
                    <a:pt x="1242" y="434"/>
                  </a:lnTo>
                  <a:lnTo>
                    <a:pt x="1216" y="441"/>
                  </a:lnTo>
                  <a:lnTo>
                    <a:pt x="1186" y="451"/>
                  </a:lnTo>
                  <a:lnTo>
                    <a:pt x="1168" y="473"/>
                  </a:lnTo>
                  <a:lnTo>
                    <a:pt x="1148" y="491"/>
                  </a:lnTo>
                  <a:lnTo>
                    <a:pt x="1127" y="511"/>
                  </a:lnTo>
                  <a:lnTo>
                    <a:pt x="1107" y="529"/>
                  </a:lnTo>
                  <a:lnTo>
                    <a:pt x="1064" y="563"/>
                  </a:lnTo>
                  <a:lnTo>
                    <a:pt x="1020" y="597"/>
                  </a:lnTo>
                  <a:lnTo>
                    <a:pt x="932" y="658"/>
                  </a:lnTo>
                  <a:lnTo>
                    <a:pt x="841" y="717"/>
                  </a:lnTo>
                  <a:lnTo>
                    <a:pt x="796" y="746"/>
                  </a:lnTo>
                  <a:lnTo>
                    <a:pt x="752" y="777"/>
                  </a:lnTo>
                  <a:lnTo>
                    <a:pt x="709" y="809"/>
                  </a:lnTo>
                  <a:lnTo>
                    <a:pt x="668" y="842"/>
                  </a:lnTo>
                  <a:lnTo>
                    <a:pt x="647" y="859"/>
                  </a:lnTo>
                  <a:lnTo>
                    <a:pt x="627" y="876"/>
                  </a:lnTo>
                  <a:lnTo>
                    <a:pt x="608" y="895"/>
                  </a:lnTo>
                  <a:lnTo>
                    <a:pt x="589" y="914"/>
                  </a:lnTo>
                  <a:lnTo>
                    <a:pt x="571" y="934"/>
                  </a:lnTo>
                  <a:lnTo>
                    <a:pt x="552" y="955"/>
                  </a:lnTo>
                  <a:lnTo>
                    <a:pt x="535" y="976"/>
                  </a:lnTo>
                  <a:lnTo>
                    <a:pt x="519" y="999"/>
                  </a:lnTo>
                  <a:lnTo>
                    <a:pt x="500" y="1028"/>
                  </a:lnTo>
                  <a:lnTo>
                    <a:pt x="483" y="1062"/>
                  </a:lnTo>
                  <a:lnTo>
                    <a:pt x="465" y="1096"/>
                  </a:lnTo>
                  <a:lnTo>
                    <a:pt x="448" y="1134"/>
                  </a:lnTo>
                  <a:lnTo>
                    <a:pt x="431" y="1171"/>
                  </a:lnTo>
                  <a:lnTo>
                    <a:pt x="412" y="1208"/>
                  </a:lnTo>
                  <a:lnTo>
                    <a:pt x="393" y="1243"/>
                  </a:lnTo>
                  <a:lnTo>
                    <a:pt x="373" y="1276"/>
                  </a:lnTo>
                  <a:lnTo>
                    <a:pt x="343" y="1324"/>
                  </a:lnTo>
                  <a:lnTo>
                    <a:pt x="314" y="1368"/>
                  </a:lnTo>
                  <a:lnTo>
                    <a:pt x="287" y="1407"/>
                  </a:lnTo>
                  <a:lnTo>
                    <a:pt x="264" y="1440"/>
                  </a:lnTo>
                  <a:lnTo>
                    <a:pt x="255" y="1456"/>
                  </a:lnTo>
                  <a:lnTo>
                    <a:pt x="248" y="1469"/>
                  </a:lnTo>
                  <a:lnTo>
                    <a:pt x="242" y="1483"/>
                  </a:lnTo>
                  <a:lnTo>
                    <a:pt x="238" y="1493"/>
                  </a:lnTo>
                  <a:lnTo>
                    <a:pt x="235" y="1503"/>
                  </a:lnTo>
                  <a:lnTo>
                    <a:pt x="235" y="1511"/>
                  </a:lnTo>
                  <a:lnTo>
                    <a:pt x="236" y="1515"/>
                  </a:lnTo>
                  <a:lnTo>
                    <a:pt x="238" y="1519"/>
                  </a:lnTo>
                  <a:lnTo>
                    <a:pt x="239" y="1521"/>
                  </a:lnTo>
                  <a:lnTo>
                    <a:pt x="242" y="1523"/>
                  </a:lnTo>
                  <a:lnTo>
                    <a:pt x="259" y="1536"/>
                  </a:lnTo>
                  <a:lnTo>
                    <a:pt x="274" y="1545"/>
                  </a:lnTo>
                  <a:lnTo>
                    <a:pt x="287" y="1553"/>
                  </a:lnTo>
                  <a:lnTo>
                    <a:pt x="299" y="1560"/>
                  </a:lnTo>
                  <a:lnTo>
                    <a:pt x="310" y="1564"/>
                  </a:lnTo>
                  <a:lnTo>
                    <a:pt x="319" y="1567"/>
                  </a:lnTo>
                  <a:lnTo>
                    <a:pt x="328" y="1569"/>
                  </a:lnTo>
                  <a:lnTo>
                    <a:pt x="338" y="1569"/>
                  </a:lnTo>
                  <a:lnTo>
                    <a:pt x="355" y="1571"/>
                  </a:lnTo>
                  <a:lnTo>
                    <a:pt x="375" y="1569"/>
                  </a:lnTo>
                  <a:lnTo>
                    <a:pt x="397" y="1569"/>
                  </a:lnTo>
                  <a:lnTo>
                    <a:pt x="428" y="1572"/>
                  </a:lnTo>
                  <a:lnTo>
                    <a:pt x="435" y="1568"/>
                  </a:lnTo>
                  <a:lnTo>
                    <a:pt x="441" y="1565"/>
                  </a:lnTo>
                  <a:lnTo>
                    <a:pt x="448" y="1564"/>
                  </a:lnTo>
                  <a:lnTo>
                    <a:pt x="455" y="1563"/>
                  </a:lnTo>
                  <a:lnTo>
                    <a:pt x="460" y="1564"/>
                  </a:lnTo>
                  <a:lnTo>
                    <a:pt x="465" y="1564"/>
                  </a:lnTo>
                  <a:lnTo>
                    <a:pt x="471" y="1565"/>
                  </a:lnTo>
                  <a:lnTo>
                    <a:pt x="475" y="1568"/>
                  </a:lnTo>
                  <a:lnTo>
                    <a:pt x="484" y="1573"/>
                  </a:lnTo>
                  <a:lnTo>
                    <a:pt x="491" y="1581"/>
                  </a:lnTo>
                  <a:lnTo>
                    <a:pt x="497" y="1591"/>
                  </a:lnTo>
                  <a:lnTo>
                    <a:pt x="503" y="1601"/>
                  </a:lnTo>
                  <a:lnTo>
                    <a:pt x="511" y="1623"/>
                  </a:lnTo>
                  <a:lnTo>
                    <a:pt x="515" y="1641"/>
                  </a:lnTo>
                  <a:lnTo>
                    <a:pt x="517" y="1656"/>
                  </a:lnTo>
                  <a:lnTo>
                    <a:pt x="519" y="1661"/>
                  </a:lnTo>
                  <a:lnTo>
                    <a:pt x="512" y="1668"/>
                  </a:lnTo>
                  <a:lnTo>
                    <a:pt x="508" y="1675"/>
                  </a:lnTo>
                  <a:lnTo>
                    <a:pt x="505" y="1683"/>
                  </a:lnTo>
                  <a:lnTo>
                    <a:pt x="503" y="1689"/>
                  </a:lnTo>
                  <a:lnTo>
                    <a:pt x="499" y="1705"/>
                  </a:lnTo>
                  <a:lnTo>
                    <a:pt x="495" y="1719"/>
                  </a:lnTo>
                  <a:lnTo>
                    <a:pt x="491" y="1724"/>
                  </a:lnTo>
                  <a:lnTo>
                    <a:pt x="484" y="1728"/>
                  </a:lnTo>
                  <a:lnTo>
                    <a:pt x="477" y="1731"/>
                  </a:lnTo>
                  <a:lnTo>
                    <a:pt x="468" y="1732"/>
                  </a:lnTo>
                  <a:lnTo>
                    <a:pt x="455" y="1732"/>
                  </a:lnTo>
                  <a:lnTo>
                    <a:pt x="440" y="1729"/>
                  </a:lnTo>
                  <a:lnTo>
                    <a:pt x="420" y="1724"/>
                  </a:lnTo>
                  <a:lnTo>
                    <a:pt x="397" y="1716"/>
                  </a:lnTo>
                  <a:lnTo>
                    <a:pt x="388" y="1729"/>
                  </a:lnTo>
                  <a:lnTo>
                    <a:pt x="379" y="1741"/>
                  </a:lnTo>
                  <a:lnTo>
                    <a:pt x="370" y="1751"/>
                  </a:lnTo>
                  <a:lnTo>
                    <a:pt x="359" y="1757"/>
                  </a:lnTo>
                  <a:lnTo>
                    <a:pt x="348" y="1764"/>
                  </a:lnTo>
                  <a:lnTo>
                    <a:pt x="338" y="1768"/>
                  </a:lnTo>
                  <a:lnTo>
                    <a:pt x="326" y="1769"/>
                  </a:lnTo>
                  <a:lnTo>
                    <a:pt x="315" y="1771"/>
                  </a:lnTo>
                  <a:lnTo>
                    <a:pt x="303" y="1769"/>
                  </a:lnTo>
                  <a:lnTo>
                    <a:pt x="291" y="1768"/>
                  </a:lnTo>
                  <a:lnTo>
                    <a:pt x="279" y="1764"/>
                  </a:lnTo>
                  <a:lnTo>
                    <a:pt x="267" y="1760"/>
                  </a:lnTo>
                  <a:lnTo>
                    <a:pt x="242" y="1749"/>
                  </a:lnTo>
                  <a:lnTo>
                    <a:pt x="218" y="1735"/>
                  </a:lnTo>
                  <a:lnTo>
                    <a:pt x="208" y="1731"/>
                  </a:lnTo>
                  <a:lnTo>
                    <a:pt x="202" y="1729"/>
                  </a:lnTo>
                  <a:lnTo>
                    <a:pt x="199" y="1731"/>
                  </a:lnTo>
                  <a:lnTo>
                    <a:pt x="198" y="1732"/>
                  </a:lnTo>
                  <a:lnTo>
                    <a:pt x="196" y="1735"/>
                  </a:lnTo>
                  <a:lnTo>
                    <a:pt x="195" y="1739"/>
                  </a:lnTo>
                  <a:lnTo>
                    <a:pt x="194" y="1747"/>
                  </a:lnTo>
                  <a:lnTo>
                    <a:pt x="194" y="1756"/>
                  </a:lnTo>
                  <a:lnTo>
                    <a:pt x="195" y="1769"/>
                  </a:lnTo>
                  <a:lnTo>
                    <a:pt x="196" y="1783"/>
                  </a:lnTo>
                  <a:lnTo>
                    <a:pt x="200" y="1816"/>
                  </a:lnTo>
                  <a:lnTo>
                    <a:pt x="202" y="1852"/>
                  </a:lnTo>
                  <a:lnTo>
                    <a:pt x="202" y="1871"/>
                  </a:lnTo>
                  <a:lnTo>
                    <a:pt x="200" y="1889"/>
                  </a:lnTo>
                  <a:lnTo>
                    <a:pt x="198" y="1908"/>
                  </a:lnTo>
                  <a:lnTo>
                    <a:pt x="194" y="1927"/>
                  </a:lnTo>
                  <a:lnTo>
                    <a:pt x="190" y="1936"/>
                  </a:lnTo>
                  <a:lnTo>
                    <a:pt x="186" y="1945"/>
                  </a:lnTo>
                  <a:lnTo>
                    <a:pt x="182" y="1953"/>
                  </a:lnTo>
                  <a:lnTo>
                    <a:pt x="176" y="1963"/>
                  </a:lnTo>
                  <a:lnTo>
                    <a:pt x="164" y="1977"/>
                  </a:lnTo>
                  <a:lnTo>
                    <a:pt x="151" y="1992"/>
                  </a:lnTo>
                  <a:lnTo>
                    <a:pt x="119" y="2020"/>
                  </a:lnTo>
                  <a:lnTo>
                    <a:pt x="86" y="2046"/>
                  </a:lnTo>
                  <a:lnTo>
                    <a:pt x="70" y="2061"/>
                  </a:lnTo>
                  <a:lnTo>
                    <a:pt x="54" y="2076"/>
                  </a:lnTo>
                  <a:lnTo>
                    <a:pt x="39" y="2092"/>
                  </a:lnTo>
                  <a:lnTo>
                    <a:pt x="27" y="2109"/>
                  </a:lnTo>
                  <a:lnTo>
                    <a:pt x="20" y="2118"/>
                  </a:lnTo>
                  <a:lnTo>
                    <a:pt x="16" y="2128"/>
                  </a:lnTo>
                  <a:lnTo>
                    <a:pt x="11" y="2138"/>
                  </a:lnTo>
                  <a:lnTo>
                    <a:pt x="7" y="2149"/>
                  </a:lnTo>
                  <a:lnTo>
                    <a:pt x="4" y="2160"/>
                  </a:lnTo>
                  <a:lnTo>
                    <a:pt x="2" y="2172"/>
                  </a:lnTo>
                  <a:lnTo>
                    <a:pt x="0" y="2185"/>
                  </a:lnTo>
                  <a:lnTo>
                    <a:pt x="0" y="2198"/>
                  </a:lnTo>
                  <a:lnTo>
                    <a:pt x="0" y="2204"/>
                  </a:lnTo>
                  <a:lnTo>
                    <a:pt x="2" y="2210"/>
                  </a:lnTo>
                  <a:lnTo>
                    <a:pt x="3" y="2218"/>
                  </a:lnTo>
                  <a:lnTo>
                    <a:pt x="7" y="2228"/>
                  </a:lnTo>
                  <a:lnTo>
                    <a:pt x="16" y="2226"/>
                  </a:lnTo>
                  <a:lnTo>
                    <a:pt x="26" y="2226"/>
                  </a:lnTo>
                  <a:lnTo>
                    <a:pt x="32" y="2228"/>
                  </a:lnTo>
                  <a:lnTo>
                    <a:pt x="38" y="2229"/>
                  </a:lnTo>
                  <a:lnTo>
                    <a:pt x="46" y="2232"/>
                  </a:lnTo>
                  <a:lnTo>
                    <a:pt x="55" y="2234"/>
                  </a:lnTo>
                  <a:lnTo>
                    <a:pt x="68" y="2234"/>
                  </a:lnTo>
                  <a:lnTo>
                    <a:pt x="83" y="2237"/>
                  </a:lnTo>
                  <a:lnTo>
                    <a:pt x="99" y="2241"/>
                  </a:lnTo>
                  <a:lnTo>
                    <a:pt x="115" y="2248"/>
                  </a:lnTo>
                  <a:lnTo>
                    <a:pt x="132" y="2254"/>
                  </a:lnTo>
                  <a:lnTo>
                    <a:pt x="151" y="2262"/>
                  </a:lnTo>
                  <a:lnTo>
                    <a:pt x="168" y="2272"/>
                  </a:lnTo>
                  <a:lnTo>
                    <a:pt x="184" y="2282"/>
                  </a:lnTo>
                  <a:lnTo>
                    <a:pt x="202" y="2293"/>
                  </a:lnTo>
                  <a:lnTo>
                    <a:pt x="216" y="2305"/>
                  </a:lnTo>
                  <a:lnTo>
                    <a:pt x="230" y="2317"/>
                  </a:lnTo>
                  <a:lnTo>
                    <a:pt x="242" y="2330"/>
                  </a:lnTo>
                  <a:lnTo>
                    <a:pt x="252" y="2344"/>
                  </a:lnTo>
                  <a:lnTo>
                    <a:pt x="259" y="2357"/>
                  </a:lnTo>
                  <a:lnTo>
                    <a:pt x="262" y="2364"/>
                  </a:lnTo>
                  <a:lnTo>
                    <a:pt x="264" y="2370"/>
                  </a:lnTo>
                  <a:lnTo>
                    <a:pt x="266" y="2377"/>
                  </a:lnTo>
                  <a:lnTo>
                    <a:pt x="266" y="2385"/>
                  </a:lnTo>
                  <a:lnTo>
                    <a:pt x="266" y="2396"/>
                  </a:lnTo>
                  <a:lnTo>
                    <a:pt x="264" y="2405"/>
                  </a:lnTo>
                  <a:lnTo>
                    <a:pt x="262" y="2413"/>
                  </a:lnTo>
                  <a:lnTo>
                    <a:pt x="260" y="2420"/>
                  </a:lnTo>
                  <a:lnTo>
                    <a:pt x="254" y="2432"/>
                  </a:lnTo>
                  <a:lnTo>
                    <a:pt x="247" y="2441"/>
                  </a:lnTo>
                  <a:lnTo>
                    <a:pt x="239" y="2449"/>
                  </a:lnTo>
                  <a:lnTo>
                    <a:pt x="232" y="2457"/>
                  </a:lnTo>
                  <a:lnTo>
                    <a:pt x="227" y="2465"/>
                  </a:lnTo>
                  <a:lnTo>
                    <a:pt x="223" y="2474"/>
                  </a:lnTo>
                  <a:lnTo>
                    <a:pt x="220" y="2484"/>
                  </a:lnTo>
                  <a:lnTo>
                    <a:pt x="219" y="2492"/>
                  </a:lnTo>
                  <a:lnTo>
                    <a:pt x="219" y="2500"/>
                  </a:lnTo>
                  <a:lnTo>
                    <a:pt x="222" y="2508"/>
                  </a:lnTo>
                  <a:lnTo>
                    <a:pt x="223" y="2516"/>
                  </a:lnTo>
                  <a:lnTo>
                    <a:pt x="224" y="2524"/>
                  </a:lnTo>
                  <a:lnTo>
                    <a:pt x="224" y="2532"/>
                  </a:lnTo>
                  <a:lnTo>
                    <a:pt x="223" y="2541"/>
                  </a:lnTo>
                  <a:lnTo>
                    <a:pt x="218" y="2554"/>
                  </a:lnTo>
                  <a:lnTo>
                    <a:pt x="212" y="2566"/>
                  </a:lnTo>
                  <a:lnTo>
                    <a:pt x="206" y="2578"/>
                  </a:lnTo>
                  <a:lnTo>
                    <a:pt x="198" y="2590"/>
                  </a:lnTo>
                  <a:lnTo>
                    <a:pt x="182" y="2611"/>
                  </a:lnTo>
                  <a:lnTo>
                    <a:pt x="166" y="2633"/>
                  </a:lnTo>
                  <a:lnTo>
                    <a:pt x="159" y="2643"/>
                  </a:lnTo>
                  <a:lnTo>
                    <a:pt x="151" y="2654"/>
                  </a:lnTo>
                  <a:lnTo>
                    <a:pt x="144" y="2666"/>
                  </a:lnTo>
                  <a:lnTo>
                    <a:pt x="139" y="2678"/>
                  </a:lnTo>
                  <a:lnTo>
                    <a:pt x="134" y="2690"/>
                  </a:lnTo>
                  <a:lnTo>
                    <a:pt x="130" y="2703"/>
                  </a:lnTo>
                  <a:lnTo>
                    <a:pt x="128" y="2718"/>
                  </a:lnTo>
                  <a:lnTo>
                    <a:pt x="127" y="2734"/>
                  </a:lnTo>
                  <a:lnTo>
                    <a:pt x="127" y="2742"/>
                  </a:lnTo>
                  <a:lnTo>
                    <a:pt x="128" y="2750"/>
                  </a:lnTo>
                  <a:lnTo>
                    <a:pt x="130" y="2757"/>
                  </a:lnTo>
                  <a:lnTo>
                    <a:pt x="131" y="2762"/>
                  </a:lnTo>
                  <a:lnTo>
                    <a:pt x="134" y="2767"/>
                  </a:lnTo>
                  <a:lnTo>
                    <a:pt x="136" y="2771"/>
                  </a:lnTo>
                  <a:lnTo>
                    <a:pt x="140" y="2775"/>
                  </a:lnTo>
                  <a:lnTo>
                    <a:pt x="144" y="2778"/>
                  </a:lnTo>
                  <a:lnTo>
                    <a:pt x="154" y="2782"/>
                  </a:lnTo>
                  <a:lnTo>
                    <a:pt x="166" y="2783"/>
                  </a:lnTo>
                  <a:lnTo>
                    <a:pt x="178" y="2783"/>
                  </a:lnTo>
                  <a:lnTo>
                    <a:pt x="194" y="2782"/>
                  </a:lnTo>
                  <a:lnTo>
                    <a:pt x="196" y="2790"/>
                  </a:lnTo>
                  <a:lnTo>
                    <a:pt x="199" y="2799"/>
                  </a:lnTo>
                  <a:lnTo>
                    <a:pt x="200" y="2806"/>
                  </a:lnTo>
                  <a:lnTo>
                    <a:pt x="200" y="2814"/>
                  </a:lnTo>
                  <a:lnTo>
                    <a:pt x="200" y="2829"/>
                  </a:lnTo>
                  <a:lnTo>
                    <a:pt x="199" y="2842"/>
                  </a:lnTo>
                  <a:lnTo>
                    <a:pt x="200" y="2846"/>
                  </a:lnTo>
                  <a:lnTo>
                    <a:pt x="202" y="2849"/>
                  </a:lnTo>
                  <a:lnTo>
                    <a:pt x="203" y="2853"/>
                  </a:lnTo>
                  <a:lnTo>
                    <a:pt x="207" y="2857"/>
                  </a:lnTo>
                  <a:lnTo>
                    <a:pt x="215" y="2865"/>
                  </a:lnTo>
                  <a:lnTo>
                    <a:pt x="227" y="2873"/>
                  </a:lnTo>
                  <a:lnTo>
                    <a:pt x="240" y="2879"/>
                  </a:lnTo>
                  <a:lnTo>
                    <a:pt x="255" y="2885"/>
                  </a:lnTo>
                  <a:lnTo>
                    <a:pt x="272" y="2889"/>
                  </a:lnTo>
                  <a:lnTo>
                    <a:pt x="290" y="2890"/>
                  </a:lnTo>
                  <a:lnTo>
                    <a:pt x="300" y="2890"/>
                  </a:lnTo>
                  <a:lnTo>
                    <a:pt x="311" y="2887"/>
                  </a:lnTo>
                  <a:lnTo>
                    <a:pt x="322" y="2885"/>
                  </a:lnTo>
                  <a:lnTo>
                    <a:pt x="332" y="2881"/>
                  </a:lnTo>
                  <a:lnTo>
                    <a:pt x="342" y="2878"/>
                  </a:lnTo>
                  <a:lnTo>
                    <a:pt x="352" y="2875"/>
                  </a:lnTo>
                  <a:lnTo>
                    <a:pt x="363" y="2873"/>
                  </a:lnTo>
                  <a:lnTo>
                    <a:pt x="373" y="2873"/>
                  </a:lnTo>
                  <a:lnTo>
                    <a:pt x="391" y="2873"/>
                  </a:lnTo>
                  <a:lnTo>
                    <a:pt x="404" y="2877"/>
                  </a:lnTo>
                  <a:lnTo>
                    <a:pt x="415" y="2882"/>
                  </a:lnTo>
                  <a:lnTo>
                    <a:pt x="424" y="2889"/>
                  </a:lnTo>
                  <a:lnTo>
                    <a:pt x="431" y="2895"/>
                  </a:lnTo>
                  <a:lnTo>
                    <a:pt x="436" y="2905"/>
                  </a:lnTo>
                  <a:lnTo>
                    <a:pt x="441" y="2914"/>
                  </a:lnTo>
                  <a:lnTo>
                    <a:pt x="445" y="2925"/>
                  </a:lnTo>
                  <a:lnTo>
                    <a:pt x="452" y="2943"/>
                  </a:lnTo>
                  <a:lnTo>
                    <a:pt x="461" y="2961"/>
                  </a:lnTo>
                  <a:lnTo>
                    <a:pt x="467" y="2969"/>
                  </a:lnTo>
                  <a:lnTo>
                    <a:pt x="473" y="2974"/>
                  </a:lnTo>
                  <a:lnTo>
                    <a:pt x="483" y="2978"/>
                  </a:lnTo>
                  <a:lnTo>
                    <a:pt x="495" y="2981"/>
                  </a:lnTo>
                  <a:lnTo>
                    <a:pt x="504" y="2978"/>
                  </a:lnTo>
                  <a:lnTo>
                    <a:pt x="512" y="2975"/>
                  </a:lnTo>
                  <a:lnTo>
                    <a:pt x="519" y="2971"/>
                  </a:lnTo>
                  <a:lnTo>
                    <a:pt x="524" y="2967"/>
                  </a:lnTo>
                  <a:lnTo>
                    <a:pt x="533" y="2959"/>
                  </a:lnTo>
                  <a:lnTo>
                    <a:pt x="548" y="2950"/>
                  </a:lnTo>
                  <a:lnTo>
                    <a:pt x="569" y="2971"/>
                  </a:lnTo>
                  <a:lnTo>
                    <a:pt x="591" y="2995"/>
                  </a:lnTo>
                  <a:lnTo>
                    <a:pt x="603" y="3006"/>
                  </a:lnTo>
                  <a:lnTo>
                    <a:pt x="616" y="3015"/>
                  </a:lnTo>
                  <a:lnTo>
                    <a:pt x="624" y="3018"/>
                  </a:lnTo>
                  <a:lnTo>
                    <a:pt x="632" y="3021"/>
                  </a:lnTo>
                  <a:lnTo>
                    <a:pt x="641" y="3022"/>
                  </a:lnTo>
                  <a:lnTo>
                    <a:pt x="651" y="3022"/>
                  </a:lnTo>
                  <a:lnTo>
                    <a:pt x="663" y="3022"/>
                  </a:lnTo>
                  <a:lnTo>
                    <a:pt x="673" y="3021"/>
                  </a:lnTo>
                  <a:lnTo>
                    <a:pt x="683" y="3019"/>
                  </a:lnTo>
                  <a:lnTo>
                    <a:pt x="691" y="3017"/>
                  </a:lnTo>
                  <a:lnTo>
                    <a:pt x="705" y="3010"/>
                  </a:lnTo>
                  <a:lnTo>
                    <a:pt x="717" y="3002"/>
                  </a:lnTo>
                  <a:lnTo>
                    <a:pt x="728" y="2994"/>
                  </a:lnTo>
                  <a:lnTo>
                    <a:pt x="739" y="2985"/>
                  </a:lnTo>
                  <a:lnTo>
                    <a:pt x="751" y="2975"/>
                  </a:lnTo>
                  <a:lnTo>
                    <a:pt x="765" y="2969"/>
                  </a:lnTo>
                  <a:lnTo>
                    <a:pt x="773" y="2967"/>
                  </a:lnTo>
                  <a:lnTo>
                    <a:pt x="783" y="2967"/>
                  </a:lnTo>
                  <a:lnTo>
                    <a:pt x="791" y="2967"/>
                  </a:lnTo>
                  <a:lnTo>
                    <a:pt x="799" y="2969"/>
                  </a:lnTo>
                  <a:lnTo>
                    <a:pt x="808" y="2970"/>
                  </a:lnTo>
                  <a:lnTo>
                    <a:pt x="817" y="2970"/>
                  </a:lnTo>
                  <a:lnTo>
                    <a:pt x="827" y="2970"/>
                  </a:lnTo>
                  <a:lnTo>
                    <a:pt x="837" y="2969"/>
                  </a:lnTo>
                  <a:lnTo>
                    <a:pt x="843" y="2967"/>
                  </a:lnTo>
                  <a:lnTo>
                    <a:pt x="847" y="2966"/>
                  </a:lnTo>
                  <a:lnTo>
                    <a:pt x="852" y="2963"/>
                  </a:lnTo>
                  <a:lnTo>
                    <a:pt x="859" y="2961"/>
                  </a:lnTo>
                  <a:lnTo>
                    <a:pt x="869" y="2953"/>
                  </a:lnTo>
                  <a:lnTo>
                    <a:pt x="881" y="2943"/>
                  </a:lnTo>
                  <a:lnTo>
                    <a:pt x="901" y="2925"/>
                  </a:lnTo>
                  <a:lnTo>
                    <a:pt x="916" y="2914"/>
                  </a:lnTo>
                  <a:lnTo>
                    <a:pt x="927" y="2907"/>
                  </a:lnTo>
                  <a:lnTo>
                    <a:pt x="937" y="2902"/>
                  </a:lnTo>
                  <a:lnTo>
                    <a:pt x="948" y="2897"/>
                  </a:lnTo>
                  <a:lnTo>
                    <a:pt x="959" y="2894"/>
                  </a:lnTo>
                  <a:lnTo>
                    <a:pt x="977" y="2890"/>
                  </a:lnTo>
                  <a:lnTo>
                    <a:pt x="996" y="2886"/>
                  </a:lnTo>
                  <a:lnTo>
                    <a:pt x="1015" y="2883"/>
                  </a:lnTo>
                  <a:lnTo>
                    <a:pt x="1033" y="2878"/>
                  </a:lnTo>
                  <a:lnTo>
                    <a:pt x="1043" y="2874"/>
                  </a:lnTo>
                  <a:lnTo>
                    <a:pt x="1052" y="2869"/>
                  </a:lnTo>
                  <a:lnTo>
                    <a:pt x="1063" y="2862"/>
                  </a:lnTo>
                  <a:lnTo>
                    <a:pt x="1072" y="2854"/>
                  </a:lnTo>
                  <a:lnTo>
                    <a:pt x="1079" y="2850"/>
                  </a:lnTo>
                  <a:lnTo>
                    <a:pt x="1081" y="2845"/>
                  </a:lnTo>
                  <a:lnTo>
                    <a:pt x="1084" y="2839"/>
                  </a:lnTo>
                  <a:lnTo>
                    <a:pt x="1085" y="2834"/>
                  </a:lnTo>
                  <a:lnTo>
                    <a:pt x="1085" y="2819"/>
                  </a:lnTo>
                  <a:lnTo>
                    <a:pt x="1084" y="2799"/>
                  </a:lnTo>
                  <a:lnTo>
                    <a:pt x="1091" y="279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6" name="Freeform 117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7216775" y="4033838"/>
              <a:ext cx="265113" cy="201612"/>
            </a:xfrm>
            <a:custGeom>
              <a:avLst/>
              <a:gdLst/>
              <a:ahLst/>
              <a:cxnLst>
                <a:cxn ang="0">
                  <a:pos x="600" y="61"/>
                </a:cxn>
                <a:cxn ang="0">
                  <a:pos x="584" y="55"/>
                </a:cxn>
                <a:cxn ang="0">
                  <a:pos x="554" y="77"/>
                </a:cxn>
                <a:cxn ang="0">
                  <a:pos x="516" y="140"/>
                </a:cxn>
                <a:cxn ang="0">
                  <a:pos x="464" y="254"/>
                </a:cxn>
                <a:cxn ang="0">
                  <a:pos x="410" y="360"/>
                </a:cxn>
                <a:cxn ang="0">
                  <a:pos x="352" y="440"/>
                </a:cxn>
                <a:cxn ang="0">
                  <a:pos x="285" y="502"/>
                </a:cxn>
                <a:cxn ang="0">
                  <a:pos x="240" y="530"/>
                </a:cxn>
                <a:cxn ang="0">
                  <a:pos x="208" y="542"/>
                </a:cxn>
                <a:cxn ang="0">
                  <a:pos x="179" y="546"/>
                </a:cxn>
                <a:cxn ang="0">
                  <a:pos x="153" y="540"/>
                </a:cxn>
                <a:cxn ang="0">
                  <a:pos x="132" y="524"/>
                </a:cxn>
                <a:cxn ang="0">
                  <a:pos x="84" y="432"/>
                </a:cxn>
                <a:cxn ang="0">
                  <a:pos x="55" y="372"/>
                </a:cxn>
                <a:cxn ang="0">
                  <a:pos x="35" y="357"/>
                </a:cxn>
                <a:cxn ang="0">
                  <a:pos x="0" y="349"/>
                </a:cxn>
                <a:cxn ang="0">
                  <a:pos x="20" y="318"/>
                </a:cxn>
                <a:cxn ang="0">
                  <a:pos x="28" y="289"/>
                </a:cxn>
                <a:cxn ang="0">
                  <a:pos x="29" y="254"/>
                </a:cxn>
                <a:cxn ang="0">
                  <a:pos x="29" y="234"/>
                </a:cxn>
                <a:cxn ang="0">
                  <a:pos x="32" y="216"/>
                </a:cxn>
                <a:cxn ang="0">
                  <a:pos x="45" y="198"/>
                </a:cxn>
                <a:cxn ang="0">
                  <a:pos x="60" y="181"/>
                </a:cxn>
                <a:cxn ang="0">
                  <a:pos x="65" y="162"/>
                </a:cxn>
                <a:cxn ang="0">
                  <a:pos x="96" y="166"/>
                </a:cxn>
                <a:cxn ang="0">
                  <a:pos x="117" y="156"/>
                </a:cxn>
                <a:cxn ang="0">
                  <a:pos x="127" y="120"/>
                </a:cxn>
                <a:cxn ang="0">
                  <a:pos x="127" y="93"/>
                </a:cxn>
                <a:cxn ang="0">
                  <a:pos x="133" y="77"/>
                </a:cxn>
                <a:cxn ang="0">
                  <a:pos x="148" y="73"/>
                </a:cxn>
                <a:cxn ang="0">
                  <a:pos x="184" y="80"/>
                </a:cxn>
                <a:cxn ang="0">
                  <a:pos x="212" y="80"/>
                </a:cxn>
                <a:cxn ang="0">
                  <a:pos x="253" y="55"/>
                </a:cxn>
                <a:cxn ang="0">
                  <a:pos x="328" y="65"/>
                </a:cxn>
                <a:cxn ang="0">
                  <a:pos x="400" y="84"/>
                </a:cxn>
                <a:cxn ang="0">
                  <a:pos x="438" y="89"/>
                </a:cxn>
                <a:cxn ang="0">
                  <a:pos x="469" y="89"/>
                </a:cxn>
                <a:cxn ang="0">
                  <a:pos x="485" y="81"/>
                </a:cxn>
                <a:cxn ang="0">
                  <a:pos x="494" y="69"/>
                </a:cxn>
                <a:cxn ang="0">
                  <a:pos x="508" y="13"/>
                </a:cxn>
                <a:cxn ang="0">
                  <a:pos x="518" y="5"/>
                </a:cxn>
                <a:cxn ang="0">
                  <a:pos x="570" y="1"/>
                </a:cxn>
                <a:cxn ang="0">
                  <a:pos x="618" y="27"/>
                </a:cxn>
                <a:cxn ang="0">
                  <a:pos x="617" y="61"/>
                </a:cxn>
                <a:cxn ang="0">
                  <a:pos x="614" y="79"/>
                </a:cxn>
              </a:cxnLst>
              <a:rect l="0" t="0" r="r" b="b"/>
              <a:pathLst>
                <a:path w="620" h="546">
                  <a:moveTo>
                    <a:pt x="614" y="79"/>
                  </a:moveTo>
                  <a:lnTo>
                    <a:pt x="608" y="69"/>
                  </a:lnTo>
                  <a:lnTo>
                    <a:pt x="600" y="61"/>
                  </a:lnTo>
                  <a:lnTo>
                    <a:pt x="596" y="59"/>
                  </a:lnTo>
                  <a:lnTo>
                    <a:pt x="590" y="56"/>
                  </a:lnTo>
                  <a:lnTo>
                    <a:pt x="584" y="55"/>
                  </a:lnTo>
                  <a:lnTo>
                    <a:pt x="577" y="55"/>
                  </a:lnTo>
                  <a:lnTo>
                    <a:pt x="565" y="65"/>
                  </a:lnTo>
                  <a:lnTo>
                    <a:pt x="554" y="77"/>
                  </a:lnTo>
                  <a:lnTo>
                    <a:pt x="544" y="92"/>
                  </a:lnTo>
                  <a:lnTo>
                    <a:pt x="534" y="106"/>
                  </a:lnTo>
                  <a:lnTo>
                    <a:pt x="516" y="140"/>
                  </a:lnTo>
                  <a:lnTo>
                    <a:pt x="498" y="177"/>
                  </a:lnTo>
                  <a:lnTo>
                    <a:pt x="481" y="216"/>
                  </a:lnTo>
                  <a:lnTo>
                    <a:pt x="464" y="254"/>
                  </a:lnTo>
                  <a:lnTo>
                    <a:pt x="446" y="293"/>
                  </a:lnTo>
                  <a:lnTo>
                    <a:pt x="428" y="330"/>
                  </a:lnTo>
                  <a:lnTo>
                    <a:pt x="410" y="360"/>
                  </a:lnTo>
                  <a:lnTo>
                    <a:pt x="392" y="388"/>
                  </a:lnTo>
                  <a:lnTo>
                    <a:pt x="372" y="414"/>
                  </a:lnTo>
                  <a:lnTo>
                    <a:pt x="352" y="440"/>
                  </a:lnTo>
                  <a:lnTo>
                    <a:pt x="329" y="462"/>
                  </a:lnTo>
                  <a:lnTo>
                    <a:pt x="308" y="484"/>
                  </a:lnTo>
                  <a:lnTo>
                    <a:pt x="285" y="502"/>
                  </a:lnTo>
                  <a:lnTo>
                    <a:pt x="262" y="517"/>
                  </a:lnTo>
                  <a:lnTo>
                    <a:pt x="252" y="524"/>
                  </a:lnTo>
                  <a:lnTo>
                    <a:pt x="240" y="530"/>
                  </a:lnTo>
                  <a:lnTo>
                    <a:pt x="229" y="536"/>
                  </a:lnTo>
                  <a:lnTo>
                    <a:pt x="219" y="540"/>
                  </a:lnTo>
                  <a:lnTo>
                    <a:pt x="208" y="542"/>
                  </a:lnTo>
                  <a:lnTo>
                    <a:pt x="199" y="545"/>
                  </a:lnTo>
                  <a:lnTo>
                    <a:pt x="188" y="546"/>
                  </a:lnTo>
                  <a:lnTo>
                    <a:pt x="179" y="546"/>
                  </a:lnTo>
                  <a:lnTo>
                    <a:pt x="171" y="545"/>
                  </a:lnTo>
                  <a:lnTo>
                    <a:pt x="161" y="544"/>
                  </a:lnTo>
                  <a:lnTo>
                    <a:pt x="153" y="540"/>
                  </a:lnTo>
                  <a:lnTo>
                    <a:pt x="145" y="536"/>
                  </a:lnTo>
                  <a:lnTo>
                    <a:pt x="139" y="530"/>
                  </a:lnTo>
                  <a:lnTo>
                    <a:pt x="132" y="524"/>
                  </a:lnTo>
                  <a:lnTo>
                    <a:pt x="125" y="516"/>
                  </a:lnTo>
                  <a:lnTo>
                    <a:pt x="120" y="505"/>
                  </a:lnTo>
                  <a:lnTo>
                    <a:pt x="84" y="432"/>
                  </a:lnTo>
                  <a:lnTo>
                    <a:pt x="64" y="386"/>
                  </a:lnTo>
                  <a:lnTo>
                    <a:pt x="60" y="378"/>
                  </a:lnTo>
                  <a:lnTo>
                    <a:pt x="55" y="372"/>
                  </a:lnTo>
                  <a:lnTo>
                    <a:pt x="49" y="366"/>
                  </a:lnTo>
                  <a:lnTo>
                    <a:pt x="43" y="361"/>
                  </a:lnTo>
                  <a:lnTo>
                    <a:pt x="35" y="357"/>
                  </a:lnTo>
                  <a:lnTo>
                    <a:pt x="24" y="354"/>
                  </a:lnTo>
                  <a:lnTo>
                    <a:pt x="13" y="352"/>
                  </a:lnTo>
                  <a:lnTo>
                    <a:pt x="0" y="349"/>
                  </a:lnTo>
                  <a:lnTo>
                    <a:pt x="8" y="338"/>
                  </a:lnTo>
                  <a:lnTo>
                    <a:pt x="15" y="328"/>
                  </a:lnTo>
                  <a:lnTo>
                    <a:pt x="20" y="318"/>
                  </a:lnTo>
                  <a:lnTo>
                    <a:pt x="24" y="309"/>
                  </a:lnTo>
                  <a:lnTo>
                    <a:pt x="27" y="300"/>
                  </a:lnTo>
                  <a:lnTo>
                    <a:pt x="28" y="289"/>
                  </a:lnTo>
                  <a:lnTo>
                    <a:pt x="29" y="277"/>
                  </a:lnTo>
                  <a:lnTo>
                    <a:pt x="29" y="265"/>
                  </a:lnTo>
                  <a:lnTo>
                    <a:pt x="29" y="254"/>
                  </a:lnTo>
                  <a:lnTo>
                    <a:pt x="29" y="249"/>
                  </a:lnTo>
                  <a:lnTo>
                    <a:pt x="29" y="244"/>
                  </a:lnTo>
                  <a:lnTo>
                    <a:pt x="29" y="234"/>
                  </a:lnTo>
                  <a:lnTo>
                    <a:pt x="31" y="228"/>
                  </a:lnTo>
                  <a:lnTo>
                    <a:pt x="31" y="221"/>
                  </a:lnTo>
                  <a:lnTo>
                    <a:pt x="32" y="216"/>
                  </a:lnTo>
                  <a:lnTo>
                    <a:pt x="35" y="212"/>
                  </a:lnTo>
                  <a:lnTo>
                    <a:pt x="40" y="204"/>
                  </a:lnTo>
                  <a:lnTo>
                    <a:pt x="45" y="198"/>
                  </a:lnTo>
                  <a:lnTo>
                    <a:pt x="52" y="193"/>
                  </a:lnTo>
                  <a:lnTo>
                    <a:pt x="57" y="185"/>
                  </a:lnTo>
                  <a:lnTo>
                    <a:pt x="60" y="181"/>
                  </a:lnTo>
                  <a:lnTo>
                    <a:pt x="63" y="176"/>
                  </a:lnTo>
                  <a:lnTo>
                    <a:pt x="64" y="169"/>
                  </a:lnTo>
                  <a:lnTo>
                    <a:pt x="65" y="162"/>
                  </a:lnTo>
                  <a:lnTo>
                    <a:pt x="84" y="168"/>
                  </a:lnTo>
                  <a:lnTo>
                    <a:pt x="91" y="168"/>
                  </a:lnTo>
                  <a:lnTo>
                    <a:pt x="96" y="166"/>
                  </a:lnTo>
                  <a:lnTo>
                    <a:pt x="103" y="164"/>
                  </a:lnTo>
                  <a:lnTo>
                    <a:pt x="108" y="161"/>
                  </a:lnTo>
                  <a:lnTo>
                    <a:pt x="117" y="156"/>
                  </a:lnTo>
                  <a:lnTo>
                    <a:pt x="127" y="150"/>
                  </a:lnTo>
                  <a:lnTo>
                    <a:pt x="127" y="133"/>
                  </a:lnTo>
                  <a:lnTo>
                    <a:pt x="127" y="120"/>
                  </a:lnTo>
                  <a:lnTo>
                    <a:pt x="127" y="109"/>
                  </a:lnTo>
                  <a:lnTo>
                    <a:pt x="127" y="102"/>
                  </a:lnTo>
                  <a:lnTo>
                    <a:pt x="127" y="93"/>
                  </a:lnTo>
                  <a:lnTo>
                    <a:pt x="128" y="87"/>
                  </a:lnTo>
                  <a:lnTo>
                    <a:pt x="131" y="81"/>
                  </a:lnTo>
                  <a:lnTo>
                    <a:pt x="133" y="77"/>
                  </a:lnTo>
                  <a:lnTo>
                    <a:pt x="137" y="75"/>
                  </a:lnTo>
                  <a:lnTo>
                    <a:pt x="143" y="75"/>
                  </a:lnTo>
                  <a:lnTo>
                    <a:pt x="148" y="73"/>
                  </a:lnTo>
                  <a:lnTo>
                    <a:pt x="155" y="75"/>
                  </a:lnTo>
                  <a:lnTo>
                    <a:pt x="168" y="77"/>
                  </a:lnTo>
                  <a:lnTo>
                    <a:pt x="184" y="80"/>
                  </a:lnTo>
                  <a:lnTo>
                    <a:pt x="193" y="80"/>
                  </a:lnTo>
                  <a:lnTo>
                    <a:pt x="203" y="80"/>
                  </a:lnTo>
                  <a:lnTo>
                    <a:pt x="212" y="80"/>
                  </a:lnTo>
                  <a:lnTo>
                    <a:pt x="223" y="79"/>
                  </a:lnTo>
                  <a:lnTo>
                    <a:pt x="237" y="67"/>
                  </a:lnTo>
                  <a:lnTo>
                    <a:pt x="253" y="55"/>
                  </a:lnTo>
                  <a:lnTo>
                    <a:pt x="278" y="56"/>
                  </a:lnTo>
                  <a:lnTo>
                    <a:pt x="304" y="60"/>
                  </a:lnTo>
                  <a:lnTo>
                    <a:pt x="328" y="65"/>
                  </a:lnTo>
                  <a:lnTo>
                    <a:pt x="352" y="72"/>
                  </a:lnTo>
                  <a:lnTo>
                    <a:pt x="376" y="79"/>
                  </a:lnTo>
                  <a:lnTo>
                    <a:pt x="400" y="84"/>
                  </a:lnTo>
                  <a:lnTo>
                    <a:pt x="412" y="87"/>
                  </a:lnTo>
                  <a:lnTo>
                    <a:pt x="425" y="89"/>
                  </a:lnTo>
                  <a:lnTo>
                    <a:pt x="438" y="89"/>
                  </a:lnTo>
                  <a:lnTo>
                    <a:pt x="452" y="91"/>
                  </a:lnTo>
                  <a:lnTo>
                    <a:pt x="461" y="89"/>
                  </a:lnTo>
                  <a:lnTo>
                    <a:pt x="469" y="89"/>
                  </a:lnTo>
                  <a:lnTo>
                    <a:pt x="476" y="87"/>
                  </a:lnTo>
                  <a:lnTo>
                    <a:pt x="481" y="85"/>
                  </a:lnTo>
                  <a:lnTo>
                    <a:pt x="485" y="81"/>
                  </a:lnTo>
                  <a:lnTo>
                    <a:pt x="489" y="79"/>
                  </a:lnTo>
                  <a:lnTo>
                    <a:pt x="492" y="75"/>
                  </a:lnTo>
                  <a:lnTo>
                    <a:pt x="494" y="69"/>
                  </a:lnTo>
                  <a:lnTo>
                    <a:pt x="500" y="47"/>
                  </a:lnTo>
                  <a:lnTo>
                    <a:pt x="505" y="17"/>
                  </a:lnTo>
                  <a:lnTo>
                    <a:pt x="508" y="13"/>
                  </a:lnTo>
                  <a:lnTo>
                    <a:pt x="510" y="11"/>
                  </a:lnTo>
                  <a:lnTo>
                    <a:pt x="513" y="8"/>
                  </a:lnTo>
                  <a:lnTo>
                    <a:pt x="518" y="5"/>
                  </a:lnTo>
                  <a:lnTo>
                    <a:pt x="529" y="3"/>
                  </a:lnTo>
                  <a:lnTo>
                    <a:pt x="541" y="3"/>
                  </a:lnTo>
                  <a:lnTo>
                    <a:pt x="570" y="1"/>
                  </a:lnTo>
                  <a:lnTo>
                    <a:pt x="596" y="0"/>
                  </a:lnTo>
                  <a:lnTo>
                    <a:pt x="620" y="0"/>
                  </a:lnTo>
                  <a:lnTo>
                    <a:pt x="618" y="27"/>
                  </a:lnTo>
                  <a:lnTo>
                    <a:pt x="617" y="45"/>
                  </a:lnTo>
                  <a:lnTo>
                    <a:pt x="617" y="53"/>
                  </a:lnTo>
                  <a:lnTo>
                    <a:pt x="617" y="61"/>
                  </a:lnTo>
                  <a:lnTo>
                    <a:pt x="618" y="69"/>
                  </a:lnTo>
                  <a:lnTo>
                    <a:pt x="620" y="79"/>
                  </a:lnTo>
                  <a:lnTo>
                    <a:pt x="614" y="7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7" name="Freeform 118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1819275" y="2698750"/>
              <a:ext cx="25400" cy="22225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" y="24"/>
                </a:cxn>
                <a:cxn ang="0">
                  <a:pos x="2" y="19"/>
                </a:cxn>
                <a:cxn ang="0">
                  <a:pos x="6" y="14"/>
                </a:cxn>
                <a:cxn ang="0">
                  <a:pos x="10" y="8"/>
                </a:cxn>
                <a:cxn ang="0">
                  <a:pos x="17" y="6"/>
                </a:cxn>
                <a:cxn ang="0">
                  <a:pos x="22" y="3"/>
                </a:cxn>
                <a:cxn ang="0">
                  <a:pos x="29" y="2"/>
                </a:cxn>
                <a:cxn ang="0">
                  <a:pos x="36" y="0"/>
                </a:cxn>
                <a:cxn ang="0">
                  <a:pos x="42" y="2"/>
                </a:cxn>
                <a:cxn ang="0">
                  <a:pos x="48" y="3"/>
                </a:cxn>
                <a:cxn ang="0">
                  <a:pos x="53" y="6"/>
                </a:cxn>
                <a:cxn ang="0">
                  <a:pos x="58" y="8"/>
                </a:cxn>
                <a:cxn ang="0">
                  <a:pos x="61" y="14"/>
                </a:cxn>
                <a:cxn ang="0">
                  <a:pos x="64" y="19"/>
                </a:cxn>
                <a:cxn ang="0">
                  <a:pos x="65" y="24"/>
                </a:cxn>
                <a:cxn ang="0">
                  <a:pos x="66" y="31"/>
                </a:cxn>
                <a:cxn ang="0">
                  <a:pos x="65" y="39"/>
                </a:cxn>
                <a:cxn ang="0">
                  <a:pos x="64" y="47"/>
                </a:cxn>
                <a:cxn ang="0">
                  <a:pos x="61" y="52"/>
                </a:cxn>
                <a:cxn ang="0">
                  <a:pos x="58" y="58"/>
                </a:cxn>
                <a:cxn ang="0">
                  <a:pos x="53" y="62"/>
                </a:cxn>
                <a:cxn ang="0">
                  <a:pos x="48" y="64"/>
                </a:cxn>
                <a:cxn ang="0">
                  <a:pos x="42" y="66"/>
                </a:cxn>
                <a:cxn ang="0">
                  <a:pos x="36" y="67"/>
                </a:cxn>
                <a:cxn ang="0">
                  <a:pos x="29" y="66"/>
                </a:cxn>
                <a:cxn ang="0">
                  <a:pos x="22" y="64"/>
                </a:cxn>
                <a:cxn ang="0">
                  <a:pos x="17" y="62"/>
                </a:cxn>
                <a:cxn ang="0">
                  <a:pos x="10" y="58"/>
                </a:cxn>
                <a:cxn ang="0">
                  <a:pos x="6" y="52"/>
                </a:cxn>
                <a:cxn ang="0">
                  <a:pos x="2" y="47"/>
                </a:cxn>
                <a:cxn ang="0">
                  <a:pos x="1" y="39"/>
                </a:cxn>
                <a:cxn ang="0">
                  <a:pos x="0" y="31"/>
                </a:cxn>
              </a:cxnLst>
              <a:rect l="0" t="0" r="r" b="b"/>
              <a:pathLst>
                <a:path w="66" h="67">
                  <a:moveTo>
                    <a:pt x="0" y="31"/>
                  </a:moveTo>
                  <a:lnTo>
                    <a:pt x="1" y="24"/>
                  </a:lnTo>
                  <a:lnTo>
                    <a:pt x="2" y="19"/>
                  </a:lnTo>
                  <a:lnTo>
                    <a:pt x="6" y="14"/>
                  </a:lnTo>
                  <a:lnTo>
                    <a:pt x="10" y="8"/>
                  </a:lnTo>
                  <a:lnTo>
                    <a:pt x="17" y="6"/>
                  </a:lnTo>
                  <a:lnTo>
                    <a:pt x="22" y="3"/>
                  </a:lnTo>
                  <a:lnTo>
                    <a:pt x="29" y="2"/>
                  </a:lnTo>
                  <a:lnTo>
                    <a:pt x="36" y="0"/>
                  </a:lnTo>
                  <a:lnTo>
                    <a:pt x="42" y="2"/>
                  </a:lnTo>
                  <a:lnTo>
                    <a:pt x="48" y="3"/>
                  </a:lnTo>
                  <a:lnTo>
                    <a:pt x="53" y="6"/>
                  </a:lnTo>
                  <a:lnTo>
                    <a:pt x="58" y="8"/>
                  </a:lnTo>
                  <a:lnTo>
                    <a:pt x="61" y="14"/>
                  </a:lnTo>
                  <a:lnTo>
                    <a:pt x="64" y="19"/>
                  </a:lnTo>
                  <a:lnTo>
                    <a:pt x="65" y="24"/>
                  </a:lnTo>
                  <a:lnTo>
                    <a:pt x="66" y="31"/>
                  </a:lnTo>
                  <a:lnTo>
                    <a:pt x="65" y="39"/>
                  </a:lnTo>
                  <a:lnTo>
                    <a:pt x="64" y="47"/>
                  </a:lnTo>
                  <a:lnTo>
                    <a:pt x="61" y="52"/>
                  </a:lnTo>
                  <a:lnTo>
                    <a:pt x="58" y="58"/>
                  </a:lnTo>
                  <a:lnTo>
                    <a:pt x="53" y="62"/>
                  </a:lnTo>
                  <a:lnTo>
                    <a:pt x="48" y="64"/>
                  </a:lnTo>
                  <a:lnTo>
                    <a:pt x="42" y="66"/>
                  </a:lnTo>
                  <a:lnTo>
                    <a:pt x="36" y="67"/>
                  </a:lnTo>
                  <a:lnTo>
                    <a:pt x="29" y="66"/>
                  </a:lnTo>
                  <a:lnTo>
                    <a:pt x="22" y="64"/>
                  </a:lnTo>
                  <a:lnTo>
                    <a:pt x="17" y="62"/>
                  </a:lnTo>
                  <a:lnTo>
                    <a:pt x="10" y="58"/>
                  </a:lnTo>
                  <a:lnTo>
                    <a:pt x="6" y="52"/>
                  </a:lnTo>
                  <a:lnTo>
                    <a:pt x="2" y="47"/>
                  </a:lnTo>
                  <a:lnTo>
                    <a:pt x="1" y="39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8" name="Freeform 120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1809750" y="2689225"/>
              <a:ext cx="46038" cy="42863"/>
            </a:xfrm>
            <a:custGeom>
              <a:avLst/>
              <a:gdLst/>
              <a:ahLst/>
              <a:cxnLst>
                <a:cxn ang="0">
                  <a:pos x="0" y="55"/>
                </a:cxn>
                <a:cxn ang="0">
                  <a:pos x="1" y="44"/>
                </a:cxn>
                <a:cxn ang="0">
                  <a:pos x="5" y="34"/>
                </a:cxn>
                <a:cxn ang="0">
                  <a:pos x="9" y="24"/>
                </a:cxn>
                <a:cxn ang="0">
                  <a:pos x="16" y="16"/>
                </a:cxn>
                <a:cxn ang="0">
                  <a:pos x="24" y="10"/>
                </a:cxn>
                <a:cxn ang="0">
                  <a:pos x="33" y="4"/>
                </a:cxn>
                <a:cxn ang="0">
                  <a:pos x="44" y="2"/>
                </a:cxn>
                <a:cxn ang="0">
                  <a:pos x="55" y="0"/>
                </a:cxn>
                <a:cxn ang="0">
                  <a:pos x="65" y="2"/>
                </a:cxn>
                <a:cxn ang="0">
                  <a:pos x="76" y="4"/>
                </a:cxn>
                <a:cxn ang="0">
                  <a:pos x="85" y="10"/>
                </a:cxn>
                <a:cxn ang="0">
                  <a:pos x="93" y="16"/>
                </a:cxn>
                <a:cxn ang="0">
                  <a:pos x="100" y="24"/>
                </a:cxn>
                <a:cxn ang="0">
                  <a:pos x="105" y="34"/>
                </a:cxn>
                <a:cxn ang="0">
                  <a:pos x="108" y="44"/>
                </a:cxn>
                <a:cxn ang="0">
                  <a:pos x="109" y="55"/>
                </a:cxn>
                <a:cxn ang="0">
                  <a:pos x="108" y="66"/>
                </a:cxn>
                <a:cxn ang="0">
                  <a:pos x="105" y="76"/>
                </a:cxn>
                <a:cxn ang="0">
                  <a:pos x="100" y="87"/>
                </a:cxn>
                <a:cxn ang="0">
                  <a:pos x="93" y="96"/>
                </a:cxn>
                <a:cxn ang="0">
                  <a:pos x="85" y="104"/>
                </a:cxn>
                <a:cxn ang="0">
                  <a:pos x="76" y="110"/>
                </a:cxn>
                <a:cxn ang="0">
                  <a:pos x="65" y="114"/>
                </a:cxn>
                <a:cxn ang="0">
                  <a:pos x="55" y="115"/>
                </a:cxn>
                <a:cxn ang="0">
                  <a:pos x="44" y="114"/>
                </a:cxn>
                <a:cxn ang="0">
                  <a:pos x="33" y="11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9" y="87"/>
                </a:cxn>
                <a:cxn ang="0">
                  <a:pos x="5" y="76"/>
                </a:cxn>
                <a:cxn ang="0">
                  <a:pos x="1" y="66"/>
                </a:cxn>
                <a:cxn ang="0">
                  <a:pos x="0" y="55"/>
                </a:cxn>
              </a:cxnLst>
              <a:rect l="0" t="0" r="r" b="b"/>
              <a:pathLst>
                <a:path w="109" h="115">
                  <a:moveTo>
                    <a:pt x="0" y="55"/>
                  </a:moveTo>
                  <a:lnTo>
                    <a:pt x="1" y="44"/>
                  </a:lnTo>
                  <a:lnTo>
                    <a:pt x="5" y="34"/>
                  </a:lnTo>
                  <a:lnTo>
                    <a:pt x="9" y="24"/>
                  </a:lnTo>
                  <a:lnTo>
                    <a:pt x="16" y="16"/>
                  </a:lnTo>
                  <a:lnTo>
                    <a:pt x="24" y="10"/>
                  </a:lnTo>
                  <a:lnTo>
                    <a:pt x="33" y="4"/>
                  </a:lnTo>
                  <a:lnTo>
                    <a:pt x="44" y="2"/>
                  </a:lnTo>
                  <a:lnTo>
                    <a:pt x="55" y="0"/>
                  </a:lnTo>
                  <a:lnTo>
                    <a:pt x="65" y="2"/>
                  </a:lnTo>
                  <a:lnTo>
                    <a:pt x="76" y="4"/>
                  </a:lnTo>
                  <a:lnTo>
                    <a:pt x="85" y="10"/>
                  </a:lnTo>
                  <a:lnTo>
                    <a:pt x="93" y="16"/>
                  </a:lnTo>
                  <a:lnTo>
                    <a:pt x="100" y="24"/>
                  </a:lnTo>
                  <a:lnTo>
                    <a:pt x="105" y="34"/>
                  </a:lnTo>
                  <a:lnTo>
                    <a:pt x="108" y="44"/>
                  </a:lnTo>
                  <a:lnTo>
                    <a:pt x="109" y="55"/>
                  </a:lnTo>
                  <a:lnTo>
                    <a:pt x="108" y="66"/>
                  </a:lnTo>
                  <a:lnTo>
                    <a:pt x="105" y="76"/>
                  </a:lnTo>
                  <a:lnTo>
                    <a:pt x="100" y="87"/>
                  </a:lnTo>
                  <a:lnTo>
                    <a:pt x="93" y="96"/>
                  </a:lnTo>
                  <a:lnTo>
                    <a:pt x="85" y="104"/>
                  </a:lnTo>
                  <a:lnTo>
                    <a:pt x="76" y="110"/>
                  </a:lnTo>
                  <a:lnTo>
                    <a:pt x="65" y="114"/>
                  </a:lnTo>
                  <a:lnTo>
                    <a:pt x="55" y="115"/>
                  </a:lnTo>
                  <a:lnTo>
                    <a:pt x="44" y="114"/>
                  </a:lnTo>
                  <a:lnTo>
                    <a:pt x="33" y="110"/>
                  </a:lnTo>
                  <a:lnTo>
                    <a:pt x="24" y="104"/>
                  </a:lnTo>
                  <a:lnTo>
                    <a:pt x="16" y="96"/>
                  </a:lnTo>
                  <a:lnTo>
                    <a:pt x="9" y="87"/>
                  </a:lnTo>
                  <a:lnTo>
                    <a:pt x="5" y="76"/>
                  </a:lnTo>
                  <a:lnTo>
                    <a:pt x="1" y="66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49" name="Freeform 121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5467350" y="4129088"/>
              <a:ext cx="298450" cy="452437"/>
            </a:xfrm>
            <a:custGeom>
              <a:avLst/>
              <a:gdLst/>
              <a:ahLst/>
              <a:cxnLst>
                <a:cxn ang="0">
                  <a:pos x="649" y="122"/>
                </a:cxn>
                <a:cxn ang="0">
                  <a:pos x="615" y="22"/>
                </a:cxn>
                <a:cxn ang="0">
                  <a:pos x="595" y="0"/>
                </a:cxn>
                <a:cxn ang="0">
                  <a:pos x="567" y="7"/>
                </a:cxn>
                <a:cxn ang="0">
                  <a:pos x="546" y="26"/>
                </a:cxn>
                <a:cxn ang="0">
                  <a:pos x="529" y="78"/>
                </a:cxn>
                <a:cxn ang="0">
                  <a:pos x="543" y="120"/>
                </a:cxn>
                <a:cxn ang="0">
                  <a:pos x="559" y="163"/>
                </a:cxn>
                <a:cxn ang="0">
                  <a:pos x="542" y="238"/>
                </a:cxn>
                <a:cxn ang="0">
                  <a:pos x="517" y="314"/>
                </a:cxn>
                <a:cxn ang="0">
                  <a:pos x="485" y="515"/>
                </a:cxn>
                <a:cxn ang="0">
                  <a:pos x="428" y="595"/>
                </a:cxn>
                <a:cxn ang="0">
                  <a:pos x="425" y="632"/>
                </a:cxn>
                <a:cxn ang="0">
                  <a:pos x="418" y="671"/>
                </a:cxn>
                <a:cxn ang="0">
                  <a:pos x="396" y="692"/>
                </a:cxn>
                <a:cxn ang="0">
                  <a:pos x="356" y="763"/>
                </a:cxn>
                <a:cxn ang="0">
                  <a:pos x="309" y="860"/>
                </a:cxn>
                <a:cxn ang="0">
                  <a:pos x="249" y="953"/>
                </a:cxn>
                <a:cxn ang="0">
                  <a:pos x="197" y="1035"/>
                </a:cxn>
                <a:cxn ang="0">
                  <a:pos x="134" y="1087"/>
                </a:cxn>
                <a:cxn ang="0">
                  <a:pos x="13" y="1168"/>
                </a:cxn>
                <a:cxn ang="0">
                  <a:pos x="0" y="1192"/>
                </a:cxn>
                <a:cxn ang="0">
                  <a:pos x="16" y="1209"/>
                </a:cxn>
                <a:cxn ang="0">
                  <a:pos x="65" y="1216"/>
                </a:cxn>
                <a:cxn ang="0">
                  <a:pos x="141" y="1209"/>
                </a:cxn>
                <a:cxn ang="0">
                  <a:pos x="230" y="1177"/>
                </a:cxn>
                <a:cxn ang="0">
                  <a:pos x="306" y="1124"/>
                </a:cxn>
                <a:cxn ang="0">
                  <a:pos x="337" y="1080"/>
                </a:cxn>
                <a:cxn ang="0">
                  <a:pos x="348" y="1040"/>
                </a:cxn>
                <a:cxn ang="0">
                  <a:pos x="349" y="976"/>
                </a:cxn>
                <a:cxn ang="0">
                  <a:pos x="356" y="936"/>
                </a:cxn>
                <a:cxn ang="0">
                  <a:pos x="386" y="923"/>
                </a:cxn>
                <a:cxn ang="0">
                  <a:pos x="420" y="888"/>
                </a:cxn>
                <a:cxn ang="0">
                  <a:pos x="457" y="832"/>
                </a:cxn>
                <a:cxn ang="0">
                  <a:pos x="522" y="796"/>
                </a:cxn>
                <a:cxn ang="0">
                  <a:pos x="559" y="768"/>
                </a:cxn>
                <a:cxn ang="0">
                  <a:pos x="567" y="725"/>
                </a:cxn>
                <a:cxn ang="0">
                  <a:pos x="574" y="697"/>
                </a:cxn>
                <a:cxn ang="0">
                  <a:pos x="641" y="620"/>
                </a:cxn>
                <a:cxn ang="0">
                  <a:pos x="661" y="579"/>
                </a:cxn>
                <a:cxn ang="0">
                  <a:pos x="658" y="555"/>
                </a:cxn>
                <a:cxn ang="0">
                  <a:pos x="643" y="547"/>
                </a:cxn>
                <a:cxn ang="0">
                  <a:pos x="601" y="538"/>
                </a:cxn>
                <a:cxn ang="0">
                  <a:pos x="609" y="498"/>
                </a:cxn>
                <a:cxn ang="0">
                  <a:pos x="621" y="498"/>
                </a:cxn>
                <a:cxn ang="0">
                  <a:pos x="635" y="494"/>
                </a:cxn>
                <a:cxn ang="0">
                  <a:pos x="659" y="479"/>
                </a:cxn>
                <a:cxn ang="0">
                  <a:pos x="682" y="426"/>
                </a:cxn>
                <a:cxn ang="0">
                  <a:pos x="683" y="380"/>
                </a:cxn>
                <a:cxn ang="0">
                  <a:pos x="658" y="300"/>
                </a:cxn>
                <a:cxn ang="0">
                  <a:pos x="639" y="266"/>
                </a:cxn>
              </a:cxnLst>
              <a:rect l="0" t="0" r="r" b="b"/>
              <a:pathLst>
                <a:path w="686" h="1216">
                  <a:moveTo>
                    <a:pt x="637" y="266"/>
                  </a:moveTo>
                  <a:lnTo>
                    <a:pt x="655" y="151"/>
                  </a:lnTo>
                  <a:lnTo>
                    <a:pt x="654" y="140"/>
                  </a:lnTo>
                  <a:lnTo>
                    <a:pt x="649" y="122"/>
                  </a:lnTo>
                  <a:lnTo>
                    <a:pt x="642" y="98"/>
                  </a:lnTo>
                  <a:lnTo>
                    <a:pt x="634" y="71"/>
                  </a:lnTo>
                  <a:lnTo>
                    <a:pt x="625" y="44"/>
                  </a:lnTo>
                  <a:lnTo>
                    <a:pt x="615" y="22"/>
                  </a:lnTo>
                  <a:lnTo>
                    <a:pt x="610" y="12"/>
                  </a:lnTo>
                  <a:lnTo>
                    <a:pt x="605" y="6"/>
                  </a:lnTo>
                  <a:lnTo>
                    <a:pt x="599" y="2"/>
                  </a:lnTo>
                  <a:lnTo>
                    <a:pt x="595" y="0"/>
                  </a:lnTo>
                  <a:lnTo>
                    <a:pt x="587" y="0"/>
                  </a:lnTo>
                  <a:lnTo>
                    <a:pt x="581" y="2"/>
                  </a:lnTo>
                  <a:lnTo>
                    <a:pt x="573" y="4"/>
                  </a:lnTo>
                  <a:lnTo>
                    <a:pt x="567" y="7"/>
                  </a:lnTo>
                  <a:lnTo>
                    <a:pt x="561" y="11"/>
                  </a:lnTo>
                  <a:lnTo>
                    <a:pt x="555" y="15"/>
                  </a:lnTo>
                  <a:lnTo>
                    <a:pt x="550" y="20"/>
                  </a:lnTo>
                  <a:lnTo>
                    <a:pt x="546" y="26"/>
                  </a:lnTo>
                  <a:lnTo>
                    <a:pt x="539" y="38"/>
                  </a:lnTo>
                  <a:lnTo>
                    <a:pt x="533" y="51"/>
                  </a:lnTo>
                  <a:lnTo>
                    <a:pt x="530" y="64"/>
                  </a:lnTo>
                  <a:lnTo>
                    <a:pt x="529" y="78"/>
                  </a:lnTo>
                  <a:lnTo>
                    <a:pt x="530" y="91"/>
                  </a:lnTo>
                  <a:lnTo>
                    <a:pt x="534" y="102"/>
                  </a:lnTo>
                  <a:lnTo>
                    <a:pt x="538" y="111"/>
                  </a:lnTo>
                  <a:lnTo>
                    <a:pt x="543" y="120"/>
                  </a:lnTo>
                  <a:lnTo>
                    <a:pt x="550" y="130"/>
                  </a:lnTo>
                  <a:lnTo>
                    <a:pt x="554" y="139"/>
                  </a:lnTo>
                  <a:lnTo>
                    <a:pt x="558" y="150"/>
                  </a:lnTo>
                  <a:lnTo>
                    <a:pt x="559" y="163"/>
                  </a:lnTo>
                  <a:lnTo>
                    <a:pt x="558" y="174"/>
                  </a:lnTo>
                  <a:lnTo>
                    <a:pt x="554" y="191"/>
                  </a:lnTo>
                  <a:lnTo>
                    <a:pt x="549" y="214"/>
                  </a:lnTo>
                  <a:lnTo>
                    <a:pt x="542" y="238"/>
                  </a:lnTo>
                  <a:lnTo>
                    <a:pt x="535" y="263"/>
                  </a:lnTo>
                  <a:lnTo>
                    <a:pt x="529" y="284"/>
                  </a:lnTo>
                  <a:lnTo>
                    <a:pt x="522" y="303"/>
                  </a:lnTo>
                  <a:lnTo>
                    <a:pt x="517" y="314"/>
                  </a:lnTo>
                  <a:lnTo>
                    <a:pt x="517" y="464"/>
                  </a:lnTo>
                  <a:lnTo>
                    <a:pt x="506" y="483"/>
                  </a:lnTo>
                  <a:lnTo>
                    <a:pt x="496" y="499"/>
                  </a:lnTo>
                  <a:lnTo>
                    <a:pt x="485" y="515"/>
                  </a:lnTo>
                  <a:lnTo>
                    <a:pt x="474" y="528"/>
                  </a:lnTo>
                  <a:lnTo>
                    <a:pt x="454" y="555"/>
                  </a:lnTo>
                  <a:lnTo>
                    <a:pt x="433" y="584"/>
                  </a:lnTo>
                  <a:lnTo>
                    <a:pt x="428" y="595"/>
                  </a:lnTo>
                  <a:lnTo>
                    <a:pt x="425" y="605"/>
                  </a:lnTo>
                  <a:lnTo>
                    <a:pt x="424" y="615"/>
                  </a:lnTo>
                  <a:lnTo>
                    <a:pt x="425" y="623"/>
                  </a:lnTo>
                  <a:lnTo>
                    <a:pt x="425" y="632"/>
                  </a:lnTo>
                  <a:lnTo>
                    <a:pt x="425" y="641"/>
                  </a:lnTo>
                  <a:lnTo>
                    <a:pt x="424" y="652"/>
                  </a:lnTo>
                  <a:lnTo>
                    <a:pt x="421" y="663"/>
                  </a:lnTo>
                  <a:lnTo>
                    <a:pt x="418" y="671"/>
                  </a:lnTo>
                  <a:lnTo>
                    <a:pt x="413" y="677"/>
                  </a:lnTo>
                  <a:lnTo>
                    <a:pt x="408" y="683"/>
                  </a:lnTo>
                  <a:lnTo>
                    <a:pt x="402" y="687"/>
                  </a:lnTo>
                  <a:lnTo>
                    <a:pt x="396" y="692"/>
                  </a:lnTo>
                  <a:lnTo>
                    <a:pt x="389" y="699"/>
                  </a:lnTo>
                  <a:lnTo>
                    <a:pt x="384" y="707"/>
                  </a:lnTo>
                  <a:lnTo>
                    <a:pt x="378" y="716"/>
                  </a:lnTo>
                  <a:lnTo>
                    <a:pt x="356" y="763"/>
                  </a:lnTo>
                  <a:lnTo>
                    <a:pt x="338" y="803"/>
                  </a:lnTo>
                  <a:lnTo>
                    <a:pt x="330" y="821"/>
                  </a:lnTo>
                  <a:lnTo>
                    <a:pt x="320" y="840"/>
                  </a:lnTo>
                  <a:lnTo>
                    <a:pt x="309" y="860"/>
                  </a:lnTo>
                  <a:lnTo>
                    <a:pt x="294" y="879"/>
                  </a:lnTo>
                  <a:lnTo>
                    <a:pt x="277" y="904"/>
                  </a:lnTo>
                  <a:lnTo>
                    <a:pt x="262" y="929"/>
                  </a:lnTo>
                  <a:lnTo>
                    <a:pt x="249" y="953"/>
                  </a:lnTo>
                  <a:lnTo>
                    <a:pt x="236" y="977"/>
                  </a:lnTo>
                  <a:lnTo>
                    <a:pt x="221" y="1000"/>
                  </a:lnTo>
                  <a:lnTo>
                    <a:pt x="206" y="1023"/>
                  </a:lnTo>
                  <a:lnTo>
                    <a:pt x="197" y="1035"/>
                  </a:lnTo>
                  <a:lnTo>
                    <a:pt x="189" y="1045"/>
                  </a:lnTo>
                  <a:lnTo>
                    <a:pt x="178" y="1056"/>
                  </a:lnTo>
                  <a:lnTo>
                    <a:pt x="168" y="1065"/>
                  </a:lnTo>
                  <a:lnTo>
                    <a:pt x="134" y="1087"/>
                  </a:lnTo>
                  <a:lnTo>
                    <a:pt x="77" y="1121"/>
                  </a:lnTo>
                  <a:lnTo>
                    <a:pt x="48" y="1141"/>
                  </a:lnTo>
                  <a:lnTo>
                    <a:pt x="22" y="1158"/>
                  </a:lnTo>
                  <a:lnTo>
                    <a:pt x="13" y="1168"/>
                  </a:lnTo>
                  <a:lnTo>
                    <a:pt x="5" y="1174"/>
                  </a:lnTo>
                  <a:lnTo>
                    <a:pt x="1" y="1181"/>
                  </a:lnTo>
                  <a:lnTo>
                    <a:pt x="0" y="1186"/>
                  </a:lnTo>
                  <a:lnTo>
                    <a:pt x="0" y="1192"/>
                  </a:lnTo>
                  <a:lnTo>
                    <a:pt x="1" y="1196"/>
                  </a:lnTo>
                  <a:lnTo>
                    <a:pt x="4" y="1200"/>
                  </a:lnTo>
                  <a:lnTo>
                    <a:pt x="8" y="1204"/>
                  </a:lnTo>
                  <a:lnTo>
                    <a:pt x="16" y="1209"/>
                  </a:lnTo>
                  <a:lnTo>
                    <a:pt x="26" y="1213"/>
                  </a:lnTo>
                  <a:lnTo>
                    <a:pt x="40" y="1214"/>
                  </a:lnTo>
                  <a:lnTo>
                    <a:pt x="53" y="1216"/>
                  </a:lnTo>
                  <a:lnTo>
                    <a:pt x="65" y="1216"/>
                  </a:lnTo>
                  <a:lnTo>
                    <a:pt x="77" y="1216"/>
                  </a:lnTo>
                  <a:lnTo>
                    <a:pt x="97" y="1216"/>
                  </a:lnTo>
                  <a:lnTo>
                    <a:pt x="118" y="1213"/>
                  </a:lnTo>
                  <a:lnTo>
                    <a:pt x="141" y="1209"/>
                  </a:lnTo>
                  <a:lnTo>
                    <a:pt x="162" y="1204"/>
                  </a:lnTo>
                  <a:lnTo>
                    <a:pt x="185" y="1196"/>
                  </a:lnTo>
                  <a:lnTo>
                    <a:pt x="208" y="1188"/>
                  </a:lnTo>
                  <a:lnTo>
                    <a:pt x="230" y="1177"/>
                  </a:lnTo>
                  <a:lnTo>
                    <a:pt x="252" y="1166"/>
                  </a:lnTo>
                  <a:lnTo>
                    <a:pt x="272" y="1153"/>
                  </a:lnTo>
                  <a:lnTo>
                    <a:pt x="290" y="1139"/>
                  </a:lnTo>
                  <a:lnTo>
                    <a:pt x="306" y="1124"/>
                  </a:lnTo>
                  <a:lnTo>
                    <a:pt x="321" y="1107"/>
                  </a:lnTo>
                  <a:lnTo>
                    <a:pt x="326" y="1099"/>
                  </a:lnTo>
                  <a:lnTo>
                    <a:pt x="332" y="1089"/>
                  </a:lnTo>
                  <a:lnTo>
                    <a:pt x="337" y="1080"/>
                  </a:lnTo>
                  <a:lnTo>
                    <a:pt x="341" y="1071"/>
                  </a:lnTo>
                  <a:lnTo>
                    <a:pt x="344" y="1061"/>
                  </a:lnTo>
                  <a:lnTo>
                    <a:pt x="346" y="1051"/>
                  </a:lnTo>
                  <a:lnTo>
                    <a:pt x="348" y="1040"/>
                  </a:lnTo>
                  <a:lnTo>
                    <a:pt x="349" y="1029"/>
                  </a:lnTo>
                  <a:lnTo>
                    <a:pt x="349" y="1007"/>
                  </a:lnTo>
                  <a:lnTo>
                    <a:pt x="349" y="989"/>
                  </a:lnTo>
                  <a:lnTo>
                    <a:pt x="349" y="976"/>
                  </a:lnTo>
                  <a:lnTo>
                    <a:pt x="349" y="964"/>
                  </a:lnTo>
                  <a:lnTo>
                    <a:pt x="349" y="951"/>
                  </a:lnTo>
                  <a:lnTo>
                    <a:pt x="352" y="941"/>
                  </a:lnTo>
                  <a:lnTo>
                    <a:pt x="356" y="936"/>
                  </a:lnTo>
                  <a:lnTo>
                    <a:pt x="361" y="932"/>
                  </a:lnTo>
                  <a:lnTo>
                    <a:pt x="368" y="931"/>
                  </a:lnTo>
                  <a:lnTo>
                    <a:pt x="377" y="927"/>
                  </a:lnTo>
                  <a:lnTo>
                    <a:pt x="386" y="923"/>
                  </a:lnTo>
                  <a:lnTo>
                    <a:pt x="397" y="915"/>
                  </a:lnTo>
                  <a:lnTo>
                    <a:pt x="405" y="908"/>
                  </a:lnTo>
                  <a:lnTo>
                    <a:pt x="413" y="899"/>
                  </a:lnTo>
                  <a:lnTo>
                    <a:pt x="420" y="888"/>
                  </a:lnTo>
                  <a:lnTo>
                    <a:pt x="425" y="877"/>
                  </a:lnTo>
                  <a:lnTo>
                    <a:pt x="436" y="857"/>
                  </a:lnTo>
                  <a:lnTo>
                    <a:pt x="445" y="843"/>
                  </a:lnTo>
                  <a:lnTo>
                    <a:pt x="457" y="832"/>
                  </a:lnTo>
                  <a:lnTo>
                    <a:pt x="469" y="824"/>
                  </a:lnTo>
                  <a:lnTo>
                    <a:pt x="482" y="816"/>
                  </a:lnTo>
                  <a:lnTo>
                    <a:pt x="496" y="808"/>
                  </a:lnTo>
                  <a:lnTo>
                    <a:pt x="522" y="796"/>
                  </a:lnTo>
                  <a:lnTo>
                    <a:pt x="547" y="783"/>
                  </a:lnTo>
                  <a:lnTo>
                    <a:pt x="553" y="779"/>
                  </a:lnTo>
                  <a:lnTo>
                    <a:pt x="557" y="773"/>
                  </a:lnTo>
                  <a:lnTo>
                    <a:pt x="559" y="768"/>
                  </a:lnTo>
                  <a:lnTo>
                    <a:pt x="562" y="761"/>
                  </a:lnTo>
                  <a:lnTo>
                    <a:pt x="565" y="749"/>
                  </a:lnTo>
                  <a:lnTo>
                    <a:pt x="566" y="737"/>
                  </a:lnTo>
                  <a:lnTo>
                    <a:pt x="567" y="725"/>
                  </a:lnTo>
                  <a:lnTo>
                    <a:pt x="569" y="713"/>
                  </a:lnTo>
                  <a:lnTo>
                    <a:pt x="570" y="708"/>
                  </a:lnTo>
                  <a:lnTo>
                    <a:pt x="571" y="703"/>
                  </a:lnTo>
                  <a:lnTo>
                    <a:pt x="574" y="697"/>
                  </a:lnTo>
                  <a:lnTo>
                    <a:pt x="577" y="692"/>
                  </a:lnTo>
                  <a:lnTo>
                    <a:pt x="601" y="668"/>
                  </a:lnTo>
                  <a:lnTo>
                    <a:pt x="629" y="637"/>
                  </a:lnTo>
                  <a:lnTo>
                    <a:pt x="641" y="620"/>
                  </a:lnTo>
                  <a:lnTo>
                    <a:pt x="651" y="603"/>
                  </a:lnTo>
                  <a:lnTo>
                    <a:pt x="655" y="595"/>
                  </a:lnTo>
                  <a:lnTo>
                    <a:pt x="659" y="587"/>
                  </a:lnTo>
                  <a:lnTo>
                    <a:pt x="661" y="579"/>
                  </a:lnTo>
                  <a:lnTo>
                    <a:pt x="662" y="572"/>
                  </a:lnTo>
                  <a:lnTo>
                    <a:pt x="661" y="566"/>
                  </a:lnTo>
                  <a:lnTo>
                    <a:pt x="659" y="559"/>
                  </a:lnTo>
                  <a:lnTo>
                    <a:pt x="658" y="555"/>
                  </a:lnTo>
                  <a:lnTo>
                    <a:pt x="654" y="552"/>
                  </a:lnTo>
                  <a:lnTo>
                    <a:pt x="651" y="550"/>
                  </a:lnTo>
                  <a:lnTo>
                    <a:pt x="647" y="548"/>
                  </a:lnTo>
                  <a:lnTo>
                    <a:pt x="643" y="547"/>
                  </a:lnTo>
                  <a:lnTo>
                    <a:pt x="638" y="547"/>
                  </a:lnTo>
                  <a:lnTo>
                    <a:pt x="618" y="551"/>
                  </a:lnTo>
                  <a:lnTo>
                    <a:pt x="601" y="554"/>
                  </a:lnTo>
                  <a:lnTo>
                    <a:pt x="601" y="538"/>
                  </a:lnTo>
                  <a:lnTo>
                    <a:pt x="601" y="522"/>
                  </a:lnTo>
                  <a:lnTo>
                    <a:pt x="601" y="507"/>
                  </a:lnTo>
                  <a:lnTo>
                    <a:pt x="601" y="494"/>
                  </a:lnTo>
                  <a:lnTo>
                    <a:pt x="609" y="498"/>
                  </a:lnTo>
                  <a:lnTo>
                    <a:pt x="614" y="499"/>
                  </a:lnTo>
                  <a:lnTo>
                    <a:pt x="617" y="499"/>
                  </a:lnTo>
                  <a:lnTo>
                    <a:pt x="618" y="499"/>
                  </a:lnTo>
                  <a:lnTo>
                    <a:pt x="621" y="498"/>
                  </a:lnTo>
                  <a:lnTo>
                    <a:pt x="622" y="495"/>
                  </a:lnTo>
                  <a:lnTo>
                    <a:pt x="626" y="495"/>
                  </a:lnTo>
                  <a:lnTo>
                    <a:pt x="631" y="494"/>
                  </a:lnTo>
                  <a:lnTo>
                    <a:pt x="635" y="494"/>
                  </a:lnTo>
                  <a:lnTo>
                    <a:pt x="641" y="492"/>
                  </a:lnTo>
                  <a:lnTo>
                    <a:pt x="645" y="490"/>
                  </a:lnTo>
                  <a:lnTo>
                    <a:pt x="650" y="487"/>
                  </a:lnTo>
                  <a:lnTo>
                    <a:pt x="659" y="479"/>
                  </a:lnTo>
                  <a:lnTo>
                    <a:pt x="667" y="467"/>
                  </a:lnTo>
                  <a:lnTo>
                    <a:pt x="674" y="454"/>
                  </a:lnTo>
                  <a:lnTo>
                    <a:pt x="681" y="435"/>
                  </a:lnTo>
                  <a:lnTo>
                    <a:pt x="682" y="426"/>
                  </a:lnTo>
                  <a:lnTo>
                    <a:pt x="685" y="415"/>
                  </a:lnTo>
                  <a:lnTo>
                    <a:pt x="685" y="403"/>
                  </a:lnTo>
                  <a:lnTo>
                    <a:pt x="686" y="391"/>
                  </a:lnTo>
                  <a:lnTo>
                    <a:pt x="683" y="380"/>
                  </a:lnTo>
                  <a:lnTo>
                    <a:pt x="679" y="364"/>
                  </a:lnTo>
                  <a:lnTo>
                    <a:pt x="674" y="343"/>
                  </a:lnTo>
                  <a:lnTo>
                    <a:pt x="666" y="322"/>
                  </a:lnTo>
                  <a:lnTo>
                    <a:pt x="658" y="300"/>
                  </a:lnTo>
                  <a:lnTo>
                    <a:pt x="650" y="282"/>
                  </a:lnTo>
                  <a:lnTo>
                    <a:pt x="646" y="275"/>
                  </a:lnTo>
                  <a:lnTo>
                    <a:pt x="643" y="270"/>
                  </a:lnTo>
                  <a:lnTo>
                    <a:pt x="639" y="266"/>
                  </a:lnTo>
                  <a:lnTo>
                    <a:pt x="637" y="266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0" name="Freeform 122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1863725" y="2600325"/>
              <a:ext cx="133350" cy="157163"/>
            </a:xfrm>
            <a:custGeom>
              <a:avLst/>
              <a:gdLst/>
              <a:ahLst/>
              <a:cxnLst>
                <a:cxn ang="0">
                  <a:pos x="244" y="21"/>
                </a:cxn>
                <a:cxn ang="0">
                  <a:pos x="222" y="29"/>
                </a:cxn>
                <a:cxn ang="0">
                  <a:pos x="213" y="24"/>
                </a:cxn>
                <a:cxn ang="0">
                  <a:pos x="204" y="11"/>
                </a:cxn>
                <a:cxn ang="0">
                  <a:pos x="190" y="5"/>
                </a:cxn>
                <a:cxn ang="0">
                  <a:pos x="166" y="12"/>
                </a:cxn>
                <a:cxn ang="0">
                  <a:pos x="130" y="17"/>
                </a:cxn>
                <a:cxn ang="0">
                  <a:pos x="116" y="32"/>
                </a:cxn>
                <a:cxn ang="0">
                  <a:pos x="112" y="61"/>
                </a:cxn>
                <a:cxn ang="0">
                  <a:pos x="113" y="89"/>
                </a:cxn>
                <a:cxn ang="0">
                  <a:pos x="112" y="115"/>
                </a:cxn>
                <a:cxn ang="0">
                  <a:pos x="102" y="141"/>
                </a:cxn>
                <a:cxn ang="0">
                  <a:pos x="88" y="168"/>
                </a:cxn>
                <a:cxn ang="0">
                  <a:pos x="61" y="207"/>
                </a:cxn>
                <a:cxn ang="0">
                  <a:pos x="34" y="244"/>
                </a:cxn>
                <a:cxn ang="0">
                  <a:pos x="20" y="271"/>
                </a:cxn>
                <a:cxn ang="0">
                  <a:pos x="8" y="300"/>
                </a:cxn>
                <a:cxn ang="0">
                  <a:pos x="1" y="332"/>
                </a:cxn>
                <a:cxn ang="0">
                  <a:pos x="1" y="353"/>
                </a:cxn>
                <a:cxn ang="0">
                  <a:pos x="13" y="361"/>
                </a:cxn>
                <a:cxn ang="0">
                  <a:pos x="42" y="379"/>
                </a:cxn>
                <a:cxn ang="0">
                  <a:pos x="114" y="415"/>
                </a:cxn>
                <a:cxn ang="0">
                  <a:pos x="174" y="428"/>
                </a:cxn>
                <a:cxn ang="0">
                  <a:pos x="178" y="413"/>
                </a:cxn>
                <a:cxn ang="0">
                  <a:pos x="184" y="404"/>
                </a:cxn>
                <a:cxn ang="0">
                  <a:pos x="190" y="399"/>
                </a:cxn>
                <a:cxn ang="0">
                  <a:pos x="200" y="396"/>
                </a:cxn>
                <a:cxn ang="0">
                  <a:pos x="221" y="393"/>
                </a:cxn>
                <a:cxn ang="0">
                  <a:pos x="248" y="387"/>
                </a:cxn>
                <a:cxn ang="0">
                  <a:pos x="258" y="377"/>
                </a:cxn>
                <a:cxn ang="0">
                  <a:pos x="269" y="364"/>
                </a:cxn>
                <a:cxn ang="0">
                  <a:pos x="289" y="327"/>
                </a:cxn>
                <a:cxn ang="0">
                  <a:pos x="302" y="284"/>
                </a:cxn>
                <a:cxn ang="0">
                  <a:pos x="308" y="241"/>
                </a:cxn>
                <a:cxn ang="0">
                  <a:pos x="305" y="211"/>
                </a:cxn>
                <a:cxn ang="0">
                  <a:pos x="298" y="181"/>
                </a:cxn>
                <a:cxn ang="0">
                  <a:pos x="292" y="152"/>
                </a:cxn>
                <a:cxn ang="0">
                  <a:pos x="289" y="121"/>
                </a:cxn>
                <a:cxn ang="0">
                  <a:pos x="292" y="100"/>
                </a:cxn>
                <a:cxn ang="0">
                  <a:pos x="298" y="81"/>
                </a:cxn>
                <a:cxn ang="0">
                  <a:pos x="305" y="64"/>
                </a:cxn>
                <a:cxn ang="0">
                  <a:pos x="308" y="43"/>
                </a:cxn>
                <a:cxn ang="0">
                  <a:pos x="305" y="29"/>
                </a:cxn>
                <a:cxn ang="0">
                  <a:pos x="305" y="21"/>
                </a:cxn>
                <a:cxn ang="0">
                  <a:pos x="308" y="12"/>
                </a:cxn>
                <a:cxn ang="0">
                  <a:pos x="281" y="12"/>
                </a:cxn>
                <a:cxn ang="0">
                  <a:pos x="260" y="12"/>
                </a:cxn>
              </a:cxnLst>
              <a:rect l="0" t="0" r="r" b="b"/>
              <a:pathLst>
                <a:path w="308" h="428">
                  <a:moveTo>
                    <a:pt x="260" y="12"/>
                  </a:moveTo>
                  <a:lnTo>
                    <a:pt x="244" y="21"/>
                  </a:lnTo>
                  <a:lnTo>
                    <a:pt x="229" y="31"/>
                  </a:lnTo>
                  <a:lnTo>
                    <a:pt x="222" y="29"/>
                  </a:lnTo>
                  <a:lnTo>
                    <a:pt x="217" y="28"/>
                  </a:lnTo>
                  <a:lnTo>
                    <a:pt x="213" y="24"/>
                  </a:lnTo>
                  <a:lnTo>
                    <a:pt x="209" y="20"/>
                  </a:lnTo>
                  <a:lnTo>
                    <a:pt x="204" y="11"/>
                  </a:lnTo>
                  <a:lnTo>
                    <a:pt x="198" y="0"/>
                  </a:lnTo>
                  <a:lnTo>
                    <a:pt x="190" y="5"/>
                  </a:lnTo>
                  <a:lnTo>
                    <a:pt x="180" y="8"/>
                  </a:lnTo>
                  <a:lnTo>
                    <a:pt x="166" y="12"/>
                  </a:lnTo>
                  <a:lnTo>
                    <a:pt x="153" y="15"/>
                  </a:lnTo>
                  <a:lnTo>
                    <a:pt x="130" y="17"/>
                  </a:lnTo>
                  <a:lnTo>
                    <a:pt x="121" y="19"/>
                  </a:lnTo>
                  <a:lnTo>
                    <a:pt x="116" y="32"/>
                  </a:lnTo>
                  <a:lnTo>
                    <a:pt x="113" y="47"/>
                  </a:lnTo>
                  <a:lnTo>
                    <a:pt x="112" y="61"/>
                  </a:lnTo>
                  <a:lnTo>
                    <a:pt x="112" y="75"/>
                  </a:lnTo>
                  <a:lnTo>
                    <a:pt x="113" y="89"/>
                  </a:lnTo>
                  <a:lnTo>
                    <a:pt x="113" y="103"/>
                  </a:lnTo>
                  <a:lnTo>
                    <a:pt x="112" y="115"/>
                  </a:lnTo>
                  <a:lnTo>
                    <a:pt x="109" y="127"/>
                  </a:lnTo>
                  <a:lnTo>
                    <a:pt x="102" y="141"/>
                  </a:lnTo>
                  <a:lnTo>
                    <a:pt x="96" y="155"/>
                  </a:lnTo>
                  <a:lnTo>
                    <a:pt x="88" y="168"/>
                  </a:lnTo>
                  <a:lnTo>
                    <a:pt x="78" y="181"/>
                  </a:lnTo>
                  <a:lnTo>
                    <a:pt x="61" y="207"/>
                  </a:lnTo>
                  <a:lnTo>
                    <a:pt x="44" y="232"/>
                  </a:lnTo>
                  <a:lnTo>
                    <a:pt x="34" y="244"/>
                  </a:lnTo>
                  <a:lnTo>
                    <a:pt x="26" y="257"/>
                  </a:lnTo>
                  <a:lnTo>
                    <a:pt x="20" y="271"/>
                  </a:lnTo>
                  <a:lnTo>
                    <a:pt x="13" y="285"/>
                  </a:lnTo>
                  <a:lnTo>
                    <a:pt x="8" y="300"/>
                  </a:lnTo>
                  <a:lnTo>
                    <a:pt x="4" y="316"/>
                  </a:lnTo>
                  <a:lnTo>
                    <a:pt x="1" y="332"/>
                  </a:lnTo>
                  <a:lnTo>
                    <a:pt x="0" y="349"/>
                  </a:lnTo>
                  <a:lnTo>
                    <a:pt x="1" y="353"/>
                  </a:lnTo>
                  <a:lnTo>
                    <a:pt x="6" y="356"/>
                  </a:lnTo>
                  <a:lnTo>
                    <a:pt x="13" y="361"/>
                  </a:lnTo>
                  <a:lnTo>
                    <a:pt x="21" y="367"/>
                  </a:lnTo>
                  <a:lnTo>
                    <a:pt x="42" y="379"/>
                  </a:lnTo>
                  <a:lnTo>
                    <a:pt x="68" y="391"/>
                  </a:lnTo>
                  <a:lnTo>
                    <a:pt x="114" y="415"/>
                  </a:lnTo>
                  <a:lnTo>
                    <a:pt x="138" y="428"/>
                  </a:lnTo>
                  <a:lnTo>
                    <a:pt x="174" y="428"/>
                  </a:lnTo>
                  <a:lnTo>
                    <a:pt x="176" y="420"/>
                  </a:lnTo>
                  <a:lnTo>
                    <a:pt x="178" y="413"/>
                  </a:lnTo>
                  <a:lnTo>
                    <a:pt x="181" y="408"/>
                  </a:lnTo>
                  <a:lnTo>
                    <a:pt x="184" y="404"/>
                  </a:lnTo>
                  <a:lnTo>
                    <a:pt x="186" y="401"/>
                  </a:lnTo>
                  <a:lnTo>
                    <a:pt x="190" y="399"/>
                  </a:lnTo>
                  <a:lnTo>
                    <a:pt x="196" y="397"/>
                  </a:lnTo>
                  <a:lnTo>
                    <a:pt x="200" y="396"/>
                  </a:lnTo>
                  <a:lnTo>
                    <a:pt x="210" y="395"/>
                  </a:lnTo>
                  <a:lnTo>
                    <a:pt x="221" y="393"/>
                  </a:lnTo>
                  <a:lnTo>
                    <a:pt x="234" y="391"/>
                  </a:lnTo>
                  <a:lnTo>
                    <a:pt x="248" y="387"/>
                  </a:lnTo>
                  <a:lnTo>
                    <a:pt x="253" y="383"/>
                  </a:lnTo>
                  <a:lnTo>
                    <a:pt x="258" y="377"/>
                  </a:lnTo>
                  <a:lnTo>
                    <a:pt x="264" y="371"/>
                  </a:lnTo>
                  <a:lnTo>
                    <a:pt x="269" y="364"/>
                  </a:lnTo>
                  <a:lnTo>
                    <a:pt x="280" y="347"/>
                  </a:lnTo>
                  <a:lnTo>
                    <a:pt x="289" y="327"/>
                  </a:lnTo>
                  <a:lnTo>
                    <a:pt x="296" y="307"/>
                  </a:lnTo>
                  <a:lnTo>
                    <a:pt x="302" y="284"/>
                  </a:lnTo>
                  <a:lnTo>
                    <a:pt x="306" y="263"/>
                  </a:lnTo>
                  <a:lnTo>
                    <a:pt x="308" y="241"/>
                  </a:lnTo>
                  <a:lnTo>
                    <a:pt x="306" y="225"/>
                  </a:lnTo>
                  <a:lnTo>
                    <a:pt x="305" y="211"/>
                  </a:lnTo>
                  <a:lnTo>
                    <a:pt x="301" y="196"/>
                  </a:lnTo>
                  <a:lnTo>
                    <a:pt x="298" y="181"/>
                  </a:lnTo>
                  <a:lnTo>
                    <a:pt x="294" y="167"/>
                  </a:lnTo>
                  <a:lnTo>
                    <a:pt x="292" y="152"/>
                  </a:lnTo>
                  <a:lnTo>
                    <a:pt x="290" y="136"/>
                  </a:lnTo>
                  <a:lnTo>
                    <a:pt x="289" y="121"/>
                  </a:lnTo>
                  <a:lnTo>
                    <a:pt x="290" y="111"/>
                  </a:lnTo>
                  <a:lnTo>
                    <a:pt x="292" y="100"/>
                  </a:lnTo>
                  <a:lnTo>
                    <a:pt x="294" y="91"/>
                  </a:lnTo>
                  <a:lnTo>
                    <a:pt x="298" y="81"/>
                  </a:lnTo>
                  <a:lnTo>
                    <a:pt x="301" y="73"/>
                  </a:lnTo>
                  <a:lnTo>
                    <a:pt x="305" y="64"/>
                  </a:lnTo>
                  <a:lnTo>
                    <a:pt x="306" y="53"/>
                  </a:lnTo>
                  <a:lnTo>
                    <a:pt x="308" y="43"/>
                  </a:lnTo>
                  <a:lnTo>
                    <a:pt x="306" y="37"/>
                  </a:lnTo>
                  <a:lnTo>
                    <a:pt x="305" y="29"/>
                  </a:lnTo>
                  <a:lnTo>
                    <a:pt x="305" y="25"/>
                  </a:lnTo>
                  <a:lnTo>
                    <a:pt x="305" y="21"/>
                  </a:lnTo>
                  <a:lnTo>
                    <a:pt x="305" y="17"/>
                  </a:lnTo>
                  <a:lnTo>
                    <a:pt x="308" y="12"/>
                  </a:lnTo>
                  <a:lnTo>
                    <a:pt x="292" y="12"/>
                  </a:lnTo>
                  <a:lnTo>
                    <a:pt x="281" y="12"/>
                  </a:lnTo>
                  <a:lnTo>
                    <a:pt x="270" y="12"/>
                  </a:lnTo>
                  <a:lnTo>
                    <a:pt x="260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1" name="Freeform 123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2089150" y="2654300"/>
              <a:ext cx="133350" cy="173038"/>
            </a:xfrm>
            <a:custGeom>
              <a:avLst/>
              <a:gdLst/>
              <a:ahLst/>
              <a:cxnLst>
                <a:cxn ang="0">
                  <a:pos x="191" y="305"/>
                </a:cxn>
                <a:cxn ang="0">
                  <a:pos x="199" y="286"/>
                </a:cxn>
                <a:cxn ang="0">
                  <a:pos x="211" y="241"/>
                </a:cxn>
                <a:cxn ang="0">
                  <a:pos x="227" y="214"/>
                </a:cxn>
                <a:cxn ang="0">
                  <a:pos x="269" y="178"/>
                </a:cxn>
                <a:cxn ang="0">
                  <a:pos x="293" y="156"/>
                </a:cxn>
                <a:cxn ang="0">
                  <a:pos x="310" y="126"/>
                </a:cxn>
                <a:cxn ang="0">
                  <a:pos x="313" y="89"/>
                </a:cxn>
                <a:cxn ang="0">
                  <a:pos x="297" y="40"/>
                </a:cxn>
                <a:cxn ang="0">
                  <a:pos x="275" y="6"/>
                </a:cxn>
                <a:cxn ang="0">
                  <a:pos x="259" y="0"/>
                </a:cxn>
                <a:cxn ang="0">
                  <a:pos x="245" y="12"/>
                </a:cxn>
                <a:cxn ang="0">
                  <a:pos x="231" y="36"/>
                </a:cxn>
                <a:cxn ang="0">
                  <a:pos x="230" y="54"/>
                </a:cxn>
                <a:cxn ang="0">
                  <a:pos x="241" y="74"/>
                </a:cxn>
                <a:cxn ang="0">
                  <a:pos x="251" y="102"/>
                </a:cxn>
                <a:cxn ang="0">
                  <a:pos x="251" y="140"/>
                </a:cxn>
                <a:cxn ang="0">
                  <a:pos x="242" y="165"/>
                </a:cxn>
                <a:cxn ang="0">
                  <a:pos x="217" y="174"/>
                </a:cxn>
                <a:cxn ang="0">
                  <a:pos x="203" y="172"/>
                </a:cxn>
                <a:cxn ang="0">
                  <a:pos x="199" y="150"/>
                </a:cxn>
                <a:cxn ang="0">
                  <a:pos x="169" y="157"/>
                </a:cxn>
                <a:cxn ang="0">
                  <a:pos x="157" y="150"/>
                </a:cxn>
                <a:cxn ang="0">
                  <a:pos x="167" y="118"/>
                </a:cxn>
                <a:cxn ang="0">
                  <a:pos x="186" y="78"/>
                </a:cxn>
                <a:cxn ang="0">
                  <a:pos x="175" y="60"/>
                </a:cxn>
                <a:cxn ang="0">
                  <a:pos x="159" y="76"/>
                </a:cxn>
                <a:cxn ang="0">
                  <a:pos x="143" y="102"/>
                </a:cxn>
                <a:cxn ang="0">
                  <a:pos x="131" y="112"/>
                </a:cxn>
                <a:cxn ang="0">
                  <a:pos x="134" y="72"/>
                </a:cxn>
                <a:cxn ang="0">
                  <a:pos x="143" y="52"/>
                </a:cxn>
                <a:cxn ang="0">
                  <a:pos x="137" y="25"/>
                </a:cxn>
                <a:cxn ang="0">
                  <a:pos x="121" y="42"/>
                </a:cxn>
                <a:cxn ang="0">
                  <a:pos x="107" y="105"/>
                </a:cxn>
                <a:cxn ang="0">
                  <a:pos x="102" y="162"/>
                </a:cxn>
                <a:cxn ang="0">
                  <a:pos x="75" y="160"/>
                </a:cxn>
                <a:cxn ang="0">
                  <a:pos x="66" y="150"/>
                </a:cxn>
                <a:cxn ang="0">
                  <a:pos x="55" y="178"/>
                </a:cxn>
                <a:cxn ang="0">
                  <a:pos x="55" y="222"/>
                </a:cxn>
                <a:cxn ang="0">
                  <a:pos x="62" y="268"/>
                </a:cxn>
                <a:cxn ang="0">
                  <a:pos x="66" y="319"/>
                </a:cxn>
                <a:cxn ang="0">
                  <a:pos x="61" y="353"/>
                </a:cxn>
                <a:cxn ang="0">
                  <a:pos x="45" y="374"/>
                </a:cxn>
                <a:cxn ang="0">
                  <a:pos x="21" y="394"/>
                </a:cxn>
                <a:cxn ang="0">
                  <a:pos x="4" y="414"/>
                </a:cxn>
                <a:cxn ang="0">
                  <a:pos x="1" y="431"/>
                </a:cxn>
                <a:cxn ang="0">
                  <a:pos x="12" y="442"/>
                </a:cxn>
                <a:cxn ang="0">
                  <a:pos x="69" y="457"/>
                </a:cxn>
                <a:cxn ang="0">
                  <a:pos x="106" y="455"/>
                </a:cxn>
                <a:cxn ang="0">
                  <a:pos x="123" y="447"/>
                </a:cxn>
                <a:cxn ang="0">
                  <a:pos x="135" y="434"/>
                </a:cxn>
                <a:cxn ang="0">
                  <a:pos x="150" y="397"/>
                </a:cxn>
                <a:cxn ang="0">
                  <a:pos x="162" y="330"/>
                </a:cxn>
                <a:cxn ang="0">
                  <a:pos x="174" y="311"/>
                </a:cxn>
                <a:cxn ang="0">
                  <a:pos x="186" y="307"/>
                </a:cxn>
              </a:cxnLst>
              <a:rect l="0" t="0" r="r" b="b"/>
              <a:pathLst>
                <a:path w="313" h="458">
                  <a:moveTo>
                    <a:pt x="186" y="307"/>
                  </a:moveTo>
                  <a:lnTo>
                    <a:pt x="189" y="306"/>
                  </a:lnTo>
                  <a:lnTo>
                    <a:pt x="191" y="305"/>
                  </a:lnTo>
                  <a:lnTo>
                    <a:pt x="193" y="301"/>
                  </a:lnTo>
                  <a:lnTo>
                    <a:pt x="195" y="297"/>
                  </a:lnTo>
                  <a:lnTo>
                    <a:pt x="199" y="286"/>
                  </a:lnTo>
                  <a:lnTo>
                    <a:pt x="203" y="274"/>
                  </a:lnTo>
                  <a:lnTo>
                    <a:pt x="209" y="252"/>
                  </a:lnTo>
                  <a:lnTo>
                    <a:pt x="211" y="241"/>
                  </a:lnTo>
                  <a:lnTo>
                    <a:pt x="215" y="232"/>
                  </a:lnTo>
                  <a:lnTo>
                    <a:pt x="221" y="222"/>
                  </a:lnTo>
                  <a:lnTo>
                    <a:pt x="227" y="214"/>
                  </a:lnTo>
                  <a:lnTo>
                    <a:pt x="234" y="206"/>
                  </a:lnTo>
                  <a:lnTo>
                    <a:pt x="251" y="193"/>
                  </a:lnTo>
                  <a:lnTo>
                    <a:pt x="269" y="178"/>
                  </a:lnTo>
                  <a:lnTo>
                    <a:pt x="277" y="172"/>
                  </a:lnTo>
                  <a:lnTo>
                    <a:pt x="286" y="164"/>
                  </a:lnTo>
                  <a:lnTo>
                    <a:pt x="293" y="156"/>
                  </a:lnTo>
                  <a:lnTo>
                    <a:pt x="299" y="148"/>
                  </a:lnTo>
                  <a:lnTo>
                    <a:pt x="305" y="137"/>
                  </a:lnTo>
                  <a:lnTo>
                    <a:pt x="310" y="126"/>
                  </a:lnTo>
                  <a:lnTo>
                    <a:pt x="313" y="116"/>
                  </a:lnTo>
                  <a:lnTo>
                    <a:pt x="313" y="102"/>
                  </a:lnTo>
                  <a:lnTo>
                    <a:pt x="313" y="89"/>
                  </a:lnTo>
                  <a:lnTo>
                    <a:pt x="309" y="74"/>
                  </a:lnTo>
                  <a:lnTo>
                    <a:pt x="303" y="57"/>
                  </a:lnTo>
                  <a:lnTo>
                    <a:pt x="297" y="40"/>
                  </a:lnTo>
                  <a:lnTo>
                    <a:pt x="289" y="25"/>
                  </a:lnTo>
                  <a:lnTo>
                    <a:pt x="281" y="12"/>
                  </a:lnTo>
                  <a:lnTo>
                    <a:pt x="275" y="6"/>
                  </a:lnTo>
                  <a:lnTo>
                    <a:pt x="270" y="4"/>
                  </a:lnTo>
                  <a:lnTo>
                    <a:pt x="265" y="1"/>
                  </a:lnTo>
                  <a:lnTo>
                    <a:pt x="259" y="0"/>
                  </a:lnTo>
                  <a:lnTo>
                    <a:pt x="254" y="2"/>
                  </a:lnTo>
                  <a:lnTo>
                    <a:pt x="249" y="6"/>
                  </a:lnTo>
                  <a:lnTo>
                    <a:pt x="245" y="12"/>
                  </a:lnTo>
                  <a:lnTo>
                    <a:pt x="239" y="20"/>
                  </a:lnTo>
                  <a:lnTo>
                    <a:pt x="235" y="28"/>
                  </a:lnTo>
                  <a:lnTo>
                    <a:pt x="231" y="36"/>
                  </a:lnTo>
                  <a:lnTo>
                    <a:pt x="230" y="42"/>
                  </a:lnTo>
                  <a:lnTo>
                    <a:pt x="229" y="48"/>
                  </a:lnTo>
                  <a:lnTo>
                    <a:pt x="230" y="54"/>
                  </a:lnTo>
                  <a:lnTo>
                    <a:pt x="233" y="61"/>
                  </a:lnTo>
                  <a:lnTo>
                    <a:pt x="237" y="68"/>
                  </a:lnTo>
                  <a:lnTo>
                    <a:pt x="241" y="74"/>
                  </a:lnTo>
                  <a:lnTo>
                    <a:pt x="245" y="82"/>
                  </a:lnTo>
                  <a:lnTo>
                    <a:pt x="249" y="92"/>
                  </a:lnTo>
                  <a:lnTo>
                    <a:pt x="251" y="102"/>
                  </a:lnTo>
                  <a:lnTo>
                    <a:pt x="253" y="114"/>
                  </a:lnTo>
                  <a:lnTo>
                    <a:pt x="253" y="128"/>
                  </a:lnTo>
                  <a:lnTo>
                    <a:pt x="251" y="140"/>
                  </a:lnTo>
                  <a:lnTo>
                    <a:pt x="250" y="149"/>
                  </a:lnTo>
                  <a:lnTo>
                    <a:pt x="246" y="158"/>
                  </a:lnTo>
                  <a:lnTo>
                    <a:pt x="242" y="165"/>
                  </a:lnTo>
                  <a:lnTo>
                    <a:pt x="235" y="170"/>
                  </a:lnTo>
                  <a:lnTo>
                    <a:pt x="227" y="174"/>
                  </a:lnTo>
                  <a:lnTo>
                    <a:pt x="217" y="174"/>
                  </a:lnTo>
                  <a:lnTo>
                    <a:pt x="211" y="174"/>
                  </a:lnTo>
                  <a:lnTo>
                    <a:pt x="206" y="173"/>
                  </a:lnTo>
                  <a:lnTo>
                    <a:pt x="203" y="172"/>
                  </a:lnTo>
                  <a:lnTo>
                    <a:pt x="201" y="169"/>
                  </a:lnTo>
                  <a:lnTo>
                    <a:pt x="199" y="162"/>
                  </a:lnTo>
                  <a:lnTo>
                    <a:pt x="199" y="150"/>
                  </a:lnTo>
                  <a:lnTo>
                    <a:pt x="179" y="154"/>
                  </a:lnTo>
                  <a:lnTo>
                    <a:pt x="171" y="157"/>
                  </a:lnTo>
                  <a:lnTo>
                    <a:pt x="169" y="157"/>
                  </a:lnTo>
                  <a:lnTo>
                    <a:pt x="166" y="157"/>
                  </a:lnTo>
                  <a:lnTo>
                    <a:pt x="162" y="154"/>
                  </a:lnTo>
                  <a:lnTo>
                    <a:pt x="157" y="150"/>
                  </a:lnTo>
                  <a:lnTo>
                    <a:pt x="159" y="140"/>
                  </a:lnTo>
                  <a:lnTo>
                    <a:pt x="163" y="129"/>
                  </a:lnTo>
                  <a:lnTo>
                    <a:pt x="167" y="118"/>
                  </a:lnTo>
                  <a:lnTo>
                    <a:pt x="171" y="108"/>
                  </a:lnTo>
                  <a:lnTo>
                    <a:pt x="181" y="90"/>
                  </a:lnTo>
                  <a:lnTo>
                    <a:pt x="186" y="78"/>
                  </a:lnTo>
                  <a:lnTo>
                    <a:pt x="186" y="54"/>
                  </a:lnTo>
                  <a:lnTo>
                    <a:pt x="181" y="57"/>
                  </a:lnTo>
                  <a:lnTo>
                    <a:pt x="175" y="60"/>
                  </a:lnTo>
                  <a:lnTo>
                    <a:pt x="170" y="64"/>
                  </a:lnTo>
                  <a:lnTo>
                    <a:pt x="166" y="68"/>
                  </a:lnTo>
                  <a:lnTo>
                    <a:pt x="159" y="76"/>
                  </a:lnTo>
                  <a:lnTo>
                    <a:pt x="154" y="85"/>
                  </a:lnTo>
                  <a:lnTo>
                    <a:pt x="149" y="93"/>
                  </a:lnTo>
                  <a:lnTo>
                    <a:pt x="143" y="102"/>
                  </a:lnTo>
                  <a:lnTo>
                    <a:pt x="141" y="105"/>
                  </a:lnTo>
                  <a:lnTo>
                    <a:pt x="137" y="109"/>
                  </a:lnTo>
                  <a:lnTo>
                    <a:pt x="131" y="112"/>
                  </a:lnTo>
                  <a:lnTo>
                    <a:pt x="126" y="114"/>
                  </a:lnTo>
                  <a:lnTo>
                    <a:pt x="126" y="78"/>
                  </a:lnTo>
                  <a:lnTo>
                    <a:pt x="134" y="72"/>
                  </a:lnTo>
                  <a:lnTo>
                    <a:pt x="139" y="65"/>
                  </a:lnTo>
                  <a:lnTo>
                    <a:pt x="142" y="60"/>
                  </a:lnTo>
                  <a:lnTo>
                    <a:pt x="143" y="52"/>
                  </a:lnTo>
                  <a:lnTo>
                    <a:pt x="142" y="44"/>
                  </a:lnTo>
                  <a:lnTo>
                    <a:pt x="139" y="36"/>
                  </a:lnTo>
                  <a:lnTo>
                    <a:pt x="137" y="25"/>
                  </a:lnTo>
                  <a:lnTo>
                    <a:pt x="133" y="12"/>
                  </a:lnTo>
                  <a:lnTo>
                    <a:pt x="126" y="25"/>
                  </a:lnTo>
                  <a:lnTo>
                    <a:pt x="121" y="42"/>
                  </a:lnTo>
                  <a:lnTo>
                    <a:pt x="115" y="62"/>
                  </a:lnTo>
                  <a:lnTo>
                    <a:pt x="110" y="82"/>
                  </a:lnTo>
                  <a:lnTo>
                    <a:pt x="107" y="105"/>
                  </a:lnTo>
                  <a:lnTo>
                    <a:pt x="105" y="125"/>
                  </a:lnTo>
                  <a:lnTo>
                    <a:pt x="103" y="145"/>
                  </a:lnTo>
                  <a:lnTo>
                    <a:pt x="102" y="162"/>
                  </a:lnTo>
                  <a:lnTo>
                    <a:pt x="90" y="162"/>
                  </a:lnTo>
                  <a:lnTo>
                    <a:pt x="79" y="161"/>
                  </a:lnTo>
                  <a:lnTo>
                    <a:pt x="75" y="160"/>
                  </a:lnTo>
                  <a:lnTo>
                    <a:pt x="71" y="157"/>
                  </a:lnTo>
                  <a:lnTo>
                    <a:pt x="69" y="154"/>
                  </a:lnTo>
                  <a:lnTo>
                    <a:pt x="66" y="150"/>
                  </a:lnTo>
                  <a:lnTo>
                    <a:pt x="62" y="160"/>
                  </a:lnTo>
                  <a:lnTo>
                    <a:pt x="58" y="169"/>
                  </a:lnTo>
                  <a:lnTo>
                    <a:pt x="55" y="178"/>
                  </a:lnTo>
                  <a:lnTo>
                    <a:pt x="54" y="186"/>
                  </a:lnTo>
                  <a:lnTo>
                    <a:pt x="54" y="206"/>
                  </a:lnTo>
                  <a:lnTo>
                    <a:pt x="55" y="222"/>
                  </a:lnTo>
                  <a:lnTo>
                    <a:pt x="58" y="238"/>
                  </a:lnTo>
                  <a:lnTo>
                    <a:pt x="61" y="253"/>
                  </a:lnTo>
                  <a:lnTo>
                    <a:pt x="62" y="268"/>
                  </a:lnTo>
                  <a:lnTo>
                    <a:pt x="65" y="283"/>
                  </a:lnTo>
                  <a:lnTo>
                    <a:pt x="66" y="301"/>
                  </a:lnTo>
                  <a:lnTo>
                    <a:pt x="66" y="319"/>
                  </a:lnTo>
                  <a:lnTo>
                    <a:pt x="66" y="331"/>
                  </a:lnTo>
                  <a:lnTo>
                    <a:pt x="63" y="343"/>
                  </a:lnTo>
                  <a:lnTo>
                    <a:pt x="61" y="353"/>
                  </a:lnTo>
                  <a:lnTo>
                    <a:pt x="55" y="361"/>
                  </a:lnTo>
                  <a:lnTo>
                    <a:pt x="51" y="367"/>
                  </a:lnTo>
                  <a:lnTo>
                    <a:pt x="45" y="374"/>
                  </a:lnTo>
                  <a:lnTo>
                    <a:pt x="39" y="379"/>
                  </a:lnTo>
                  <a:lnTo>
                    <a:pt x="33" y="385"/>
                  </a:lnTo>
                  <a:lnTo>
                    <a:pt x="21" y="394"/>
                  </a:lnTo>
                  <a:lnTo>
                    <a:pt x="10" y="403"/>
                  </a:lnTo>
                  <a:lnTo>
                    <a:pt x="6" y="409"/>
                  </a:lnTo>
                  <a:lnTo>
                    <a:pt x="4" y="414"/>
                  </a:lnTo>
                  <a:lnTo>
                    <a:pt x="1" y="421"/>
                  </a:lnTo>
                  <a:lnTo>
                    <a:pt x="0" y="427"/>
                  </a:lnTo>
                  <a:lnTo>
                    <a:pt x="1" y="431"/>
                  </a:lnTo>
                  <a:lnTo>
                    <a:pt x="4" y="435"/>
                  </a:lnTo>
                  <a:lnTo>
                    <a:pt x="8" y="439"/>
                  </a:lnTo>
                  <a:lnTo>
                    <a:pt x="12" y="442"/>
                  </a:lnTo>
                  <a:lnTo>
                    <a:pt x="23" y="447"/>
                  </a:lnTo>
                  <a:lnTo>
                    <a:pt x="38" y="451"/>
                  </a:lnTo>
                  <a:lnTo>
                    <a:pt x="69" y="457"/>
                  </a:lnTo>
                  <a:lnTo>
                    <a:pt x="90" y="458"/>
                  </a:lnTo>
                  <a:lnTo>
                    <a:pt x="98" y="457"/>
                  </a:lnTo>
                  <a:lnTo>
                    <a:pt x="106" y="455"/>
                  </a:lnTo>
                  <a:lnTo>
                    <a:pt x="113" y="454"/>
                  </a:lnTo>
                  <a:lnTo>
                    <a:pt x="118" y="451"/>
                  </a:lnTo>
                  <a:lnTo>
                    <a:pt x="123" y="447"/>
                  </a:lnTo>
                  <a:lnTo>
                    <a:pt x="129" y="443"/>
                  </a:lnTo>
                  <a:lnTo>
                    <a:pt x="133" y="439"/>
                  </a:lnTo>
                  <a:lnTo>
                    <a:pt x="135" y="434"/>
                  </a:lnTo>
                  <a:lnTo>
                    <a:pt x="142" y="423"/>
                  </a:lnTo>
                  <a:lnTo>
                    <a:pt x="146" y="410"/>
                  </a:lnTo>
                  <a:lnTo>
                    <a:pt x="150" y="397"/>
                  </a:lnTo>
                  <a:lnTo>
                    <a:pt x="151" y="382"/>
                  </a:lnTo>
                  <a:lnTo>
                    <a:pt x="157" y="354"/>
                  </a:lnTo>
                  <a:lnTo>
                    <a:pt x="162" y="330"/>
                  </a:lnTo>
                  <a:lnTo>
                    <a:pt x="166" y="321"/>
                  </a:lnTo>
                  <a:lnTo>
                    <a:pt x="170" y="314"/>
                  </a:lnTo>
                  <a:lnTo>
                    <a:pt x="174" y="311"/>
                  </a:lnTo>
                  <a:lnTo>
                    <a:pt x="178" y="309"/>
                  </a:lnTo>
                  <a:lnTo>
                    <a:pt x="182" y="307"/>
                  </a:lnTo>
                  <a:lnTo>
                    <a:pt x="186" y="30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2" name="Freeform 124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1096963" y="2581275"/>
              <a:ext cx="57150" cy="33338"/>
            </a:xfrm>
            <a:custGeom>
              <a:avLst/>
              <a:gdLst/>
              <a:ahLst/>
              <a:cxnLst>
                <a:cxn ang="0">
                  <a:pos x="79" y="19"/>
                </a:cxn>
                <a:cxn ang="0">
                  <a:pos x="55" y="19"/>
                </a:cxn>
                <a:cxn ang="0">
                  <a:pos x="34" y="16"/>
                </a:cxn>
                <a:cxn ang="0">
                  <a:pos x="24" y="13"/>
                </a:cxn>
                <a:cxn ang="0">
                  <a:pos x="16" y="11"/>
                </a:cxn>
                <a:cxn ang="0">
                  <a:pos x="8" y="7"/>
                </a:cxn>
                <a:cxn ang="0">
                  <a:pos x="0" y="0"/>
                </a:cxn>
                <a:cxn ang="0">
                  <a:pos x="2" y="19"/>
                </a:cxn>
                <a:cxn ang="0">
                  <a:pos x="3" y="35"/>
                </a:cxn>
                <a:cxn ang="0">
                  <a:pos x="7" y="51"/>
                </a:cxn>
                <a:cxn ang="0">
                  <a:pos x="11" y="64"/>
                </a:cxn>
                <a:cxn ang="0">
                  <a:pos x="14" y="69"/>
                </a:cxn>
                <a:cxn ang="0">
                  <a:pos x="16" y="75"/>
                </a:cxn>
                <a:cxn ang="0">
                  <a:pos x="20" y="80"/>
                </a:cxn>
                <a:cxn ang="0">
                  <a:pos x="24" y="83"/>
                </a:cxn>
                <a:cxn ang="0">
                  <a:pos x="28" y="87"/>
                </a:cxn>
                <a:cxn ang="0">
                  <a:pos x="32" y="89"/>
                </a:cxn>
                <a:cxn ang="0">
                  <a:pos x="38" y="91"/>
                </a:cxn>
                <a:cxn ang="0">
                  <a:pos x="43" y="91"/>
                </a:cxn>
                <a:cxn ang="0">
                  <a:pos x="48" y="91"/>
                </a:cxn>
                <a:cxn ang="0">
                  <a:pos x="55" y="89"/>
                </a:cxn>
                <a:cxn ang="0">
                  <a:pos x="61" y="87"/>
                </a:cxn>
                <a:cxn ang="0">
                  <a:pos x="68" y="84"/>
                </a:cxn>
                <a:cxn ang="0">
                  <a:pos x="81" y="76"/>
                </a:cxn>
                <a:cxn ang="0">
                  <a:pos x="95" y="65"/>
                </a:cxn>
                <a:cxn ang="0">
                  <a:pos x="107" y="55"/>
                </a:cxn>
                <a:cxn ang="0">
                  <a:pos x="119" y="43"/>
                </a:cxn>
                <a:cxn ang="0">
                  <a:pos x="127" y="31"/>
                </a:cxn>
                <a:cxn ang="0">
                  <a:pos x="133" y="19"/>
                </a:cxn>
                <a:cxn ang="0">
                  <a:pos x="117" y="19"/>
                </a:cxn>
                <a:cxn ang="0">
                  <a:pos x="99" y="19"/>
                </a:cxn>
                <a:cxn ang="0">
                  <a:pos x="85" y="19"/>
                </a:cxn>
                <a:cxn ang="0">
                  <a:pos x="79" y="19"/>
                </a:cxn>
              </a:cxnLst>
              <a:rect l="0" t="0" r="r" b="b"/>
              <a:pathLst>
                <a:path w="133" h="91">
                  <a:moveTo>
                    <a:pt x="79" y="19"/>
                  </a:moveTo>
                  <a:lnTo>
                    <a:pt x="55" y="19"/>
                  </a:lnTo>
                  <a:lnTo>
                    <a:pt x="34" y="16"/>
                  </a:lnTo>
                  <a:lnTo>
                    <a:pt x="24" y="13"/>
                  </a:lnTo>
                  <a:lnTo>
                    <a:pt x="16" y="11"/>
                  </a:lnTo>
                  <a:lnTo>
                    <a:pt x="8" y="7"/>
                  </a:lnTo>
                  <a:lnTo>
                    <a:pt x="0" y="0"/>
                  </a:lnTo>
                  <a:lnTo>
                    <a:pt x="2" y="19"/>
                  </a:lnTo>
                  <a:lnTo>
                    <a:pt x="3" y="35"/>
                  </a:lnTo>
                  <a:lnTo>
                    <a:pt x="7" y="51"/>
                  </a:lnTo>
                  <a:lnTo>
                    <a:pt x="11" y="64"/>
                  </a:lnTo>
                  <a:lnTo>
                    <a:pt x="14" y="69"/>
                  </a:lnTo>
                  <a:lnTo>
                    <a:pt x="16" y="75"/>
                  </a:lnTo>
                  <a:lnTo>
                    <a:pt x="20" y="80"/>
                  </a:lnTo>
                  <a:lnTo>
                    <a:pt x="24" y="83"/>
                  </a:lnTo>
                  <a:lnTo>
                    <a:pt x="28" y="87"/>
                  </a:lnTo>
                  <a:lnTo>
                    <a:pt x="32" y="89"/>
                  </a:lnTo>
                  <a:lnTo>
                    <a:pt x="38" y="91"/>
                  </a:lnTo>
                  <a:lnTo>
                    <a:pt x="43" y="91"/>
                  </a:lnTo>
                  <a:lnTo>
                    <a:pt x="48" y="91"/>
                  </a:lnTo>
                  <a:lnTo>
                    <a:pt x="55" y="89"/>
                  </a:lnTo>
                  <a:lnTo>
                    <a:pt x="61" y="87"/>
                  </a:lnTo>
                  <a:lnTo>
                    <a:pt x="68" y="84"/>
                  </a:lnTo>
                  <a:lnTo>
                    <a:pt x="81" y="76"/>
                  </a:lnTo>
                  <a:lnTo>
                    <a:pt x="95" y="65"/>
                  </a:lnTo>
                  <a:lnTo>
                    <a:pt x="107" y="55"/>
                  </a:lnTo>
                  <a:lnTo>
                    <a:pt x="119" y="43"/>
                  </a:lnTo>
                  <a:lnTo>
                    <a:pt x="127" y="31"/>
                  </a:lnTo>
                  <a:lnTo>
                    <a:pt x="133" y="19"/>
                  </a:lnTo>
                  <a:lnTo>
                    <a:pt x="117" y="19"/>
                  </a:lnTo>
                  <a:lnTo>
                    <a:pt x="99" y="19"/>
                  </a:lnTo>
                  <a:lnTo>
                    <a:pt x="85" y="19"/>
                  </a:lnTo>
                  <a:lnTo>
                    <a:pt x="79" y="19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3" name="Freeform 70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1227138" y="3751263"/>
              <a:ext cx="393700" cy="387350"/>
            </a:xfrm>
            <a:custGeom>
              <a:avLst/>
              <a:gdLst/>
              <a:ahLst/>
              <a:cxnLst>
                <a:cxn ang="0">
                  <a:pos x="789" y="57"/>
                </a:cxn>
                <a:cxn ang="0">
                  <a:pos x="711" y="41"/>
                </a:cxn>
                <a:cxn ang="0">
                  <a:pos x="633" y="0"/>
                </a:cxn>
                <a:cxn ang="0">
                  <a:pos x="612" y="12"/>
                </a:cxn>
                <a:cxn ang="0">
                  <a:pos x="605" y="67"/>
                </a:cxn>
                <a:cxn ang="0">
                  <a:pos x="495" y="95"/>
                </a:cxn>
                <a:cxn ang="0">
                  <a:pos x="512" y="145"/>
                </a:cxn>
                <a:cxn ang="0">
                  <a:pos x="439" y="140"/>
                </a:cxn>
                <a:cxn ang="0">
                  <a:pos x="422" y="216"/>
                </a:cxn>
                <a:cxn ang="0">
                  <a:pos x="376" y="277"/>
                </a:cxn>
                <a:cxn ang="0">
                  <a:pos x="310" y="290"/>
                </a:cxn>
                <a:cxn ang="0">
                  <a:pos x="224" y="208"/>
                </a:cxn>
                <a:cxn ang="0">
                  <a:pos x="178" y="215"/>
                </a:cxn>
                <a:cxn ang="0">
                  <a:pos x="142" y="205"/>
                </a:cxn>
                <a:cxn ang="0">
                  <a:pos x="98" y="181"/>
                </a:cxn>
                <a:cxn ang="0">
                  <a:pos x="30" y="220"/>
                </a:cxn>
                <a:cxn ang="0">
                  <a:pos x="38" y="277"/>
                </a:cxn>
                <a:cxn ang="0">
                  <a:pos x="146" y="332"/>
                </a:cxn>
                <a:cxn ang="0">
                  <a:pos x="131" y="365"/>
                </a:cxn>
                <a:cxn ang="0">
                  <a:pos x="42" y="378"/>
                </a:cxn>
                <a:cxn ang="0">
                  <a:pos x="66" y="445"/>
                </a:cxn>
                <a:cxn ang="0">
                  <a:pos x="154" y="470"/>
                </a:cxn>
                <a:cxn ang="0">
                  <a:pos x="199" y="524"/>
                </a:cxn>
                <a:cxn ang="0">
                  <a:pos x="171" y="580"/>
                </a:cxn>
                <a:cxn ang="0">
                  <a:pos x="160" y="645"/>
                </a:cxn>
                <a:cxn ang="0">
                  <a:pos x="218" y="714"/>
                </a:cxn>
                <a:cxn ang="0">
                  <a:pos x="212" y="820"/>
                </a:cxn>
                <a:cxn ang="0">
                  <a:pos x="238" y="820"/>
                </a:cxn>
                <a:cxn ang="0">
                  <a:pos x="288" y="839"/>
                </a:cxn>
                <a:cxn ang="0">
                  <a:pos x="335" y="820"/>
                </a:cxn>
                <a:cxn ang="0">
                  <a:pos x="387" y="843"/>
                </a:cxn>
                <a:cxn ang="0">
                  <a:pos x="415" y="810"/>
                </a:cxn>
                <a:cxn ang="0">
                  <a:pos x="464" y="853"/>
                </a:cxn>
                <a:cxn ang="0">
                  <a:pos x="528" y="929"/>
                </a:cxn>
                <a:cxn ang="0">
                  <a:pos x="553" y="1009"/>
                </a:cxn>
                <a:cxn ang="0">
                  <a:pos x="595" y="1021"/>
                </a:cxn>
                <a:cxn ang="0">
                  <a:pos x="641" y="1035"/>
                </a:cxn>
                <a:cxn ang="0">
                  <a:pos x="663" y="999"/>
                </a:cxn>
                <a:cxn ang="0">
                  <a:pos x="680" y="961"/>
                </a:cxn>
                <a:cxn ang="0">
                  <a:pos x="836" y="887"/>
                </a:cxn>
                <a:cxn ang="0">
                  <a:pos x="820" y="808"/>
                </a:cxn>
                <a:cxn ang="0">
                  <a:pos x="784" y="825"/>
                </a:cxn>
                <a:cxn ang="0">
                  <a:pos x="768" y="802"/>
                </a:cxn>
                <a:cxn ang="0">
                  <a:pos x="733" y="754"/>
                </a:cxn>
                <a:cxn ang="0">
                  <a:pos x="676" y="676"/>
                </a:cxn>
                <a:cxn ang="0">
                  <a:pos x="691" y="602"/>
                </a:cxn>
                <a:cxn ang="0">
                  <a:pos x="679" y="542"/>
                </a:cxn>
                <a:cxn ang="0">
                  <a:pos x="645" y="500"/>
                </a:cxn>
                <a:cxn ang="0">
                  <a:pos x="689" y="446"/>
                </a:cxn>
                <a:cxn ang="0">
                  <a:pos x="768" y="442"/>
                </a:cxn>
                <a:cxn ang="0">
                  <a:pos x="829" y="448"/>
                </a:cxn>
                <a:cxn ang="0">
                  <a:pos x="844" y="368"/>
                </a:cxn>
                <a:cxn ang="0">
                  <a:pos x="851" y="265"/>
                </a:cxn>
                <a:cxn ang="0">
                  <a:pos x="905" y="203"/>
                </a:cxn>
                <a:cxn ang="0">
                  <a:pos x="913" y="135"/>
                </a:cxn>
                <a:cxn ang="0">
                  <a:pos x="881" y="68"/>
                </a:cxn>
              </a:cxnLst>
              <a:rect l="0" t="0" r="r" b="b"/>
              <a:pathLst>
                <a:path w="916" h="1035">
                  <a:moveTo>
                    <a:pt x="849" y="43"/>
                  </a:moveTo>
                  <a:lnTo>
                    <a:pt x="839" y="43"/>
                  </a:lnTo>
                  <a:lnTo>
                    <a:pt x="829" y="45"/>
                  </a:lnTo>
                  <a:lnTo>
                    <a:pt x="820" y="48"/>
                  </a:lnTo>
                  <a:lnTo>
                    <a:pt x="811" y="52"/>
                  </a:lnTo>
                  <a:lnTo>
                    <a:pt x="800" y="55"/>
                  </a:lnTo>
                  <a:lnTo>
                    <a:pt x="789" y="57"/>
                  </a:lnTo>
                  <a:lnTo>
                    <a:pt x="779" y="60"/>
                  </a:lnTo>
                  <a:lnTo>
                    <a:pt x="765" y="60"/>
                  </a:lnTo>
                  <a:lnTo>
                    <a:pt x="753" y="60"/>
                  </a:lnTo>
                  <a:lnTo>
                    <a:pt x="743" y="57"/>
                  </a:lnTo>
                  <a:lnTo>
                    <a:pt x="733" y="55"/>
                  </a:lnTo>
                  <a:lnTo>
                    <a:pt x="725" y="51"/>
                  </a:lnTo>
                  <a:lnTo>
                    <a:pt x="711" y="41"/>
                  </a:lnTo>
                  <a:lnTo>
                    <a:pt x="697" y="31"/>
                  </a:lnTo>
                  <a:lnTo>
                    <a:pt x="684" y="19"/>
                  </a:lnTo>
                  <a:lnTo>
                    <a:pt x="669" y="9"/>
                  </a:lnTo>
                  <a:lnTo>
                    <a:pt x="661" y="5"/>
                  </a:lnTo>
                  <a:lnTo>
                    <a:pt x="653" y="3"/>
                  </a:lnTo>
                  <a:lnTo>
                    <a:pt x="644" y="1"/>
                  </a:lnTo>
                  <a:lnTo>
                    <a:pt x="633" y="0"/>
                  </a:lnTo>
                  <a:lnTo>
                    <a:pt x="627" y="0"/>
                  </a:lnTo>
                  <a:lnTo>
                    <a:pt x="623" y="1"/>
                  </a:lnTo>
                  <a:lnTo>
                    <a:pt x="619" y="3"/>
                  </a:lnTo>
                  <a:lnTo>
                    <a:pt x="616" y="4"/>
                  </a:lnTo>
                  <a:lnTo>
                    <a:pt x="615" y="7"/>
                  </a:lnTo>
                  <a:lnTo>
                    <a:pt x="613" y="9"/>
                  </a:lnTo>
                  <a:lnTo>
                    <a:pt x="612" y="12"/>
                  </a:lnTo>
                  <a:lnTo>
                    <a:pt x="613" y="16"/>
                  </a:lnTo>
                  <a:lnTo>
                    <a:pt x="613" y="24"/>
                  </a:lnTo>
                  <a:lnTo>
                    <a:pt x="615" y="33"/>
                  </a:lnTo>
                  <a:lnTo>
                    <a:pt x="616" y="44"/>
                  </a:lnTo>
                  <a:lnTo>
                    <a:pt x="615" y="55"/>
                  </a:lnTo>
                  <a:lnTo>
                    <a:pt x="611" y="61"/>
                  </a:lnTo>
                  <a:lnTo>
                    <a:pt x="605" y="67"/>
                  </a:lnTo>
                  <a:lnTo>
                    <a:pt x="599" y="71"/>
                  </a:lnTo>
                  <a:lnTo>
                    <a:pt x="593" y="75"/>
                  </a:lnTo>
                  <a:lnTo>
                    <a:pt x="579" y="80"/>
                  </a:lnTo>
                  <a:lnTo>
                    <a:pt x="564" y="83"/>
                  </a:lnTo>
                  <a:lnTo>
                    <a:pt x="531" y="85"/>
                  </a:lnTo>
                  <a:lnTo>
                    <a:pt x="495" y="84"/>
                  </a:lnTo>
                  <a:lnTo>
                    <a:pt x="495" y="95"/>
                  </a:lnTo>
                  <a:lnTo>
                    <a:pt x="498" y="103"/>
                  </a:lnTo>
                  <a:lnTo>
                    <a:pt x="500" y="111"/>
                  </a:lnTo>
                  <a:lnTo>
                    <a:pt x="504" y="117"/>
                  </a:lnTo>
                  <a:lnTo>
                    <a:pt x="507" y="123"/>
                  </a:lnTo>
                  <a:lnTo>
                    <a:pt x="510" y="129"/>
                  </a:lnTo>
                  <a:lnTo>
                    <a:pt x="512" y="136"/>
                  </a:lnTo>
                  <a:lnTo>
                    <a:pt x="512" y="145"/>
                  </a:lnTo>
                  <a:lnTo>
                    <a:pt x="496" y="145"/>
                  </a:lnTo>
                  <a:lnTo>
                    <a:pt x="483" y="145"/>
                  </a:lnTo>
                  <a:lnTo>
                    <a:pt x="472" y="143"/>
                  </a:lnTo>
                  <a:lnTo>
                    <a:pt x="464" y="140"/>
                  </a:lnTo>
                  <a:lnTo>
                    <a:pt x="456" y="139"/>
                  </a:lnTo>
                  <a:lnTo>
                    <a:pt x="448" y="139"/>
                  </a:lnTo>
                  <a:lnTo>
                    <a:pt x="439" y="140"/>
                  </a:lnTo>
                  <a:lnTo>
                    <a:pt x="428" y="145"/>
                  </a:lnTo>
                  <a:lnTo>
                    <a:pt x="428" y="168"/>
                  </a:lnTo>
                  <a:lnTo>
                    <a:pt x="428" y="181"/>
                  </a:lnTo>
                  <a:lnTo>
                    <a:pt x="428" y="189"/>
                  </a:lnTo>
                  <a:lnTo>
                    <a:pt x="427" y="197"/>
                  </a:lnTo>
                  <a:lnTo>
                    <a:pt x="424" y="207"/>
                  </a:lnTo>
                  <a:lnTo>
                    <a:pt x="422" y="216"/>
                  </a:lnTo>
                  <a:lnTo>
                    <a:pt x="416" y="227"/>
                  </a:lnTo>
                  <a:lnTo>
                    <a:pt x="412" y="236"/>
                  </a:lnTo>
                  <a:lnTo>
                    <a:pt x="407" y="245"/>
                  </a:lnTo>
                  <a:lnTo>
                    <a:pt x="400" y="253"/>
                  </a:lnTo>
                  <a:lnTo>
                    <a:pt x="392" y="262"/>
                  </a:lnTo>
                  <a:lnTo>
                    <a:pt x="386" y="270"/>
                  </a:lnTo>
                  <a:lnTo>
                    <a:pt x="376" y="277"/>
                  </a:lnTo>
                  <a:lnTo>
                    <a:pt x="367" y="284"/>
                  </a:lnTo>
                  <a:lnTo>
                    <a:pt x="358" y="288"/>
                  </a:lnTo>
                  <a:lnTo>
                    <a:pt x="348" y="292"/>
                  </a:lnTo>
                  <a:lnTo>
                    <a:pt x="338" y="294"/>
                  </a:lnTo>
                  <a:lnTo>
                    <a:pt x="326" y="296"/>
                  </a:lnTo>
                  <a:lnTo>
                    <a:pt x="318" y="294"/>
                  </a:lnTo>
                  <a:lnTo>
                    <a:pt x="310" y="290"/>
                  </a:lnTo>
                  <a:lnTo>
                    <a:pt x="302" y="286"/>
                  </a:lnTo>
                  <a:lnTo>
                    <a:pt x="294" y="280"/>
                  </a:lnTo>
                  <a:lnTo>
                    <a:pt x="279" y="265"/>
                  </a:lnTo>
                  <a:lnTo>
                    <a:pt x="264" y="247"/>
                  </a:lnTo>
                  <a:lnTo>
                    <a:pt x="250" y="229"/>
                  </a:lnTo>
                  <a:lnTo>
                    <a:pt x="232" y="215"/>
                  </a:lnTo>
                  <a:lnTo>
                    <a:pt x="224" y="208"/>
                  </a:lnTo>
                  <a:lnTo>
                    <a:pt x="215" y="203"/>
                  </a:lnTo>
                  <a:lnTo>
                    <a:pt x="204" y="200"/>
                  </a:lnTo>
                  <a:lnTo>
                    <a:pt x="194" y="199"/>
                  </a:lnTo>
                  <a:lnTo>
                    <a:pt x="190" y="201"/>
                  </a:lnTo>
                  <a:lnTo>
                    <a:pt x="184" y="208"/>
                  </a:lnTo>
                  <a:lnTo>
                    <a:pt x="180" y="212"/>
                  </a:lnTo>
                  <a:lnTo>
                    <a:pt x="178" y="215"/>
                  </a:lnTo>
                  <a:lnTo>
                    <a:pt x="174" y="216"/>
                  </a:lnTo>
                  <a:lnTo>
                    <a:pt x="170" y="217"/>
                  </a:lnTo>
                  <a:lnTo>
                    <a:pt x="164" y="217"/>
                  </a:lnTo>
                  <a:lnTo>
                    <a:pt x="159" y="216"/>
                  </a:lnTo>
                  <a:lnTo>
                    <a:pt x="154" y="213"/>
                  </a:lnTo>
                  <a:lnTo>
                    <a:pt x="150" y="212"/>
                  </a:lnTo>
                  <a:lnTo>
                    <a:pt x="142" y="205"/>
                  </a:lnTo>
                  <a:lnTo>
                    <a:pt x="134" y="199"/>
                  </a:lnTo>
                  <a:lnTo>
                    <a:pt x="126" y="192"/>
                  </a:lnTo>
                  <a:lnTo>
                    <a:pt x="118" y="187"/>
                  </a:lnTo>
                  <a:lnTo>
                    <a:pt x="112" y="184"/>
                  </a:lnTo>
                  <a:lnTo>
                    <a:pt x="108" y="183"/>
                  </a:lnTo>
                  <a:lnTo>
                    <a:pt x="103" y="181"/>
                  </a:lnTo>
                  <a:lnTo>
                    <a:pt x="98" y="181"/>
                  </a:lnTo>
                  <a:lnTo>
                    <a:pt x="91" y="181"/>
                  </a:lnTo>
                  <a:lnTo>
                    <a:pt x="83" y="183"/>
                  </a:lnTo>
                  <a:lnTo>
                    <a:pt x="76" y="185"/>
                  </a:lnTo>
                  <a:lnTo>
                    <a:pt x="70" y="189"/>
                  </a:lnTo>
                  <a:lnTo>
                    <a:pt x="55" y="197"/>
                  </a:lnTo>
                  <a:lnTo>
                    <a:pt x="42" y="208"/>
                  </a:lnTo>
                  <a:lnTo>
                    <a:pt x="30" y="220"/>
                  </a:lnTo>
                  <a:lnTo>
                    <a:pt x="19" y="232"/>
                  </a:lnTo>
                  <a:lnTo>
                    <a:pt x="8" y="243"/>
                  </a:lnTo>
                  <a:lnTo>
                    <a:pt x="0" y="253"/>
                  </a:lnTo>
                  <a:lnTo>
                    <a:pt x="10" y="260"/>
                  </a:lnTo>
                  <a:lnTo>
                    <a:pt x="19" y="266"/>
                  </a:lnTo>
                  <a:lnTo>
                    <a:pt x="28" y="273"/>
                  </a:lnTo>
                  <a:lnTo>
                    <a:pt x="38" y="277"/>
                  </a:lnTo>
                  <a:lnTo>
                    <a:pt x="55" y="285"/>
                  </a:lnTo>
                  <a:lnTo>
                    <a:pt x="72" y="292"/>
                  </a:lnTo>
                  <a:lnTo>
                    <a:pt x="102" y="300"/>
                  </a:lnTo>
                  <a:lnTo>
                    <a:pt x="122" y="308"/>
                  </a:lnTo>
                  <a:lnTo>
                    <a:pt x="131" y="316"/>
                  </a:lnTo>
                  <a:lnTo>
                    <a:pt x="140" y="324"/>
                  </a:lnTo>
                  <a:lnTo>
                    <a:pt x="146" y="332"/>
                  </a:lnTo>
                  <a:lnTo>
                    <a:pt x="150" y="338"/>
                  </a:lnTo>
                  <a:lnTo>
                    <a:pt x="152" y="345"/>
                  </a:lnTo>
                  <a:lnTo>
                    <a:pt x="151" y="350"/>
                  </a:lnTo>
                  <a:lnTo>
                    <a:pt x="150" y="356"/>
                  </a:lnTo>
                  <a:lnTo>
                    <a:pt x="146" y="360"/>
                  </a:lnTo>
                  <a:lnTo>
                    <a:pt x="139" y="362"/>
                  </a:lnTo>
                  <a:lnTo>
                    <a:pt x="131" y="365"/>
                  </a:lnTo>
                  <a:lnTo>
                    <a:pt x="122" y="366"/>
                  </a:lnTo>
                  <a:lnTo>
                    <a:pt x="110" y="368"/>
                  </a:lnTo>
                  <a:lnTo>
                    <a:pt x="96" y="368"/>
                  </a:lnTo>
                  <a:lnTo>
                    <a:pt x="80" y="366"/>
                  </a:lnTo>
                  <a:lnTo>
                    <a:pt x="63" y="364"/>
                  </a:lnTo>
                  <a:lnTo>
                    <a:pt x="43" y="361"/>
                  </a:lnTo>
                  <a:lnTo>
                    <a:pt x="42" y="378"/>
                  </a:lnTo>
                  <a:lnTo>
                    <a:pt x="40" y="398"/>
                  </a:lnTo>
                  <a:lnTo>
                    <a:pt x="40" y="410"/>
                  </a:lnTo>
                  <a:lnTo>
                    <a:pt x="40" y="422"/>
                  </a:lnTo>
                  <a:lnTo>
                    <a:pt x="42" y="434"/>
                  </a:lnTo>
                  <a:lnTo>
                    <a:pt x="43" y="446"/>
                  </a:lnTo>
                  <a:lnTo>
                    <a:pt x="54" y="445"/>
                  </a:lnTo>
                  <a:lnTo>
                    <a:pt x="66" y="445"/>
                  </a:lnTo>
                  <a:lnTo>
                    <a:pt x="78" y="446"/>
                  </a:lnTo>
                  <a:lnTo>
                    <a:pt x="91" y="449"/>
                  </a:lnTo>
                  <a:lnTo>
                    <a:pt x="103" y="452"/>
                  </a:lnTo>
                  <a:lnTo>
                    <a:pt x="116" y="456"/>
                  </a:lnTo>
                  <a:lnTo>
                    <a:pt x="130" y="460"/>
                  </a:lnTo>
                  <a:lnTo>
                    <a:pt x="142" y="465"/>
                  </a:lnTo>
                  <a:lnTo>
                    <a:pt x="154" y="470"/>
                  </a:lnTo>
                  <a:lnTo>
                    <a:pt x="164" y="477"/>
                  </a:lnTo>
                  <a:lnTo>
                    <a:pt x="174" y="484"/>
                  </a:lnTo>
                  <a:lnTo>
                    <a:pt x="183" y="490"/>
                  </a:lnTo>
                  <a:lnTo>
                    <a:pt x="190" y="498"/>
                  </a:lnTo>
                  <a:lnTo>
                    <a:pt x="195" y="506"/>
                  </a:lnTo>
                  <a:lnTo>
                    <a:pt x="199" y="516"/>
                  </a:lnTo>
                  <a:lnTo>
                    <a:pt x="199" y="524"/>
                  </a:lnTo>
                  <a:lnTo>
                    <a:pt x="199" y="530"/>
                  </a:lnTo>
                  <a:lnTo>
                    <a:pt x="198" y="537"/>
                  </a:lnTo>
                  <a:lnTo>
                    <a:pt x="196" y="542"/>
                  </a:lnTo>
                  <a:lnTo>
                    <a:pt x="194" y="548"/>
                  </a:lnTo>
                  <a:lnTo>
                    <a:pt x="186" y="558"/>
                  </a:lnTo>
                  <a:lnTo>
                    <a:pt x="179" y="569"/>
                  </a:lnTo>
                  <a:lnTo>
                    <a:pt x="171" y="580"/>
                  </a:lnTo>
                  <a:lnTo>
                    <a:pt x="164" y="593"/>
                  </a:lnTo>
                  <a:lnTo>
                    <a:pt x="162" y="600"/>
                  </a:lnTo>
                  <a:lnTo>
                    <a:pt x="159" y="608"/>
                  </a:lnTo>
                  <a:lnTo>
                    <a:pt x="158" y="617"/>
                  </a:lnTo>
                  <a:lnTo>
                    <a:pt x="158" y="626"/>
                  </a:lnTo>
                  <a:lnTo>
                    <a:pt x="158" y="636"/>
                  </a:lnTo>
                  <a:lnTo>
                    <a:pt x="160" y="645"/>
                  </a:lnTo>
                  <a:lnTo>
                    <a:pt x="163" y="653"/>
                  </a:lnTo>
                  <a:lnTo>
                    <a:pt x="168" y="660"/>
                  </a:lnTo>
                  <a:lnTo>
                    <a:pt x="179" y="673"/>
                  </a:lnTo>
                  <a:lnTo>
                    <a:pt x="191" y="685"/>
                  </a:lnTo>
                  <a:lnTo>
                    <a:pt x="203" y="696"/>
                  </a:lnTo>
                  <a:lnTo>
                    <a:pt x="214" y="708"/>
                  </a:lnTo>
                  <a:lnTo>
                    <a:pt x="218" y="714"/>
                  </a:lnTo>
                  <a:lnTo>
                    <a:pt x="220" y="720"/>
                  </a:lnTo>
                  <a:lnTo>
                    <a:pt x="223" y="728"/>
                  </a:lnTo>
                  <a:lnTo>
                    <a:pt x="224" y="734"/>
                  </a:lnTo>
                  <a:lnTo>
                    <a:pt x="222" y="757"/>
                  </a:lnTo>
                  <a:lnTo>
                    <a:pt x="218" y="777"/>
                  </a:lnTo>
                  <a:lnTo>
                    <a:pt x="214" y="797"/>
                  </a:lnTo>
                  <a:lnTo>
                    <a:pt x="212" y="820"/>
                  </a:lnTo>
                  <a:lnTo>
                    <a:pt x="212" y="817"/>
                  </a:lnTo>
                  <a:lnTo>
                    <a:pt x="212" y="817"/>
                  </a:lnTo>
                  <a:lnTo>
                    <a:pt x="214" y="817"/>
                  </a:lnTo>
                  <a:lnTo>
                    <a:pt x="216" y="817"/>
                  </a:lnTo>
                  <a:lnTo>
                    <a:pt x="222" y="818"/>
                  </a:lnTo>
                  <a:lnTo>
                    <a:pt x="230" y="820"/>
                  </a:lnTo>
                  <a:lnTo>
                    <a:pt x="238" y="820"/>
                  </a:lnTo>
                  <a:lnTo>
                    <a:pt x="246" y="821"/>
                  </a:lnTo>
                  <a:lnTo>
                    <a:pt x="252" y="824"/>
                  </a:lnTo>
                  <a:lnTo>
                    <a:pt x="259" y="828"/>
                  </a:lnTo>
                  <a:lnTo>
                    <a:pt x="271" y="839"/>
                  </a:lnTo>
                  <a:lnTo>
                    <a:pt x="284" y="855"/>
                  </a:lnTo>
                  <a:lnTo>
                    <a:pt x="286" y="846"/>
                  </a:lnTo>
                  <a:lnTo>
                    <a:pt x="288" y="839"/>
                  </a:lnTo>
                  <a:lnTo>
                    <a:pt x="292" y="833"/>
                  </a:lnTo>
                  <a:lnTo>
                    <a:pt x="298" y="828"/>
                  </a:lnTo>
                  <a:lnTo>
                    <a:pt x="304" y="824"/>
                  </a:lnTo>
                  <a:lnTo>
                    <a:pt x="312" y="821"/>
                  </a:lnTo>
                  <a:lnTo>
                    <a:pt x="319" y="820"/>
                  </a:lnTo>
                  <a:lnTo>
                    <a:pt x="326" y="820"/>
                  </a:lnTo>
                  <a:lnTo>
                    <a:pt x="335" y="820"/>
                  </a:lnTo>
                  <a:lnTo>
                    <a:pt x="343" y="822"/>
                  </a:lnTo>
                  <a:lnTo>
                    <a:pt x="350" y="826"/>
                  </a:lnTo>
                  <a:lnTo>
                    <a:pt x="356" y="832"/>
                  </a:lnTo>
                  <a:lnTo>
                    <a:pt x="363" y="836"/>
                  </a:lnTo>
                  <a:lnTo>
                    <a:pt x="370" y="839"/>
                  </a:lnTo>
                  <a:lnTo>
                    <a:pt x="378" y="842"/>
                  </a:lnTo>
                  <a:lnTo>
                    <a:pt x="387" y="843"/>
                  </a:lnTo>
                  <a:lnTo>
                    <a:pt x="391" y="842"/>
                  </a:lnTo>
                  <a:lnTo>
                    <a:pt x="395" y="842"/>
                  </a:lnTo>
                  <a:lnTo>
                    <a:pt x="398" y="841"/>
                  </a:lnTo>
                  <a:lnTo>
                    <a:pt x="400" y="838"/>
                  </a:lnTo>
                  <a:lnTo>
                    <a:pt x="406" y="833"/>
                  </a:lnTo>
                  <a:lnTo>
                    <a:pt x="408" y="826"/>
                  </a:lnTo>
                  <a:lnTo>
                    <a:pt x="415" y="810"/>
                  </a:lnTo>
                  <a:lnTo>
                    <a:pt x="423" y="796"/>
                  </a:lnTo>
                  <a:lnTo>
                    <a:pt x="447" y="796"/>
                  </a:lnTo>
                  <a:lnTo>
                    <a:pt x="447" y="808"/>
                  </a:lnTo>
                  <a:lnTo>
                    <a:pt x="450" y="821"/>
                  </a:lnTo>
                  <a:lnTo>
                    <a:pt x="454" y="832"/>
                  </a:lnTo>
                  <a:lnTo>
                    <a:pt x="458" y="842"/>
                  </a:lnTo>
                  <a:lnTo>
                    <a:pt x="464" y="853"/>
                  </a:lnTo>
                  <a:lnTo>
                    <a:pt x="471" y="862"/>
                  </a:lnTo>
                  <a:lnTo>
                    <a:pt x="478" y="870"/>
                  </a:lnTo>
                  <a:lnTo>
                    <a:pt x="486" y="879"/>
                  </a:lnTo>
                  <a:lnTo>
                    <a:pt x="500" y="895"/>
                  </a:lnTo>
                  <a:lnTo>
                    <a:pt x="515" y="911"/>
                  </a:lnTo>
                  <a:lnTo>
                    <a:pt x="521" y="919"/>
                  </a:lnTo>
                  <a:lnTo>
                    <a:pt x="528" y="929"/>
                  </a:lnTo>
                  <a:lnTo>
                    <a:pt x="533" y="937"/>
                  </a:lnTo>
                  <a:lnTo>
                    <a:pt x="537" y="946"/>
                  </a:lnTo>
                  <a:lnTo>
                    <a:pt x="543" y="971"/>
                  </a:lnTo>
                  <a:lnTo>
                    <a:pt x="547" y="995"/>
                  </a:lnTo>
                  <a:lnTo>
                    <a:pt x="548" y="999"/>
                  </a:lnTo>
                  <a:lnTo>
                    <a:pt x="551" y="1005"/>
                  </a:lnTo>
                  <a:lnTo>
                    <a:pt x="553" y="1009"/>
                  </a:lnTo>
                  <a:lnTo>
                    <a:pt x="556" y="1011"/>
                  </a:lnTo>
                  <a:lnTo>
                    <a:pt x="560" y="1014"/>
                  </a:lnTo>
                  <a:lnTo>
                    <a:pt x="565" y="1017"/>
                  </a:lnTo>
                  <a:lnTo>
                    <a:pt x="572" y="1017"/>
                  </a:lnTo>
                  <a:lnTo>
                    <a:pt x="579" y="1018"/>
                  </a:lnTo>
                  <a:lnTo>
                    <a:pt x="587" y="1018"/>
                  </a:lnTo>
                  <a:lnTo>
                    <a:pt x="595" y="1021"/>
                  </a:lnTo>
                  <a:lnTo>
                    <a:pt x="601" y="1023"/>
                  </a:lnTo>
                  <a:lnTo>
                    <a:pt x="608" y="1027"/>
                  </a:lnTo>
                  <a:lnTo>
                    <a:pt x="615" y="1030"/>
                  </a:lnTo>
                  <a:lnTo>
                    <a:pt x="620" y="1033"/>
                  </a:lnTo>
                  <a:lnTo>
                    <a:pt x="627" y="1035"/>
                  </a:lnTo>
                  <a:lnTo>
                    <a:pt x="633" y="1035"/>
                  </a:lnTo>
                  <a:lnTo>
                    <a:pt x="641" y="1035"/>
                  </a:lnTo>
                  <a:lnTo>
                    <a:pt x="648" y="1034"/>
                  </a:lnTo>
                  <a:lnTo>
                    <a:pt x="653" y="1030"/>
                  </a:lnTo>
                  <a:lnTo>
                    <a:pt x="657" y="1027"/>
                  </a:lnTo>
                  <a:lnTo>
                    <a:pt x="660" y="1022"/>
                  </a:lnTo>
                  <a:lnTo>
                    <a:pt x="661" y="1015"/>
                  </a:lnTo>
                  <a:lnTo>
                    <a:pt x="663" y="1009"/>
                  </a:lnTo>
                  <a:lnTo>
                    <a:pt x="663" y="999"/>
                  </a:lnTo>
                  <a:lnTo>
                    <a:pt x="667" y="994"/>
                  </a:lnTo>
                  <a:lnTo>
                    <a:pt x="668" y="989"/>
                  </a:lnTo>
                  <a:lnTo>
                    <a:pt x="669" y="982"/>
                  </a:lnTo>
                  <a:lnTo>
                    <a:pt x="671" y="977"/>
                  </a:lnTo>
                  <a:lnTo>
                    <a:pt x="672" y="970"/>
                  </a:lnTo>
                  <a:lnTo>
                    <a:pt x="675" y="965"/>
                  </a:lnTo>
                  <a:lnTo>
                    <a:pt x="680" y="961"/>
                  </a:lnTo>
                  <a:lnTo>
                    <a:pt x="687" y="958"/>
                  </a:lnTo>
                  <a:lnTo>
                    <a:pt x="745" y="938"/>
                  </a:lnTo>
                  <a:lnTo>
                    <a:pt x="797" y="919"/>
                  </a:lnTo>
                  <a:lnTo>
                    <a:pt x="809" y="913"/>
                  </a:lnTo>
                  <a:lnTo>
                    <a:pt x="819" y="906"/>
                  </a:lnTo>
                  <a:lnTo>
                    <a:pt x="828" y="897"/>
                  </a:lnTo>
                  <a:lnTo>
                    <a:pt x="836" y="887"/>
                  </a:lnTo>
                  <a:lnTo>
                    <a:pt x="841" y="875"/>
                  </a:lnTo>
                  <a:lnTo>
                    <a:pt x="847" y="863"/>
                  </a:lnTo>
                  <a:lnTo>
                    <a:pt x="849" y="847"/>
                  </a:lnTo>
                  <a:lnTo>
                    <a:pt x="849" y="832"/>
                  </a:lnTo>
                  <a:lnTo>
                    <a:pt x="849" y="821"/>
                  </a:lnTo>
                  <a:lnTo>
                    <a:pt x="849" y="808"/>
                  </a:lnTo>
                  <a:lnTo>
                    <a:pt x="820" y="808"/>
                  </a:lnTo>
                  <a:lnTo>
                    <a:pt x="813" y="816"/>
                  </a:lnTo>
                  <a:lnTo>
                    <a:pt x="809" y="821"/>
                  </a:lnTo>
                  <a:lnTo>
                    <a:pt x="807" y="822"/>
                  </a:lnTo>
                  <a:lnTo>
                    <a:pt x="803" y="824"/>
                  </a:lnTo>
                  <a:lnTo>
                    <a:pt x="797" y="825"/>
                  </a:lnTo>
                  <a:lnTo>
                    <a:pt x="789" y="825"/>
                  </a:lnTo>
                  <a:lnTo>
                    <a:pt x="784" y="825"/>
                  </a:lnTo>
                  <a:lnTo>
                    <a:pt x="779" y="822"/>
                  </a:lnTo>
                  <a:lnTo>
                    <a:pt x="776" y="820"/>
                  </a:lnTo>
                  <a:lnTo>
                    <a:pt x="773" y="816"/>
                  </a:lnTo>
                  <a:lnTo>
                    <a:pt x="772" y="808"/>
                  </a:lnTo>
                  <a:lnTo>
                    <a:pt x="772" y="801"/>
                  </a:lnTo>
                  <a:lnTo>
                    <a:pt x="771" y="802"/>
                  </a:lnTo>
                  <a:lnTo>
                    <a:pt x="768" y="802"/>
                  </a:lnTo>
                  <a:lnTo>
                    <a:pt x="767" y="798"/>
                  </a:lnTo>
                  <a:lnTo>
                    <a:pt x="765" y="789"/>
                  </a:lnTo>
                  <a:lnTo>
                    <a:pt x="760" y="765"/>
                  </a:lnTo>
                  <a:lnTo>
                    <a:pt x="753" y="764"/>
                  </a:lnTo>
                  <a:lnTo>
                    <a:pt x="747" y="762"/>
                  </a:lnTo>
                  <a:lnTo>
                    <a:pt x="740" y="760"/>
                  </a:lnTo>
                  <a:lnTo>
                    <a:pt x="733" y="754"/>
                  </a:lnTo>
                  <a:lnTo>
                    <a:pt x="720" y="744"/>
                  </a:lnTo>
                  <a:lnTo>
                    <a:pt x="707" y="730"/>
                  </a:lnTo>
                  <a:lnTo>
                    <a:pt x="693" y="714"/>
                  </a:lnTo>
                  <a:lnTo>
                    <a:pt x="684" y="698"/>
                  </a:lnTo>
                  <a:lnTo>
                    <a:pt x="680" y="690"/>
                  </a:lnTo>
                  <a:lnTo>
                    <a:pt x="677" y="684"/>
                  </a:lnTo>
                  <a:lnTo>
                    <a:pt x="676" y="676"/>
                  </a:lnTo>
                  <a:lnTo>
                    <a:pt x="675" y="669"/>
                  </a:lnTo>
                  <a:lnTo>
                    <a:pt x="676" y="656"/>
                  </a:lnTo>
                  <a:lnTo>
                    <a:pt x="679" y="644"/>
                  </a:lnTo>
                  <a:lnTo>
                    <a:pt x="681" y="633"/>
                  </a:lnTo>
                  <a:lnTo>
                    <a:pt x="684" y="624"/>
                  </a:lnTo>
                  <a:lnTo>
                    <a:pt x="688" y="613"/>
                  </a:lnTo>
                  <a:lnTo>
                    <a:pt x="691" y="602"/>
                  </a:lnTo>
                  <a:lnTo>
                    <a:pt x="692" y="590"/>
                  </a:lnTo>
                  <a:lnTo>
                    <a:pt x="693" y="578"/>
                  </a:lnTo>
                  <a:lnTo>
                    <a:pt x="693" y="570"/>
                  </a:lnTo>
                  <a:lnTo>
                    <a:pt x="691" y="564"/>
                  </a:lnTo>
                  <a:lnTo>
                    <a:pt x="689" y="558"/>
                  </a:lnTo>
                  <a:lnTo>
                    <a:pt x="685" y="553"/>
                  </a:lnTo>
                  <a:lnTo>
                    <a:pt x="679" y="542"/>
                  </a:lnTo>
                  <a:lnTo>
                    <a:pt x="669" y="534"/>
                  </a:lnTo>
                  <a:lnTo>
                    <a:pt x="660" y="526"/>
                  </a:lnTo>
                  <a:lnTo>
                    <a:pt x="652" y="518"/>
                  </a:lnTo>
                  <a:lnTo>
                    <a:pt x="649" y="514"/>
                  </a:lnTo>
                  <a:lnTo>
                    <a:pt x="647" y="510"/>
                  </a:lnTo>
                  <a:lnTo>
                    <a:pt x="645" y="505"/>
                  </a:lnTo>
                  <a:lnTo>
                    <a:pt x="645" y="500"/>
                  </a:lnTo>
                  <a:lnTo>
                    <a:pt x="645" y="494"/>
                  </a:lnTo>
                  <a:lnTo>
                    <a:pt x="648" y="489"/>
                  </a:lnTo>
                  <a:lnTo>
                    <a:pt x="651" y="482"/>
                  </a:lnTo>
                  <a:lnTo>
                    <a:pt x="655" y="477"/>
                  </a:lnTo>
                  <a:lnTo>
                    <a:pt x="664" y="466"/>
                  </a:lnTo>
                  <a:lnTo>
                    <a:pt x="676" y="456"/>
                  </a:lnTo>
                  <a:lnTo>
                    <a:pt x="689" y="446"/>
                  </a:lnTo>
                  <a:lnTo>
                    <a:pt x="704" y="440"/>
                  </a:lnTo>
                  <a:lnTo>
                    <a:pt x="717" y="436"/>
                  </a:lnTo>
                  <a:lnTo>
                    <a:pt x="729" y="433"/>
                  </a:lnTo>
                  <a:lnTo>
                    <a:pt x="740" y="434"/>
                  </a:lnTo>
                  <a:lnTo>
                    <a:pt x="751" y="437"/>
                  </a:lnTo>
                  <a:lnTo>
                    <a:pt x="760" y="440"/>
                  </a:lnTo>
                  <a:lnTo>
                    <a:pt x="768" y="442"/>
                  </a:lnTo>
                  <a:lnTo>
                    <a:pt x="777" y="446"/>
                  </a:lnTo>
                  <a:lnTo>
                    <a:pt x="787" y="449"/>
                  </a:lnTo>
                  <a:lnTo>
                    <a:pt x="797" y="450"/>
                  </a:lnTo>
                  <a:lnTo>
                    <a:pt x="808" y="452"/>
                  </a:lnTo>
                  <a:lnTo>
                    <a:pt x="816" y="452"/>
                  </a:lnTo>
                  <a:lnTo>
                    <a:pt x="823" y="450"/>
                  </a:lnTo>
                  <a:lnTo>
                    <a:pt x="829" y="448"/>
                  </a:lnTo>
                  <a:lnTo>
                    <a:pt x="833" y="445"/>
                  </a:lnTo>
                  <a:lnTo>
                    <a:pt x="837" y="441"/>
                  </a:lnTo>
                  <a:lnTo>
                    <a:pt x="840" y="436"/>
                  </a:lnTo>
                  <a:lnTo>
                    <a:pt x="843" y="432"/>
                  </a:lnTo>
                  <a:lnTo>
                    <a:pt x="844" y="425"/>
                  </a:lnTo>
                  <a:lnTo>
                    <a:pt x="845" y="398"/>
                  </a:lnTo>
                  <a:lnTo>
                    <a:pt x="844" y="368"/>
                  </a:lnTo>
                  <a:lnTo>
                    <a:pt x="844" y="354"/>
                  </a:lnTo>
                  <a:lnTo>
                    <a:pt x="844" y="336"/>
                  </a:lnTo>
                  <a:lnTo>
                    <a:pt x="844" y="314"/>
                  </a:lnTo>
                  <a:lnTo>
                    <a:pt x="844" y="296"/>
                  </a:lnTo>
                  <a:lnTo>
                    <a:pt x="845" y="284"/>
                  </a:lnTo>
                  <a:lnTo>
                    <a:pt x="847" y="273"/>
                  </a:lnTo>
                  <a:lnTo>
                    <a:pt x="851" y="265"/>
                  </a:lnTo>
                  <a:lnTo>
                    <a:pt x="855" y="257"/>
                  </a:lnTo>
                  <a:lnTo>
                    <a:pt x="867" y="243"/>
                  </a:lnTo>
                  <a:lnTo>
                    <a:pt x="880" y="231"/>
                  </a:lnTo>
                  <a:lnTo>
                    <a:pt x="887" y="224"/>
                  </a:lnTo>
                  <a:lnTo>
                    <a:pt x="893" y="217"/>
                  </a:lnTo>
                  <a:lnTo>
                    <a:pt x="900" y="211"/>
                  </a:lnTo>
                  <a:lnTo>
                    <a:pt x="905" y="203"/>
                  </a:lnTo>
                  <a:lnTo>
                    <a:pt x="909" y="193"/>
                  </a:lnTo>
                  <a:lnTo>
                    <a:pt x="913" y="183"/>
                  </a:lnTo>
                  <a:lnTo>
                    <a:pt x="916" y="171"/>
                  </a:lnTo>
                  <a:lnTo>
                    <a:pt x="916" y="157"/>
                  </a:lnTo>
                  <a:lnTo>
                    <a:pt x="916" y="149"/>
                  </a:lnTo>
                  <a:lnTo>
                    <a:pt x="915" y="141"/>
                  </a:lnTo>
                  <a:lnTo>
                    <a:pt x="913" y="135"/>
                  </a:lnTo>
                  <a:lnTo>
                    <a:pt x="911" y="128"/>
                  </a:lnTo>
                  <a:lnTo>
                    <a:pt x="905" y="116"/>
                  </a:lnTo>
                  <a:lnTo>
                    <a:pt x="899" y="104"/>
                  </a:lnTo>
                  <a:lnTo>
                    <a:pt x="892" y="92"/>
                  </a:lnTo>
                  <a:lnTo>
                    <a:pt x="885" y="80"/>
                  </a:lnTo>
                  <a:lnTo>
                    <a:pt x="884" y="73"/>
                  </a:lnTo>
                  <a:lnTo>
                    <a:pt x="881" y="68"/>
                  </a:lnTo>
                  <a:lnTo>
                    <a:pt x="880" y="61"/>
                  </a:lnTo>
                  <a:lnTo>
                    <a:pt x="880" y="55"/>
                  </a:lnTo>
                  <a:lnTo>
                    <a:pt x="877" y="52"/>
                  </a:lnTo>
                  <a:lnTo>
                    <a:pt x="869" y="48"/>
                  </a:lnTo>
                  <a:lnTo>
                    <a:pt x="860" y="44"/>
                  </a:lnTo>
                  <a:lnTo>
                    <a:pt x="849" y="4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4" name="Freeform 93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2465388" y="3689350"/>
              <a:ext cx="411162" cy="485775"/>
            </a:xfrm>
            <a:custGeom>
              <a:avLst/>
              <a:gdLst/>
              <a:ahLst/>
              <a:cxnLst>
                <a:cxn ang="0">
                  <a:pos x="540" y="1113"/>
                </a:cxn>
                <a:cxn ang="0">
                  <a:pos x="614" y="1001"/>
                </a:cxn>
                <a:cxn ang="0">
                  <a:pos x="641" y="916"/>
                </a:cxn>
                <a:cxn ang="0">
                  <a:pos x="750" y="844"/>
                </a:cxn>
                <a:cxn ang="0">
                  <a:pos x="791" y="859"/>
                </a:cxn>
                <a:cxn ang="0">
                  <a:pos x="838" y="813"/>
                </a:cxn>
                <a:cxn ang="0">
                  <a:pos x="850" y="697"/>
                </a:cxn>
                <a:cxn ang="0">
                  <a:pos x="750" y="717"/>
                </a:cxn>
                <a:cxn ang="0">
                  <a:pos x="671" y="695"/>
                </a:cxn>
                <a:cxn ang="0">
                  <a:pos x="597" y="672"/>
                </a:cxn>
                <a:cxn ang="0">
                  <a:pos x="566" y="597"/>
                </a:cxn>
                <a:cxn ang="0">
                  <a:pos x="568" y="513"/>
                </a:cxn>
                <a:cxn ang="0">
                  <a:pos x="600" y="477"/>
                </a:cxn>
                <a:cxn ang="0">
                  <a:pos x="681" y="473"/>
                </a:cxn>
                <a:cxn ang="0">
                  <a:pos x="701" y="511"/>
                </a:cxn>
                <a:cxn ang="0">
                  <a:pos x="666" y="560"/>
                </a:cxn>
                <a:cxn ang="0">
                  <a:pos x="725" y="573"/>
                </a:cxn>
                <a:cxn ang="0">
                  <a:pos x="762" y="608"/>
                </a:cxn>
                <a:cxn ang="0">
                  <a:pos x="795" y="571"/>
                </a:cxn>
                <a:cxn ang="0">
                  <a:pos x="919" y="552"/>
                </a:cxn>
                <a:cxn ang="0">
                  <a:pos x="913" y="488"/>
                </a:cxn>
                <a:cxn ang="0">
                  <a:pos x="938" y="390"/>
                </a:cxn>
                <a:cxn ang="0">
                  <a:pos x="946" y="351"/>
                </a:cxn>
                <a:cxn ang="0">
                  <a:pos x="883" y="364"/>
                </a:cxn>
                <a:cxn ang="0">
                  <a:pos x="785" y="310"/>
                </a:cxn>
                <a:cxn ang="0">
                  <a:pos x="731" y="235"/>
                </a:cxn>
                <a:cxn ang="0">
                  <a:pos x="673" y="235"/>
                </a:cxn>
                <a:cxn ang="0">
                  <a:pos x="649" y="203"/>
                </a:cxn>
                <a:cxn ang="0">
                  <a:pos x="626" y="148"/>
                </a:cxn>
                <a:cxn ang="0">
                  <a:pos x="581" y="115"/>
                </a:cxn>
                <a:cxn ang="0">
                  <a:pos x="530" y="100"/>
                </a:cxn>
                <a:cxn ang="0">
                  <a:pos x="472" y="76"/>
                </a:cxn>
                <a:cxn ang="0">
                  <a:pos x="436" y="0"/>
                </a:cxn>
                <a:cxn ang="0">
                  <a:pos x="332" y="58"/>
                </a:cxn>
                <a:cxn ang="0">
                  <a:pos x="261" y="70"/>
                </a:cxn>
                <a:cxn ang="0">
                  <a:pos x="286" y="128"/>
                </a:cxn>
                <a:cxn ang="0">
                  <a:pos x="289" y="164"/>
                </a:cxn>
                <a:cxn ang="0">
                  <a:pos x="216" y="199"/>
                </a:cxn>
                <a:cxn ang="0">
                  <a:pos x="108" y="235"/>
                </a:cxn>
                <a:cxn ang="0">
                  <a:pos x="120" y="300"/>
                </a:cxn>
                <a:cxn ang="0">
                  <a:pos x="57" y="367"/>
                </a:cxn>
                <a:cxn ang="0">
                  <a:pos x="4" y="437"/>
                </a:cxn>
                <a:cxn ang="0">
                  <a:pos x="12" y="609"/>
                </a:cxn>
                <a:cxn ang="0">
                  <a:pos x="69" y="741"/>
                </a:cxn>
                <a:cxn ang="0">
                  <a:pos x="100" y="889"/>
                </a:cxn>
                <a:cxn ang="0">
                  <a:pos x="108" y="972"/>
                </a:cxn>
                <a:cxn ang="0">
                  <a:pos x="149" y="960"/>
                </a:cxn>
                <a:cxn ang="0">
                  <a:pos x="194" y="973"/>
                </a:cxn>
                <a:cxn ang="0">
                  <a:pos x="208" y="1028"/>
                </a:cxn>
                <a:cxn ang="0">
                  <a:pos x="150" y="1062"/>
                </a:cxn>
                <a:cxn ang="0">
                  <a:pos x="160" y="1094"/>
                </a:cxn>
                <a:cxn ang="0">
                  <a:pos x="184" y="1138"/>
                </a:cxn>
                <a:cxn ang="0">
                  <a:pos x="164" y="1181"/>
                </a:cxn>
                <a:cxn ang="0">
                  <a:pos x="164" y="1221"/>
                </a:cxn>
                <a:cxn ang="0">
                  <a:pos x="246" y="1258"/>
                </a:cxn>
                <a:cxn ang="0">
                  <a:pos x="292" y="1241"/>
                </a:cxn>
                <a:cxn ang="0">
                  <a:pos x="352" y="1282"/>
                </a:cxn>
                <a:cxn ang="0">
                  <a:pos x="410" y="1298"/>
                </a:cxn>
                <a:cxn ang="0">
                  <a:pos x="508" y="1210"/>
                </a:cxn>
              </a:cxnLst>
              <a:rect l="0" t="0" r="r" b="b"/>
              <a:pathLst>
                <a:path w="954" h="1301">
                  <a:moveTo>
                    <a:pt x="516" y="1174"/>
                  </a:moveTo>
                  <a:lnTo>
                    <a:pt x="516" y="1165"/>
                  </a:lnTo>
                  <a:lnTo>
                    <a:pt x="517" y="1156"/>
                  </a:lnTo>
                  <a:lnTo>
                    <a:pt x="520" y="1148"/>
                  </a:lnTo>
                  <a:lnTo>
                    <a:pt x="522" y="1140"/>
                  </a:lnTo>
                  <a:lnTo>
                    <a:pt x="530" y="1125"/>
                  </a:lnTo>
                  <a:lnTo>
                    <a:pt x="540" y="1113"/>
                  </a:lnTo>
                  <a:lnTo>
                    <a:pt x="564" y="1088"/>
                  </a:lnTo>
                  <a:lnTo>
                    <a:pt x="588" y="1060"/>
                  </a:lnTo>
                  <a:lnTo>
                    <a:pt x="596" y="1048"/>
                  </a:lnTo>
                  <a:lnTo>
                    <a:pt x="602" y="1037"/>
                  </a:lnTo>
                  <a:lnTo>
                    <a:pt x="606" y="1028"/>
                  </a:lnTo>
                  <a:lnTo>
                    <a:pt x="610" y="1018"/>
                  </a:lnTo>
                  <a:lnTo>
                    <a:pt x="614" y="1001"/>
                  </a:lnTo>
                  <a:lnTo>
                    <a:pt x="617" y="985"/>
                  </a:lnTo>
                  <a:lnTo>
                    <a:pt x="618" y="971"/>
                  </a:lnTo>
                  <a:lnTo>
                    <a:pt x="622" y="955"/>
                  </a:lnTo>
                  <a:lnTo>
                    <a:pt x="625" y="945"/>
                  </a:lnTo>
                  <a:lnTo>
                    <a:pt x="629" y="936"/>
                  </a:lnTo>
                  <a:lnTo>
                    <a:pt x="634" y="927"/>
                  </a:lnTo>
                  <a:lnTo>
                    <a:pt x="641" y="916"/>
                  </a:lnTo>
                  <a:lnTo>
                    <a:pt x="661" y="900"/>
                  </a:lnTo>
                  <a:lnTo>
                    <a:pt x="694" y="875"/>
                  </a:lnTo>
                  <a:lnTo>
                    <a:pt x="713" y="863"/>
                  </a:lnTo>
                  <a:lnTo>
                    <a:pt x="730" y="853"/>
                  </a:lnTo>
                  <a:lnTo>
                    <a:pt x="737" y="849"/>
                  </a:lnTo>
                  <a:lnTo>
                    <a:pt x="745" y="847"/>
                  </a:lnTo>
                  <a:lnTo>
                    <a:pt x="750" y="844"/>
                  </a:lnTo>
                  <a:lnTo>
                    <a:pt x="755" y="844"/>
                  </a:lnTo>
                  <a:lnTo>
                    <a:pt x="762" y="844"/>
                  </a:lnTo>
                  <a:lnTo>
                    <a:pt x="769" y="847"/>
                  </a:lnTo>
                  <a:lnTo>
                    <a:pt x="774" y="849"/>
                  </a:lnTo>
                  <a:lnTo>
                    <a:pt x="779" y="852"/>
                  </a:lnTo>
                  <a:lnTo>
                    <a:pt x="786" y="856"/>
                  </a:lnTo>
                  <a:lnTo>
                    <a:pt x="791" y="859"/>
                  </a:lnTo>
                  <a:lnTo>
                    <a:pt x="798" y="861"/>
                  </a:lnTo>
                  <a:lnTo>
                    <a:pt x="803" y="861"/>
                  </a:lnTo>
                  <a:lnTo>
                    <a:pt x="807" y="860"/>
                  </a:lnTo>
                  <a:lnTo>
                    <a:pt x="813" y="855"/>
                  </a:lnTo>
                  <a:lnTo>
                    <a:pt x="818" y="848"/>
                  </a:lnTo>
                  <a:lnTo>
                    <a:pt x="825" y="837"/>
                  </a:lnTo>
                  <a:lnTo>
                    <a:pt x="838" y="813"/>
                  </a:lnTo>
                  <a:lnTo>
                    <a:pt x="853" y="784"/>
                  </a:lnTo>
                  <a:lnTo>
                    <a:pt x="866" y="755"/>
                  </a:lnTo>
                  <a:lnTo>
                    <a:pt x="878" y="727"/>
                  </a:lnTo>
                  <a:lnTo>
                    <a:pt x="886" y="705"/>
                  </a:lnTo>
                  <a:lnTo>
                    <a:pt x="889" y="693"/>
                  </a:lnTo>
                  <a:lnTo>
                    <a:pt x="858" y="693"/>
                  </a:lnTo>
                  <a:lnTo>
                    <a:pt x="850" y="697"/>
                  </a:lnTo>
                  <a:lnTo>
                    <a:pt x="841" y="701"/>
                  </a:lnTo>
                  <a:lnTo>
                    <a:pt x="829" y="705"/>
                  </a:lnTo>
                  <a:lnTo>
                    <a:pt x="815" y="709"/>
                  </a:lnTo>
                  <a:lnTo>
                    <a:pt x="801" y="712"/>
                  </a:lnTo>
                  <a:lnTo>
                    <a:pt x="785" y="715"/>
                  </a:lnTo>
                  <a:lnTo>
                    <a:pt x="767" y="716"/>
                  </a:lnTo>
                  <a:lnTo>
                    <a:pt x="750" y="717"/>
                  </a:lnTo>
                  <a:lnTo>
                    <a:pt x="735" y="716"/>
                  </a:lnTo>
                  <a:lnTo>
                    <a:pt x="723" y="713"/>
                  </a:lnTo>
                  <a:lnTo>
                    <a:pt x="713" y="709"/>
                  </a:lnTo>
                  <a:lnTo>
                    <a:pt x="702" y="705"/>
                  </a:lnTo>
                  <a:lnTo>
                    <a:pt x="693" y="700"/>
                  </a:lnTo>
                  <a:lnTo>
                    <a:pt x="683" y="697"/>
                  </a:lnTo>
                  <a:lnTo>
                    <a:pt x="671" y="695"/>
                  </a:lnTo>
                  <a:lnTo>
                    <a:pt x="660" y="693"/>
                  </a:lnTo>
                  <a:lnTo>
                    <a:pt x="646" y="692"/>
                  </a:lnTo>
                  <a:lnTo>
                    <a:pt x="634" y="691"/>
                  </a:lnTo>
                  <a:lnTo>
                    <a:pt x="624" y="688"/>
                  </a:lnTo>
                  <a:lnTo>
                    <a:pt x="614" y="684"/>
                  </a:lnTo>
                  <a:lnTo>
                    <a:pt x="605" y="679"/>
                  </a:lnTo>
                  <a:lnTo>
                    <a:pt x="597" y="672"/>
                  </a:lnTo>
                  <a:lnTo>
                    <a:pt x="590" y="665"/>
                  </a:lnTo>
                  <a:lnTo>
                    <a:pt x="585" y="657"/>
                  </a:lnTo>
                  <a:lnTo>
                    <a:pt x="580" y="647"/>
                  </a:lnTo>
                  <a:lnTo>
                    <a:pt x="574" y="636"/>
                  </a:lnTo>
                  <a:lnTo>
                    <a:pt x="572" y="624"/>
                  </a:lnTo>
                  <a:lnTo>
                    <a:pt x="568" y="612"/>
                  </a:lnTo>
                  <a:lnTo>
                    <a:pt x="566" y="597"/>
                  </a:lnTo>
                  <a:lnTo>
                    <a:pt x="565" y="583"/>
                  </a:lnTo>
                  <a:lnTo>
                    <a:pt x="564" y="565"/>
                  </a:lnTo>
                  <a:lnTo>
                    <a:pt x="564" y="548"/>
                  </a:lnTo>
                  <a:lnTo>
                    <a:pt x="564" y="539"/>
                  </a:lnTo>
                  <a:lnTo>
                    <a:pt x="565" y="529"/>
                  </a:lnTo>
                  <a:lnTo>
                    <a:pt x="566" y="521"/>
                  </a:lnTo>
                  <a:lnTo>
                    <a:pt x="568" y="513"/>
                  </a:lnTo>
                  <a:lnTo>
                    <a:pt x="570" y="507"/>
                  </a:lnTo>
                  <a:lnTo>
                    <a:pt x="574" y="500"/>
                  </a:lnTo>
                  <a:lnTo>
                    <a:pt x="577" y="495"/>
                  </a:lnTo>
                  <a:lnTo>
                    <a:pt x="582" y="489"/>
                  </a:lnTo>
                  <a:lnTo>
                    <a:pt x="588" y="484"/>
                  </a:lnTo>
                  <a:lnTo>
                    <a:pt x="593" y="480"/>
                  </a:lnTo>
                  <a:lnTo>
                    <a:pt x="600" y="477"/>
                  </a:lnTo>
                  <a:lnTo>
                    <a:pt x="606" y="475"/>
                  </a:lnTo>
                  <a:lnTo>
                    <a:pt x="622" y="471"/>
                  </a:lnTo>
                  <a:lnTo>
                    <a:pt x="641" y="471"/>
                  </a:lnTo>
                  <a:lnTo>
                    <a:pt x="652" y="471"/>
                  </a:lnTo>
                  <a:lnTo>
                    <a:pt x="661" y="471"/>
                  </a:lnTo>
                  <a:lnTo>
                    <a:pt x="671" y="472"/>
                  </a:lnTo>
                  <a:lnTo>
                    <a:pt x="681" y="473"/>
                  </a:lnTo>
                  <a:lnTo>
                    <a:pt x="689" y="477"/>
                  </a:lnTo>
                  <a:lnTo>
                    <a:pt x="695" y="483"/>
                  </a:lnTo>
                  <a:lnTo>
                    <a:pt x="698" y="487"/>
                  </a:lnTo>
                  <a:lnTo>
                    <a:pt x="699" y="491"/>
                  </a:lnTo>
                  <a:lnTo>
                    <a:pt x="701" y="495"/>
                  </a:lnTo>
                  <a:lnTo>
                    <a:pt x="702" y="500"/>
                  </a:lnTo>
                  <a:lnTo>
                    <a:pt x="701" y="511"/>
                  </a:lnTo>
                  <a:lnTo>
                    <a:pt x="698" y="519"/>
                  </a:lnTo>
                  <a:lnTo>
                    <a:pt x="693" y="524"/>
                  </a:lnTo>
                  <a:lnTo>
                    <a:pt x="687" y="531"/>
                  </a:lnTo>
                  <a:lnTo>
                    <a:pt x="682" y="536"/>
                  </a:lnTo>
                  <a:lnTo>
                    <a:pt x="677" y="543"/>
                  </a:lnTo>
                  <a:lnTo>
                    <a:pt x="670" y="551"/>
                  </a:lnTo>
                  <a:lnTo>
                    <a:pt x="666" y="560"/>
                  </a:lnTo>
                  <a:lnTo>
                    <a:pt x="674" y="564"/>
                  </a:lnTo>
                  <a:lnTo>
                    <a:pt x="681" y="565"/>
                  </a:lnTo>
                  <a:lnTo>
                    <a:pt x="687" y="565"/>
                  </a:lnTo>
                  <a:lnTo>
                    <a:pt x="693" y="565"/>
                  </a:lnTo>
                  <a:lnTo>
                    <a:pt x="705" y="563"/>
                  </a:lnTo>
                  <a:lnTo>
                    <a:pt x="719" y="560"/>
                  </a:lnTo>
                  <a:lnTo>
                    <a:pt x="725" y="573"/>
                  </a:lnTo>
                  <a:lnTo>
                    <a:pt x="731" y="589"/>
                  </a:lnTo>
                  <a:lnTo>
                    <a:pt x="737" y="596"/>
                  </a:lnTo>
                  <a:lnTo>
                    <a:pt x="743" y="603"/>
                  </a:lnTo>
                  <a:lnTo>
                    <a:pt x="747" y="605"/>
                  </a:lnTo>
                  <a:lnTo>
                    <a:pt x="751" y="607"/>
                  </a:lnTo>
                  <a:lnTo>
                    <a:pt x="757" y="608"/>
                  </a:lnTo>
                  <a:lnTo>
                    <a:pt x="762" y="608"/>
                  </a:lnTo>
                  <a:lnTo>
                    <a:pt x="770" y="608"/>
                  </a:lnTo>
                  <a:lnTo>
                    <a:pt x="777" y="605"/>
                  </a:lnTo>
                  <a:lnTo>
                    <a:pt x="782" y="601"/>
                  </a:lnTo>
                  <a:lnTo>
                    <a:pt x="786" y="596"/>
                  </a:lnTo>
                  <a:lnTo>
                    <a:pt x="790" y="589"/>
                  </a:lnTo>
                  <a:lnTo>
                    <a:pt x="793" y="581"/>
                  </a:lnTo>
                  <a:lnTo>
                    <a:pt x="795" y="571"/>
                  </a:lnTo>
                  <a:lnTo>
                    <a:pt x="798" y="560"/>
                  </a:lnTo>
                  <a:lnTo>
                    <a:pt x="827" y="561"/>
                  </a:lnTo>
                  <a:lnTo>
                    <a:pt x="866" y="563"/>
                  </a:lnTo>
                  <a:lnTo>
                    <a:pt x="886" y="561"/>
                  </a:lnTo>
                  <a:lnTo>
                    <a:pt x="903" y="557"/>
                  </a:lnTo>
                  <a:lnTo>
                    <a:pt x="911" y="555"/>
                  </a:lnTo>
                  <a:lnTo>
                    <a:pt x="919" y="552"/>
                  </a:lnTo>
                  <a:lnTo>
                    <a:pt x="925" y="548"/>
                  </a:lnTo>
                  <a:lnTo>
                    <a:pt x="930" y="543"/>
                  </a:lnTo>
                  <a:lnTo>
                    <a:pt x="922" y="529"/>
                  </a:lnTo>
                  <a:lnTo>
                    <a:pt x="917" y="516"/>
                  </a:lnTo>
                  <a:lnTo>
                    <a:pt x="915" y="508"/>
                  </a:lnTo>
                  <a:lnTo>
                    <a:pt x="914" y="499"/>
                  </a:lnTo>
                  <a:lnTo>
                    <a:pt x="913" y="488"/>
                  </a:lnTo>
                  <a:lnTo>
                    <a:pt x="913" y="476"/>
                  </a:lnTo>
                  <a:lnTo>
                    <a:pt x="914" y="457"/>
                  </a:lnTo>
                  <a:lnTo>
                    <a:pt x="917" y="443"/>
                  </a:lnTo>
                  <a:lnTo>
                    <a:pt x="922" y="428"/>
                  </a:lnTo>
                  <a:lnTo>
                    <a:pt x="927" y="416"/>
                  </a:lnTo>
                  <a:lnTo>
                    <a:pt x="933" y="403"/>
                  </a:lnTo>
                  <a:lnTo>
                    <a:pt x="938" y="390"/>
                  </a:lnTo>
                  <a:lnTo>
                    <a:pt x="941" y="375"/>
                  </a:lnTo>
                  <a:lnTo>
                    <a:pt x="942" y="356"/>
                  </a:lnTo>
                  <a:lnTo>
                    <a:pt x="946" y="352"/>
                  </a:lnTo>
                  <a:lnTo>
                    <a:pt x="949" y="351"/>
                  </a:lnTo>
                  <a:lnTo>
                    <a:pt x="951" y="350"/>
                  </a:lnTo>
                  <a:lnTo>
                    <a:pt x="954" y="350"/>
                  </a:lnTo>
                  <a:lnTo>
                    <a:pt x="946" y="351"/>
                  </a:lnTo>
                  <a:lnTo>
                    <a:pt x="938" y="352"/>
                  </a:lnTo>
                  <a:lnTo>
                    <a:pt x="931" y="355"/>
                  </a:lnTo>
                  <a:lnTo>
                    <a:pt x="926" y="359"/>
                  </a:lnTo>
                  <a:lnTo>
                    <a:pt x="915" y="366"/>
                  </a:lnTo>
                  <a:lnTo>
                    <a:pt x="906" y="368"/>
                  </a:lnTo>
                  <a:lnTo>
                    <a:pt x="895" y="367"/>
                  </a:lnTo>
                  <a:lnTo>
                    <a:pt x="883" y="364"/>
                  </a:lnTo>
                  <a:lnTo>
                    <a:pt x="870" y="360"/>
                  </a:lnTo>
                  <a:lnTo>
                    <a:pt x="857" y="354"/>
                  </a:lnTo>
                  <a:lnTo>
                    <a:pt x="842" y="347"/>
                  </a:lnTo>
                  <a:lnTo>
                    <a:pt x="827" y="339"/>
                  </a:lnTo>
                  <a:lnTo>
                    <a:pt x="813" y="330"/>
                  </a:lnTo>
                  <a:lnTo>
                    <a:pt x="799" y="320"/>
                  </a:lnTo>
                  <a:lnTo>
                    <a:pt x="785" y="310"/>
                  </a:lnTo>
                  <a:lnTo>
                    <a:pt x="773" y="299"/>
                  </a:lnTo>
                  <a:lnTo>
                    <a:pt x="761" y="287"/>
                  </a:lnTo>
                  <a:lnTo>
                    <a:pt x="751" y="276"/>
                  </a:lnTo>
                  <a:lnTo>
                    <a:pt x="743" y="266"/>
                  </a:lnTo>
                  <a:lnTo>
                    <a:pt x="737" y="255"/>
                  </a:lnTo>
                  <a:lnTo>
                    <a:pt x="733" y="244"/>
                  </a:lnTo>
                  <a:lnTo>
                    <a:pt x="731" y="235"/>
                  </a:lnTo>
                  <a:lnTo>
                    <a:pt x="727" y="240"/>
                  </a:lnTo>
                  <a:lnTo>
                    <a:pt x="722" y="243"/>
                  </a:lnTo>
                  <a:lnTo>
                    <a:pt x="718" y="243"/>
                  </a:lnTo>
                  <a:lnTo>
                    <a:pt x="713" y="242"/>
                  </a:lnTo>
                  <a:lnTo>
                    <a:pt x="699" y="238"/>
                  </a:lnTo>
                  <a:lnTo>
                    <a:pt x="683" y="235"/>
                  </a:lnTo>
                  <a:lnTo>
                    <a:pt x="673" y="235"/>
                  </a:lnTo>
                  <a:lnTo>
                    <a:pt x="664" y="232"/>
                  </a:lnTo>
                  <a:lnTo>
                    <a:pt x="658" y="230"/>
                  </a:lnTo>
                  <a:lnTo>
                    <a:pt x="653" y="226"/>
                  </a:lnTo>
                  <a:lnTo>
                    <a:pt x="650" y="220"/>
                  </a:lnTo>
                  <a:lnTo>
                    <a:pt x="649" y="215"/>
                  </a:lnTo>
                  <a:lnTo>
                    <a:pt x="649" y="210"/>
                  </a:lnTo>
                  <a:lnTo>
                    <a:pt x="649" y="203"/>
                  </a:lnTo>
                  <a:lnTo>
                    <a:pt x="650" y="190"/>
                  </a:lnTo>
                  <a:lnTo>
                    <a:pt x="652" y="178"/>
                  </a:lnTo>
                  <a:lnTo>
                    <a:pt x="652" y="171"/>
                  </a:lnTo>
                  <a:lnTo>
                    <a:pt x="649" y="166"/>
                  </a:lnTo>
                  <a:lnTo>
                    <a:pt x="646" y="162"/>
                  </a:lnTo>
                  <a:lnTo>
                    <a:pt x="641" y="158"/>
                  </a:lnTo>
                  <a:lnTo>
                    <a:pt x="626" y="148"/>
                  </a:lnTo>
                  <a:lnTo>
                    <a:pt x="614" y="144"/>
                  </a:lnTo>
                  <a:lnTo>
                    <a:pt x="606" y="143"/>
                  </a:lnTo>
                  <a:lnTo>
                    <a:pt x="600" y="143"/>
                  </a:lnTo>
                  <a:lnTo>
                    <a:pt x="596" y="142"/>
                  </a:lnTo>
                  <a:lnTo>
                    <a:pt x="592" y="138"/>
                  </a:lnTo>
                  <a:lnTo>
                    <a:pt x="588" y="130"/>
                  </a:lnTo>
                  <a:lnTo>
                    <a:pt x="581" y="115"/>
                  </a:lnTo>
                  <a:lnTo>
                    <a:pt x="580" y="112"/>
                  </a:lnTo>
                  <a:lnTo>
                    <a:pt x="577" y="110"/>
                  </a:lnTo>
                  <a:lnTo>
                    <a:pt x="574" y="107"/>
                  </a:lnTo>
                  <a:lnTo>
                    <a:pt x="570" y="106"/>
                  </a:lnTo>
                  <a:lnTo>
                    <a:pt x="562" y="103"/>
                  </a:lnTo>
                  <a:lnTo>
                    <a:pt x="552" y="102"/>
                  </a:lnTo>
                  <a:lnTo>
                    <a:pt x="530" y="100"/>
                  </a:lnTo>
                  <a:lnTo>
                    <a:pt x="509" y="96"/>
                  </a:lnTo>
                  <a:lnTo>
                    <a:pt x="501" y="95"/>
                  </a:lnTo>
                  <a:lnTo>
                    <a:pt x="494" y="94"/>
                  </a:lnTo>
                  <a:lnTo>
                    <a:pt x="488" y="90"/>
                  </a:lnTo>
                  <a:lnTo>
                    <a:pt x="482" y="86"/>
                  </a:lnTo>
                  <a:lnTo>
                    <a:pt x="476" y="82"/>
                  </a:lnTo>
                  <a:lnTo>
                    <a:pt x="472" y="76"/>
                  </a:lnTo>
                  <a:lnTo>
                    <a:pt x="466" y="71"/>
                  </a:lnTo>
                  <a:lnTo>
                    <a:pt x="462" y="64"/>
                  </a:lnTo>
                  <a:lnTo>
                    <a:pt x="456" y="51"/>
                  </a:lnTo>
                  <a:lnTo>
                    <a:pt x="450" y="35"/>
                  </a:lnTo>
                  <a:lnTo>
                    <a:pt x="446" y="18"/>
                  </a:lnTo>
                  <a:lnTo>
                    <a:pt x="442" y="0"/>
                  </a:lnTo>
                  <a:lnTo>
                    <a:pt x="436" y="0"/>
                  </a:lnTo>
                  <a:lnTo>
                    <a:pt x="425" y="0"/>
                  </a:lnTo>
                  <a:lnTo>
                    <a:pt x="409" y="12"/>
                  </a:lnTo>
                  <a:lnTo>
                    <a:pt x="390" y="26"/>
                  </a:lnTo>
                  <a:lnTo>
                    <a:pt x="372" y="38"/>
                  </a:lnTo>
                  <a:lnTo>
                    <a:pt x="353" y="48"/>
                  </a:lnTo>
                  <a:lnTo>
                    <a:pt x="342" y="54"/>
                  </a:lnTo>
                  <a:lnTo>
                    <a:pt x="332" y="58"/>
                  </a:lnTo>
                  <a:lnTo>
                    <a:pt x="321" y="60"/>
                  </a:lnTo>
                  <a:lnTo>
                    <a:pt x="309" y="63"/>
                  </a:lnTo>
                  <a:lnTo>
                    <a:pt x="298" y="64"/>
                  </a:lnTo>
                  <a:lnTo>
                    <a:pt x="286" y="64"/>
                  </a:lnTo>
                  <a:lnTo>
                    <a:pt x="274" y="63"/>
                  </a:lnTo>
                  <a:lnTo>
                    <a:pt x="262" y="60"/>
                  </a:lnTo>
                  <a:lnTo>
                    <a:pt x="261" y="70"/>
                  </a:lnTo>
                  <a:lnTo>
                    <a:pt x="262" y="78"/>
                  </a:lnTo>
                  <a:lnTo>
                    <a:pt x="262" y="84"/>
                  </a:lnTo>
                  <a:lnTo>
                    <a:pt x="264" y="90"/>
                  </a:lnTo>
                  <a:lnTo>
                    <a:pt x="269" y="102"/>
                  </a:lnTo>
                  <a:lnTo>
                    <a:pt x="274" y="111"/>
                  </a:lnTo>
                  <a:lnTo>
                    <a:pt x="281" y="119"/>
                  </a:lnTo>
                  <a:lnTo>
                    <a:pt x="286" y="128"/>
                  </a:lnTo>
                  <a:lnTo>
                    <a:pt x="289" y="134"/>
                  </a:lnTo>
                  <a:lnTo>
                    <a:pt x="290" y="139"/>
                  </a:lnTo>
                  <a:lnTo>
                    <a:pt x="292" y="144"/>
                  </a:lnTo>
                  <a:lnTo>
                    <a:pt x="292" y="151"/>
                  </a:lnTo>
                  <a:lnTo>
                    <a:pt x="292" y="155"/>
                  </a:lnTo>
                  <a:lnTo>
                    <a:pt x="290" y="160"/>
                  </a:lnTo>
                  <a:lnTo>
                    <a:pt x="289" y="164"/>
                  </a:lnTo>
                  <a:lnTo>
                    <a:pt x="286" y="167"/>
                  </a:lnTo>
                  <a:lnTo>
                    <a:pt x="280" y="175"/>
                  </a:lnTo>
                  <a:lnTo>
                    <a:pt x="270" y="180"/>
                  </a:lnTo>
                  <a:lnTo>
                    <a:pt x="258" y="187"/>
                  </a:lnTo>
                  <a:lnTo>
                    <a:pt x="245" y="191"/>
                  </a:lnTo>
                  <a:lnTo>
                    <a:pt x="232" y="195"/>
                  </a:lnTo>
                  <a:lnTo>
                    <a:pt x="216" y="199"/>
                  </a:lnTo>
                  <a:lnTo>
                    <a:pt x="184" y="206"/>
                  </a:lnTo>
                  <a:lnTo>
                    <a:pt x="153" y="208"/>
                  </a:lnTo>
                  <a:lnTo>
                    <a:pt x="124" y="211"/>
                  </a:lnTo>
                  <a:lnTo>
                    <a:pt x="100" y="211"/>
                  </a:lnTo>
                  <a:lnTo>
                    <a:pt x="101" y="220"/>
                  </a:lnTo>
                  <a:lnTo>
                    <a:pt x="104" y="227"/>
                  </a:lnTo>
                  <a:lnTo>
                    <a:pt x="108" y="235"/>
                  </a:lnTo>
                  <a:lnTo>
                    <a:pt x="112" y="242"/>
                  </a:lnTo>
                  <a:lnTo>
                    <a:pt x="116" y="250"/>
                  </a:lnTo>
                  <a:lnTo>
                    <a:pt x="120" y="258"/>
                  </a:lnTo>
                  <a:lnTo>
                    <a:pt x="122" y="267"/>
                  </a:lnTo>
                  <a:lnTo>
                    <a:pt x="124" y="278"/>
                  </a:lnTo>
                  <a:lnTo>
                    <a:pt x="122" y="290"/>
                  </a:lnTo>
                  <a:lnTo>
                    <a:pt x="120" y="300"/>
                  </a:lnTo>
                  <a:lnTo>
                    <a:pt x="116" y="311"/>
                  </a:lnTo>
                  <a:lnTo>
                    <a:pt x="109" y="320"/>
                  </a:lnTo>
                  <a:lnTo>
                    <a:pt x="102" y="330"/>
                  </a:lnTo>
                  <a:lnTo>
                    <a:pt x="94" y="338"/>
                  </a:lnTo>
                  <a:lnTo>
                    <a:pt x="85" y="346"/>
                  </a:lnTo>
                  <a:lnTo>
                    <a:pt x="76" y="352"/>
                  </a:lnTo>
                  <a:lnTo>
                    <a:pt x="57" y="367"/>
                  </a:lnTo>
                  <a:lnTo>
                    <a:pt x="40" y="380"/>
                  </a:lnTo>
                  <a:lnTo>
                    <a:pt x="32" y="388"/>
                  </a:lnTo>
                  <a:lnTo>
                    <a:pt x="25" y="395"/>
                  </a:lnTo>
                  <a:lnTo>
                    <a:pt x="20" y="403"/>
                  </a:lnTo>
                  <a:lnTo>
                    <a:pt x="16" y="410"/>
                  </a:lnTo>
                  <a:lnTo>
                    <a:pt x="8" y="424"/>
                  </a:lnTo>
                  <a:lnTo>
                    <a:pt x="4" y="437"/>
                  </a:lnTo>
                  <a:lnTo>
                    <a:pt x="1" y="451"/>
                  </a:lnTo>
                  <a:lnTo>
                    <a:pt x="0" y="465"/>
                  </a:lnTo>
                  <a:lnTo>
                    <a:pt x="1" y="496"/>
                  </a:lnTo>
                  <a:lnTo>
                    <a:pt x="4" y="531"/>
                  </a:lnTo>
                  <a:lnTo>
                    <a:pt x="4" y="559"/>
                  </a:lnTo>
                  <a:lnTo>
                    <a:pt x="8" y="585"/>
                  </a:lnTo>
                  <a:lnTo>
                    <a:pt x="12" y="609"/>
                  </a:lnTo>
                  <a:lnTo>
                    <a:pt x="18" y="632"/>
                  </a:lnTo>
                  <a:lnTo>
                    <a:pt x="25" y="652"/>
                  </a:lnTo>
                  <a:lnTo>
                    <a:pt x="33" y="671"/>
                  </a:lnTo>
                  <a:lnTo>
                    <a:pt x="42" y="689"/>
                  </a:lnTo>
                  <a:lnTo>
                    <a:pt x="52" y="707"/>
                  </a:lnTo>
                  <a:lnTo>
                    <a:pt x="60" y="724"/>
                  </a:lnTo>
                  <a:lnTo>
                    <a:pt x="69" y="741"/>
                  </a:lnTo>
                  <a:lnTo>
                    <a:pt x="77" y="760"/>
                  </a:lnTo>
                  <a:lnTo>
                    <a:pt x="85" y="780"/>
                  </a:lnTo>
                  <a:lnTo>
                    <a:pt x="90" y="800"/>
                  </a:lnTo>
                  <a:lnTo>
                    <a:pt x="96" y="823"/>
                  </a:lnTo>
                  <a:lnTo>
                    <a:pt x="98" y="847"/>
                  </a:lnTo>
                  <a:lnTo>
                    <a:pt x="100" y="873"/>
                  </a:lnTo>
                  <a:lnTo>
                    <a:pt x="100" y="889"/>
                  </a:lnTo>
                  <a:lnTo>
                    <a:pt x="100" y="905"/>
                  </a:lnTo>
                  <a:lnTo>
                    <a:pt x="100" y="920"/>
                  </a:lnTo>
                  <a:lnTo>
                    <a:pt x="100" y="928"/>
                  </a:lnTo>
                  <a:lnTo>
                    <a:pt x="100" y="945"/>
                  </a:lnTo>
                  <a:lnTo>
                    <a:pt x="102" y="961"/>
                  </a:lnTo>
                  <a:lnTo>
                    <a:pt x="104" y="967"/>
                  </a:lnTo>
                  <a:lnTo>
                    <a:pt x="108" y="972"/>
                  </a:lnTo>
                  <a:lnTo>
                    <a:pt x="112" y="975"/>
                  </a:lnTo>
                  <a:lnTo>
                    <a:pt x="117" y="976"/>
                  </a:lnTo>
                  <a:lnTo>
                    <a:pt x="126" y="975"/>
                  </a:lnTo>
                  <a:lnTo>
                    <a:pt x="133" y="972"/>
                  </a:lnTo>
                  <a:lnTo>
                    <a:pt x="138" y="968"/>
                  </a:lnTo>
                  <a:lnTo>
                    <a:pt x="144" y="964"/>
                  </a:lnTo>
                  <a:lnTo>
                    <a:pt x="149" y="960"/>
                  </a:lnTo>
                  <a:lnTo>
                    <a:pt x="154" y="956"/>
                  </a:lnTo>
                  <a:lnTo>
                    <a:pt x="160" y="953"/>
                  </a:lnTo>
                  <a:lnTo>
                    <a:pt x="166" y="952"/>
                  </a:lnTo>
                  <a:lnTo>
                    <a:pt x="172" y="953"/>
                  </a:lnTo>
                  <a:lnTo>
                    <a:pt x="178" y="959"/>
                  </a:lnTo>
                  <a:lnTo>
                    <a:pt x="186" y="965"/>
                  </a:lnTo>
                  <a:lnTo>
                    <a:pt x="194" y="973"/>
                  </a:lnTo>
                  <a:lnTo>
                    <a:pt x="202" y="983"/>
                  </a:lnTo>
                  <a:lnTo>
                    <a:pt x="208" y="993"/>
                  </a:lnTo>
                  <a:lnTo>
                    <a:pt x="213" y="1003"/>
                  </a:lnTo>
                  <a:lnTo>
                    <a:pt x="214" y="1012"/>
                  </a:lnTo>
                  <a:lnTo>
                    <a:pt x="213" y="1018"/>
                  </a:lnTo>
                  <a:lnTo>
                    <a:pt x="212" y="1024"/>
                  </a:lnTo>
                  <a:lnTo>
                    <a:pt x="208" y="1028"/>
                  </a:lnTo>
                  <a:lnTo>
                    <a:pt x="204" y="1033"/>
                  </a:lnTo>
                  <a:lnTo>
                    <a:pt x="193" y="1038"/>
                  </a:lnTo>
                  <a:lnTo>
                    <a:pt x="181" y="1044"/>
                  </a:lnTo>
                  <a:lnTo>
                    <a:pt x="169" y="1049"/>
                  </a:lnTo>
                  <a:lnTo>
                    <a:pt x="158" y="1056"/>
                  </a:lnTo>
                  <a:lnTo>
                    <a:pt x="154" y="1058"/>
                  </a:lnTo>
                  <a:lnTo>
                    <a:pt x="150" y="1062"/>
                  </a:lnTo>
                  <a:lnTo>
                    <a:pt x="149" y="1066"/>
                  </a:lnTo>
                  <a:lnTo>
                    <a:pt x="148" y="1072"/>
                  </a:lnTo>
                  <a:lnTo>
                    <a:pt x="148" y="1077"/>
                  </a:lnTo>
                  <a:lnTo>
                    <a:pt x="149" y="1081"/>
                  </a:lnTo>
                  <a:lnTo>
                    <a:pt x="150" y="1084"/>
                  </a:lnTo>
                  <a:lnTo>
                    <a:pt x="153" y="1088"/>
                  </a:lnTo>
                  <a:lnTo>
                    <a:pt x="160" y="1094"/>
                  </a:lnTo>
                  <a:lnTo>
                    <a:pt x="166" y="1101"/>
                  </a:lnTo>
                  <a:lnTo>
                    <a:pt x="173" y="1108"/>
                  </a:lnTo>
                  <a:lnTo>
                    <a:pt x="178" y="1116"/>
                  </a:lnTo>
                  <a:lnTo>
                    <a:pt x="181" y="1121"/>
                  </a:lnTo>
                  <a:lnTo>
                    <a:pt x="182" y="1126"/>
                  </a:lnTo>
                  <a:lnTo>
                    <a:pt x="184" y="1132"/>
                  </a:lnTo>
                  <a:lnTo>
                    <a:pt x="184" y="1138"/>
                  </a:lnTo>
                  <a:lnTo>
                    <a:pt x="184" y="1146"/>
                  </a:lnTo>
                  <a:lnTo>
                    <a:pt x="182" y="1152"/>
                  </a:lnTo>
                  <a:lnTo>
                    <a:pt x="181" y="1157"/>
                  </a:lnTo>
                  <a:lnTo>
                    <a:pt x="180" y="1161"/>
                  </a:lnTo>
                  <a:lnTo>
                    <a:pt x="174" y="1169"/>
                  </a:lnTo>
                  <a:lnTo>
                    <a:pt x="169" y="1174"/>
                  </a:lnTo>
                  <a:lnTo>
                    <a:pt x="164" y="1181"/>
                  </a:lnTo>
                  <a:lnTo>
                    <a:pt x="158" y="1188"/>
                  </a:lnTo>
                  <a:lnTo>
                    <a:pt x="157" y="1192"/>
                  </a:lnTo>
                  <a:lnTo>
                    <a:pt x="154" y="1197"/>
                  </a:lnTo>
                  <a:lnTo>
                    <a:pt x="154" y="1204"/>
                  </a:lnTo>
                  <a:lnTo>
                    <a:pt x="154" y="1210"/>
                  </a:lnTo>
                  <a:lnTo>
                    <a:pt x="157" y="1214"/>
                  </a:lnTo>
                  <a:lnTo>
                    <a:pt x="164" y="1221"/>
                  </a:lnTo>
                  <a:lnTo>
                    <a:pt x="176" y="1229"/>
                  </a:lnTo>
                  <a:lnTo>
                    <a:pt x="189" y="1237"/>
                  </a:lnTo>
                  <a:lnTo>
                    <a:pt x="204" y="1245"/>
                  </a:lnTo>
                  <a:lnTo>
                    <a:pt x="217" y="1252"/>
                  </a:lnTo>
                  <a:lnTo>
                    <a:pt x="229" y="1257"/>
                  </a:lnTo>
                  <a:lnTo>
                    <a:pt x="238" y="1258"/>
                  </a:lnTo>
                  <a:lnTo>
                    <a:pt x="246" y="1258"/>
                  </a:lnTo>
                  <a:lnTo>
                    <a:pt x="253" y="1256"/>
                  </a:lnTo>
                  <a:lnTo>
                    <a:pt x="260" y="1253"/>
                  </a:lnTo>
                  <a:lnTo>
                    <a:pt x="265" y="1250"/>
                  </a:lnTo>
                  <a:lnTo>
                    <a:pt x="270" y="1246"/>
                  </a:lnTo>
                  <a:lnTo>
                    <a:pt x="277" y="1244"/>
                  </a:lnTo>
                  <a:lnTo>
                    <a:pt x="284" y="1241"/>
                  </a:lnTo>
                  <a:lnTo>
                    <a:pt x="292" y="1241"/>
                  </a:lnTo>
                  <a:lnTo>
                    <a:pt x="301" y="1241"/>
                  </a:lnTo>
                  <a:lnTo>
                    <a:pt x="308" y="1244"/>
                  </a:lnTo>
                  <a:lnTo>
                    <a:pt x="314" y="1246"/>
                  </a:lnTo>
                  <a:lnTo>
                    <a:pt x="321" y="1250"/>
                  </a:lnTo>
                  <a:lnTo>
                    <a:pt x="332" y="1260"/>
                  </a:lnTo>
                  <a:lnTo>
                    <a:pt x="341" y="1270"/>
                  </a:lnTo>
                  <a:lnTo>
                    <a:pt x="352" y="1282"/>
                  </a:lnTo>
                  <a:lnTo>
                    <a:pt x="362" y="1292"/>
                  </a:lnTo>
                  <a:lnTo>
                    <a:pt x="369" y="1296"/>
                  </a:lnTo>
                  <a:lnTo>
                    <a:pt x="377" y="1298"/>
                  </a:lnTo>
                  <a:lnTo>
                    <a:pt x="385" y="1301"/>
                  </a:lnTo>
                  <a:lnTo>
                    <a:pt x="394" y="1301"/>
                  </a:lnTo>
                  <a:lnTo>
                    <a:pt x="402" y="1300"/>
                  </a:lnTo>
                  <a:lnTo>
                    <a:pt x="410" y="1298"/>
                  </a:lnTo>
                  <a:lnTo>
                    <a:pt x="418" y="1294"/>
                  </a:lnTo>
                  <a:lnTo>
                    <a:pt x="428" y="1289"/>
                  </a:lnTo>
                  <a:lnTo>
                    <a:pt x="444" y="1276"/>
                  </a:lnTo>
                  <a:lnTo>
                    <a:pt x="460" y="1258"/>
                  </a:lnTo>
                  <a:lnTo>
                    <a:pt x="477" y="1242"/>
                  </a:lnTo>
                  <a:lnTo>
                    <a:pt x="492" y="1225"/>
                  </a:lnTo>
                  <a:lnTo>
                    <a:pt x="508" y="1210"/>
                  </a:lnTo>
                  <a:lnTo>
                    <a:pt x="521" y="1198"/>
                  </a:lnTo>
                  <a:lnTo>
                    <a:pt x="516" y="1174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5" name="Freeform 47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2197100" y="3810000"/>
              <a:ext cx="603250" cy="528638"/>
            </a:xfrm>
            <a:custGeom>
              <a:avLst/>
              <a:gdLst/>
              <a:ahLst/>
              <a:cxnLst>
                <a:cxn ang="0">
                  <a:pos x="54" y="511"/>
                </a:cxn>
                <a:cxn ang="0">
                  <a:pos x="107" y="553"/>
                </a:cxn>
                <a:cxn ang="0">
                  <a:pos x="192" y="553"/>
                </a:cxn>
                <a:cxn ang="0">
                  <a:pos x="204" y="609"/>
                </a:cxn>
                <a:cxn ang="0">
                  <a:pos x="227" y="663"/>
                </a:cxn>
                <a:cxn ang="0">
                  <a:pos x="304" y="696"/>
                </a:cxn>
                <a:cxn ang="0">
                  <a:pos x="334" y="830"/>
                </a:cxn>
                <a:cxn ang="0">
                  <a:pos x="383" y="916"/>
                </a:cxn>
                <a:cxn ang="0">
                  <a:pos x="435" y="942"/>
                </a:cxn>
                <a:cxn ang="0">
                  <a:pos x="452" y="1006"/>
                </a:cxn>
                <a:cxn ang="0">
                  <a:pos x="492" y="1052"/>
                </a:cxn>
                <a:cxn ang="0">
                  <a:pos x="559" y="1064"/>
                </a:cxn>
                <a:cxn ang="0">
                  <a:pos x="661" y="1030"/>
                </a:cxn>
                <a:cxn ang="0">
                  <a:pos x="735" y="1048"/>
                </a:cxn>
                <a:cxn ang="0">
                  <a:pos x="784" y="1121"/>
                </a:cxn>
                <a:cxn ang="0">
                  <a:pos x="924" y="1157"/>
                </a:cxn>
                <a:cxn ang="0">
                  <a:pos x="987" y="1309"/>
                </a:cxn>
                <a:cxn ang="0">
                  <a:pos x="1040" y="1346"/>
                </a:cxn>
                <a:cxn ang="0">
                  <a:pos x="1099" y="1331"/>
                </a:cxn>
                <a:cxn ang="0">
                  <a:pos x="1159" y="1338"/>
                </a:cxn>
                <a:cxn ang="0">
                  <a:pos x="1229" y="1414"/>
                </a:cxn>
                <a:cxn ang="0">
                  <a:pos x="1332" y="1399"/>
                </a:cxn>
                <a:cxn ang="0">
                  <a:pos x="1393" y="1343"/>
                </a:cxn>
                <a:cxn ang="0">
                  <a:pos x="1400" y="1270"/>
                </a:cxn>
                <a:cxn ang="0">
                  <a:pos x="1350" y="1241"/>
                </a:cxn>
                <a:cxn ang="0">
                  <a:pos x="1336" y="1206"/>
                </a:cxn>
                <a:cxn ang="0">
                  <a:pos x="1324" y="1177"/>
                </a:cxn>
                <a:cxn ang="0">
                  <a:pos x="1279" y="1156"/>
                </a:cxn>
                <a:cxn ang="0">
                  <a:pos x="1292" y="1097"/>
                </a:cxn>
                <a:cxn ang="0">
                  <a:pos x="1260" y="1064"/>
                </a:cxn>
                <a:cxn ang="0">
                  <a:pos x="1318" y="957"/>
                </a:cxn>
                <a:cxn ang="0">
                  <a:pos x="1288" y="913"/>
                </a:cxn>
                <a:cxn ang="0">
                  <a:pos x="1205" y="890"/>
                </a:cxn>
                <a:cxn ang="0">
                  <a:pos x="1157" y="885"/>
                </a:cxn>
                <a:cxn ang="0">
                  <a:pos x="1063" y="969"/>
                </a:cxn>
                <a:cxn ang="0">
                  <a:pos x="1004" y="976"/>
                </a:cxn>
                <a:cxn ang="0">
                  <a:pos x="943" y="924"/>
                </a:cxn>
                <a:cxn ang="0">
                  <a:pos x="895" y="933"/>
                </a:cxn>
                <a:cxn ang="0">
                  <a:pos x="824" y="917"/>
                </a:cxn>
                <a:cxn ang="0">
                  <a:pos x="792" y="872"/>
                </a:cxn>
                <a:cxn ang="0">
                  <a:pos x="817" y="832"/>
                </a:cxn>
                <a:cxn ang="0">
                  <a:pos x="808" y="788"/>
                </a:cxn>
                <a:cxn ang="0">
                  <a:pos x="783" y="752"/>
                </a:cxn>
                <a:cxn ang="0">
                  <a:pos x="828" y="718"/>
                </a:cxn>
                <a:cxn ang="0">
                  <a:pos x="843" y="673"/>
                </a:cxn>
                <a:cxn ang="0">
                  <a:pos x="795" y="633"/>
                </a:cxn>
                <a:cxn ang="0">
                  <a:pos x="752" y="656"/>
                </a:cxn>
                <a:cxn ang="0">
                  <a:pos x="735" y="600"/>
                </a:cxn>
                <a:cxn ang="0">
                  <a:pos x="720" y="460"/>
                </a:cxn>
                <a:cxn ang="0">
                  <a:pos x="660" y="332"/>
                </a:cxn>
                <a:cxn ang="0">
                  <a:pos x="632" y="180"/>
                </a:cxn>
                <a:cxn ang="0">
                  <a:pos x="585" y="100"/>
                </a:cxn>
                <a:cxn ang="0">
                  <a:pos x="607" y="51"/>
                </a:cxn>
                <a:cxn ang="0">
                  <a:pos x="569" y="10"/>
                </a:cxn>
                <a:cxn ang="0">
                  <a:pos x="518" y="11"/>
                </a:cxn>
                <a:cxn ang="0">
                  <a:pos x="507" y="72"/>
                </a:cxn>
                <a:cxn ang="0">
                  <a:pos x="480" y="111"/>
                </a:cxn>
                <a:cxn ang="0">
                  <a:pos x="426" y="145"/>
                </a:cxn>
                <a:cxn ang="0">
                  <a:pos x="362" y="237"/>
                </a:cxn>
                <a:cxn ang="0">
                  <a:pos x="290" y="265"/>
                </a:cxn>
                <a:cxn ang="0">
                  <a:pos x="223" y="309"/>
                </a:cxn>
                <a:cxn ang="0">
                  <a:pos x="100" y="396"/>
                </a:cxn>
                <a:cxn ang="0">
                  <a:pos x="20" y="427"/>
                </a:cxn>
              </a:cxnLst>
              <a:rect l="0" t="0" r="r" b="b"/>
              <a:pathLst>
                <a:path w="1409" h="1414">
                  <a:moveTo>
                    <a:pt x="0" y="457"/>
                  </a:moveTo>
                  <a:lnTo>
                    <a:pt x="10" y="460"/>
                  </a:lnTo>
                  <a:lnTo>
                    <a:pt x="19" y="465"/>
                  </a:lnTo>
                  <a:lnTo>
                    <a:pt x="27" y="471"/>
                  </a:lnTo>
                  <a:lnTo>
                    <a:pt x="34" y="477"/>
                  </a:lnTo>
                  <a:lnTo>
                    <a:pt x="44" y="493"/>
                  </a:lnTo>
                  <a:lnTo>
                    <a:pt x="54" y="511"/>
                  </a:lnTo>
                  <a:lnTo>
                    <a:pt x="58" y="519"/>
                  </a:lnTo>
                  <a:lnTo>
                    <a:pt x="64" y="527"/>
                  </a:lnTo>
                  <a:lnTo>
                    <a:pt x="70" y="533"/>
                  </a:lnTo>
                  <a:lnTo>
                    <a:pt x="76" y="540"/>
                  </a:lnTo>
                  <a:lnTo>
                    <a:pt x="86" y="545"/>
                  </a:lnTo>
                  <a:lnTo>
                    <a:pt x="95" y="551"/>
                  </a:lnTo>
                  <a:lnTo>
                    <a:pt x="107" y="553"/>
                  </a:lnTo>
                  <a:lnTo>
                    <a:pt x="120" y="553"/>
                  </a:lnTo>
                  <a:lnTo>
                    <a:pt x="140" y="552"/>
                  </a:lnTo>
                  <a:lnTo>
                    <a:pt x="159" y="549"/>
                  </a:lnTo>
                  <a:lnTo>
                    <a:pt x="167" y="548"/>
                  </a:lnTo>
                  <a:lnTo>
                    <a:pt x="175" y="548"/>
                  </a:lnTo>
                  <a:lnTo>
                    <a:pt x="184" y="551"/>
                  </a:lnTo>
                  <a:lnTo>
                    <a:pt x="192" y="553"/>
                  </a:lnTo>
                  <a:lnTo>
                    <a:pt x="196" y="557"/>
                  </a:lnTo>
                  <a:lnTo>
                    <a:pt x="200" y="561"/>
                  </a:lnTo>
                  <a:lnTo>
                    <a:pt x="202" y="567"/>
                  </a:lnTo>
                  <a:lnTo>
                    <a:pt x="204" y="572"/>
                  </a:lnTo>
                  <a:lnTo>
                    <a:pt x="206" y="584"/>
                  </a:lnTo>
                  <a:lnTo>
                    <a:pt x="206" y="596"/>
                  </a:lnTo>
                  <a:lnTo>
                    <a:pt x="204" y="609"/>
                  </a:lnTo>
                  <a:lnTo>
                    <a:pt x="203" y="623"/>
                  </a:lnTo>
                  <a:lnTo>
                    <a:pt x="203" y="633"/>
                  </a:lnTo>
                  <a:lnTo>
                    <a:pt x="204" y="644"/>
                  </a:lnTo>
                  <a:lnTo>
                    <a:pt x="208" y="651"/>
                  </a:lnTo>
                  <a:lnTo>
                    <a:pt x="212" y="656"/>
                  </a:lnTo>
                  <a:lnTo>
                    <a:pt x="219" y="660"/>
                  </a:lnTo>
                  <a:lnTo>
                    <a:pt x="227" y="663"/>
                  </a:lnTo>
                  <a:lnTo>
                    <a:pt x="244" y="669"/>
                  </a:lnTo>
                  <a:lnTo>
                    <a:pt x="263" y="675"/>
                  </a:lnTo>
                  <a:lnTo>
                    <a:pt x="272" y="677"/>
                  </a:lnTo>
                  <a:lnTo>
                    <a:pt x="282" y="680"/>
                  </a:lnTo>
                  <a:lnTo>
                    <a:pt x="291" y="685"/>
                  </a:lnTo>
                  <a:lnTo>
                    <a:pt x="298" y="689"/>
                  </a:lnTo>
                  <a:lnTo>
                    <a:pt x="304" y="696"/>
                  </a:lnTo>
                  <a:lnTo>
                    <a:pt x="308" y="702"/>
                  </a:lnTo>
                  <a:lnTo>
                    <a:pt x="312" y="712"/>
                  </a:lnTo>
                  <a:lnTo>
                    <a:pt x="314" y="722"/>
                  </a:lnTo>
                  <a:lnTo>
                    <a:pt x="315" y="744"/>
                  </a:lnTo>
                  <a:lnTo>
                    <a:pt x="319" y="770"/>
                  </a:lnTo>
                  <a:lnTo>
                    <a:pt x="326" y="800"/>
                  </a:lnTo>
                  <a:lnTo>
                    <a:pt x="334" y="830"/>
                  </a:lnTo>
                  <a:lnTo>
                    <a:pt x="339" y="845"/>
                  </a:lnTo>
                  <a:lnTo>
                    <a:pt x="346" y="860"/>
                  </a:lnTo>
                  <a:lnTo>
                    <a:pt x="352" y="874"/>
                  </a:lnTo>
                  <a:lnTo>
                    <a:pt x="359" y="886"/>
                  </a:lnTo>
                  <a:lnTo>
                    <a:pt x="366" y="898"/>
                  </a:lnTo>
                  <a:lnTo>
                    <a:pt x="374" y="908"/>
                  </a:lnTo>
                  <a:lnTo>
                    <a:pt x="383" y="916"/>
                  </a:lnTo>
                  <a:lnTo>
                    <a:pt x="391" y="921"/>
                  </a:lnTo>
                  <a:lnTo>
                    <a:pt x="407" y="924"/>
                  </a:lnTo>
                  <a:lnTo>
                    <a:pt x="419" y="929"/>
                  </a:lnTo>
                  <a:lnTo>
                    <a:pt x="424" y="932"/>
                  </a:lnTo>
                  <a:lnTo>
                    <a:pt x="428" y="934"/>
                  </a:lnTo>
                  <a:lnTo>
                    <a:pt x="431" y="938"/>
                  </a:lnTo>
                  <a:lnTo>
                    <a:pt x="435" y="942"/>
                  </a:lnTo>
                  <a:lnTo>
                    <a:pt x="439" y="950"/>
                  </a:lnTo>
                  <a:lnTo>
                    <a:pt x="442" y="960"/>
                  </a:lnTo>
                  <a:lnTo>
                    <a:pt x="443" y="970"/>
                  </a:lnTo>
                  <a:lnTo>
                    <a:pt x="446" y="981"/>
                  </a:lnTo>
                  <a:lnTo>
                    <a:pt x="447" y="990"/>
                  </a:lnTo>
                  <a:lnTo>
                    <a:pt x="450" y="998"/>
                  </a:lnTo>
                  <a:lnTo>
                    <a:pt x="452" y="1006"/>
                  </a:lnTo>
                  <a:lnTo>
                    <a:pt x="456" y="1014"/>
                  </a:lnTo>
                  <a:lnTo>
                    <a:pt x="460" y="1022"/>
                  </a:lnTo>
                  <a:lnTo>
                    <a:pt x="466" y="1029"/>
                  </a:lnTo>
                  <a:lnTo>
                    <a:pt x="472" y="1036"/>
                  </a:lnTo>
                  <a:lnTo>
                    <a:pt x="478" y="1041"/>
                  </a:lnTo>
                  <a:lnTo>
                    <a:pt x="484" y="1046"/>
                  </a:lnTo>
                  <a:lnTo>
                    <a:pt x="492" y="1052"/>
                  </a:lnTo>
                  <a:lnTo>
                    <a:pt x="499" y="1056"/>
                  </a:lnTo>
                  <a:lnTo>
                    <a:pt x="507" y="1060"/>
                  </a:lnTo>
                  <a:lnTo>
                    <a:pt x="516" y="1062"/>
                  </a:lnTo>
                  <a:lnTo>
                    <a:pt x="524" y="1064"/>
                  </a:lnTo>
                  <a:lnTo>
                    <a:pt x="534" y="1065"/>
                  </a:lnTo>
                  <a:lnTo>
                    <a:pt x="541" y="1065"/>
                  </a:lnTo>
                  <a:lnTo>
                    <a:pt x="559" y="1064"/>
                  </a:lnTo>
                  <a:lnTo>
                    <a:pt x="576" y="1060"/>
                  </a:lnTo>
                  <a:lnTo>
                    <a:pt x="592" y="1054"/>
                  </a:lnTo>
                  <a:lnTo>
                    <a:pt x="609" y="1048"/>
                  </a:lnTo>
                  <a:lnTo>
                    <a:pt x="625" y="1041"/>
                  </a:lnTo>
                  <a:lnTo>
                    <a:pt x="643" y="1034"/>
                  </a:lnTo>
                  <a:lnTo>
                    <a:pt x="652" y="1033"/>
                  </a:lnTo>
                  <a:lnTo>
                    <a:pt x="661" y="1030"/>
                  </a:lnTo>
                  <a:lnTo>
                    <a:pt x="671" y="1030"/>
                  </a:lnTo>
                  <a:lnTo>
                    <a:pt x="680" y="1029"/>
                  </a:lnTo>
                  <a:lnTo>
                    <a:pt x="695" y="1030"/>
                  </a:lnTo>
                  <a:lnTo>
                    <a:pt x="708" y="1033"/>
                  </a:lnTo>
                  <a:lnTo>
                    <a:pt x="719" y="1037"/>
                  </a:lnTo>
                  <a:lnTo>
                    <a:pt x="727" y="1042"/>
                  </a:lnTo>
                  <a:lnTo>
                    <a:pt x="735" y="1048"/>
                  </a:lnTo>
                  <a:lnTo>
                    <a:pt x="741" y="1056"/>
                  </a:lnTo>
                  <a:lnTo>
                    <a:pt x="747" y="1064"/>
                  </a:lnTo>
                  <a:lnTo>
                    <a:pt x="752" y="1072"/>
                  </a:lnTo>
                  <a:lnTo>
                    <a:pt x="761" y="1089"/>
                  </a:lnTo>
                  <a:lnTo>
                    <a:pt x="771" y="1105"/>
                  </a:lnTo>
                  <a:lnTo>
                    <a:pt x="777" y="1113"/>
                  </a:lnTo>
                  <a:lnTo>
                    <a:pt x="784" y="1121"/>
                  </a:lnTo>
                  <a:lnTo>
                    <a:pt x="792" y="1126"/>
                  </a:lnTo>
                  <a:lnTo>
                    <a:pt x="801" y="1132"/>
                  </a:lnTo>
                  <a:lnTo>
                    <a:pt x="903" y="1132"/>
                  </a:lnTo>
                  <a:lnTo>
                    <a:pt x="909" y="1137"/>
                  </a:lnTo>
                  <a:lnTo>
                    <a:pt x="915" y="1144"/>
                  </a:lnTo>
                  <a:lnTo>
                    <a:pt x="920" y="1149"/>
                  </a:lnTo>
                  <a:lnTo>
                    <a:pt x="924" y="1157"/>
                  </a:lnTo>
                  <a:lnTo>
                    <a:pt x="932" y="1172"/>
                  </a:lnTo>
                  <a:lnTo>
                    <a:pt x="940" y="1189"/>
                  </a:lnTo>
                  <a:lnTo>
                    <a:pt x="952" y="1224"/>
                  </a:lnTo>
                  <a:lnTo>
                    <a:pt x="964" y="1261"/>
                  </a:lnTo>
                  <a:lnTo>
                    <a:pt x="969" y="1278"/>
                  </a:lnTo>
                  <a:lnTo>
                    <a:pt x="977" y="1294"/>
                  </a:lnTo>
                  <a:lnTo>
                    <a:pt x="987" y="1309"/>
                  </a:lnTo>
                  <a:lnTo>
                    <a:pt x="996" y="1322"/>
                  </a:lnTo>
                  <a:lnTo>
                    <a:pt x="1003" y="1327"/>
                  </a:lnTo>
                  <a:lnTo>
                    <a:pt x="1008" y="1333"/>
                  </a:lnTo>
                  <a:lnTo>
                    <a:pt x="1016" y="1338"/>
                  </a:lnTo>
                  <a:lnTo>
                    <a:pt x="1023" y="1341"/>
                  </a:lnTo>
                  <a:lnTo>
                    <a:pt x="1031" y="1345"/>
                  </a:lnTo>
                  <a:lnTo>
                    <a:pt x="1040" y="1346"/>
                  </a:lnTo>
                  <a:lnTo>
                    <a:pt x="1049" y="1347"/>
                  </a:lnTo>
                  <a:lnTo>
                    <a:pt x="1060" y="1349"/>
                  </a:lnTo>
                  <a:lnTo>
                    <a:pt x="1068" y="1347"/>
                  </a:lnTo>
                  <a:lnTo>
                    <a:pt x="1076" y="1345"/>
                  </a:lnTo>
                  <a:lnTo>
                    <a:pt x="1084" y="1341"/>
                  </a:lnTo>
                  <a:lnTo>
                    <a:pt x="1091" y="1337"/>
                  </a:lnTo>
                  <a:lnTo>
                    <a:pt x="1099" y="1331"/>
                  </a:lnTo>
                  <a:lnTo>
                    <a:pt x="1107" y="1327"/>
                  </a:lnTo>
                  <a:lnTo>
                    <a:pt x="1116" y="1325"/>
                  </a:lnTo>
                  <a:lnTo>
                    <a:pt x="1127" y="1325"/>
                  </a:lnTo>
                  <a:lnTo>
                    <a:pt x="1136" y="1325"/>
                  </a:lnTo>
                  <a:lnTo>
                    <a:pt x="1144" y="1329"/>
                  </a:lnTo>
                  <a:lnTo>
                    <a:pt x="1152" y="1333"/>
                  </a:lnTo>
                  <a:lnTo>
                    <a:pt x="1159" y="1338"/>
                  </a:lnTo>
                  <a:lnTo>
                    <a:pt x="1171" y="1353"/>
                  </a:lnTo>
                  <a:lnTo>
                    <a:pt x="1181" y="1369"/>
                  </a:lnTo>
                  <a:lnTo>
                    <a:pt x="1192" y="1386"/>
                  </a:lnTo>
                  <a:lnTo>
                    <a:pt x="1205" y="1401"/>
                  </a:lnTo>
                  <a:lnTo>
                    <a:pt x="1212" y="1406"/>
                  </a:lnTo>
                  <a:lnTo>
                    <a:pt x="1220" y="1410"/>
                  </a:lnTo>
                  <a:lnTo>
                    <a:pt x="1229" y="1414"/>
                  </a:lnTo>
                  <a:lnTo>
                    <a:pt x="1240" y="1414"/>
                  </a:lnTo>
                  <a:lnTo>
                    <a:pt x="1259" y="1414"/>
                  </a:lnTo>
                  <a:lnTo>
                    <a:pt x="1276" y="1413"/>
                  </a:lnTo>
                  <a:lnTo>
                    <a:pt x="1292" y="1411"/>
                  </a:lnTo>
                  <a:lnTo>
                    <a:pt x="1306" y="1407"/>
                  </a:lnTo>
                  <a:lnTo>
                    <a:pt x="1320" y="1403"/>
                  </a:lnTo>
                  <a:lnTo>
                    <a:pt x="1332" y="1399"/>
                  </a:lnTo>
                  <a:lnTo>
                    <a:pt x="1344" y="1394"/>
                  </a:lnTo>
                  <a:lnTo>
                    <a:pt x="1354" y="1387"/>
                  </a:lnTo>
                  <a:lnTo>
                    <a:pt x="1364" y="1381"/>
                  </a:lnTo>
                  <a:lnTo>
                    <a:pt x="1372" y="1373"/>
                  </a:lnTo>
                  <a:lnTo>
                    <a:pt x="1380" y="1363"/>
                  </a:lnTo>
                  <a:lnTo>
                    <a:pt x="1386" y="1354"/>
                  </a:lnTo>
                  <a:lnTo>
                    <a:pt x="1393" y="1343"/>
                  </a:lnTo>
                  <a:lnTo>
                    <a:pt x="1398" y="1331"/>
                  </a:lnTo>
                  <a:lnTo>
                    <a:pt x="1404" y="1319"/>
                  </a:lnTo>
                  <a:lnTo>
                    <a:pt x="1409" y="1306"/>
                  </a:lnTo>
                  <a:lnTo>
                    <a:pt x="1408" y="1294"/>
                  </a:lnTo>
                  <a:lnTo>
                    <a:pt x="1406" y="1285"/>
                  </a:lnTo>
                  <a:lnTo>
                    <a:pt x="1404" y="1277"/>
                  </a:lnTo>
                  <a:lnTo>
                    <a:pt x="1400" y="1270"/>
                  </a:lnTo>
                  <a:lnTo>
                    <a:pt x="1396" y="1265"/>
                  </a:lnTo>
                  <a:lnTo>
                    <a:pt x="1390" y="1261"/>
                  </a:lnTo>
                  <a:lnTo>
                    <a:pt x="1385" y="1257"/>
                  </a:lnTo>
                  <a:lnTo>
                    <a:pt x="1380" y="1254"/>
                  </a:lnTo>
                  <a:lnTo>
                    <a:pt x="1368" y="1249"/>
                  </a:lnTo>
                  <a:lnTo>
                    <a:pt x="1356" y="1244"/>
                  </a:lnTo>
                  <a:lnTo>
                    <a:pt x="1350" y="1241"/>
                  </a:lnTo>
                  <a:lnTo>
                    <a:pt x="1345" y="1237"/>
                  </a:lnTo>
                  <a:lnTo>
                    <a:pt x="1341" y="1233"/>
                  </a:lnTo>
                  <a:lnTo>
                    <a:pt x="1337" y="1228"/>
                  </a:lnTo>
                  <a:lnTo>
                    <a:pt x="1336" y="1224"/>
                  </a:lnTo>
                  <a:lnTo>
                    <a:pt x="1334" y="1218"/>
                  </a:lnTo>
                  <a:lnTo>
                    <a:pt x="1336" y="1213"/>
                  </a:lnTo>
                  <a:lnTo>
                    <a:pt x="1336" y="1206"/>
                  </a:lnTo>
                  <a:lnTo>
                    <a:pt x="1336" y="1201"/>
                  </a:lnTo>
                  <a:lnTo>
                    <a:pt x="1336" y="1196"/>
                  </a:lnTo>
                  <a:lnTo>
                    <a:pt x="1334" y="1190"/>
                  </a:lnTo>
                  <a:lnTo>
                    <a:pt x="1330" y="1186"/>
                  </a:lnTo>
                  <a:lnTo>
                    <a:pt x="1329" y="1182"/>
                  </a:lnTo>
                  <a:lnTo>
                    <a:pt x="1326" y="1180"/>
                  </a:lnTo>
                  <a:lnTo>
                    <a:pt x="1324" y="1177"/>
                  </a:lnTo>
                  <a:lnTo>
                    <a:pt x="1320" y="1176"/>
                  </a:lnTo>
                  <a:lnTo>
                    <a:pt x="1310" y="1172"/>
                  </a:lnTo>
                  <a:lnTo>
                    <a:pt x="1301" y="1168"/>
                  </a:lnTo>
                  <a:lnTo>
                    <a:pt x="1292" y="1165"/>
                  </a:lnTo>
                  <a:lnTo>
                    <a:pt x="1284" y="1161"/>
                  </a:lnTo>
                  <a:lnTo>
                    <a:pt x="1281" y="1158"/>
                  </a:lnTo>
                  <a:lnTo>
                    <a:pt x="1279" y="1156"/>
                  </a:lnTo>
                  <a:lnTo>
                    <a:pt x="1277" y="1153"/>
                  </a:lnTo>
                  <a:lnTo>
                    <a:pt x="1276" y="1150"/>
                  </a:lnTo>
                  <a:lnTo>
                    <a:pt x="1285" y="1132"/>
                  </a:lnTo>
                  <a:lnTo>
                    <a:pt x="1295" y="1113"/>
                  </a:lnTo>
                  <a:lnTo>
                    <a:pt x="1295" y="1108"/>
                  </a:lnTo>
                  <a:lnTo>
                    <a:pt x="1293" y="1102"/>
                  </a:lnTo>
                  <a:lnTo>
                    <a:pt x="1292" y="1097"/>
                  </a:lnTo>
                  <a:lnTo>
                    <a:pt x="1289" y="1093"/>
                  </a:lnTo>
                  <a:lnTo>
                    <a:pt x="1283" y="1086"/>
                  </a:lnTo>
                  <a:lnTo>
                    <a:pt x="1276" y="1081"/>
                  </a:lnTo>
                  <a:lnTo>
                    <a:pt x="1271" y="1076"/>
                  </a:lnTo>
                  <a:lnTo>
                    <a:pt x="1264" y="1070"/>
                  </a:lnTo>
                  <a:lnTo>
                    <a:pt x="1261" y="1068"/>
                  </a:lnTo>
                  <a:lnTo>
                    <a:pt x="1260" y="1064"/>
                  </a:lnTo>
                  <a:lnTo>
                    <a:pt x="1259" y="1058"/>
                  </a:lnTo>
                  <a:lnTo>
                    <a:pt x="1259" y="1053"/>
                  </a:lnTo>
                  <a:lnTo>
                    <a:pt x="1264" y="1012"/>
                  </a:lnTo>
                  <a:lnTo>
                    <a:pt x="1279" y="998"/>
                  </a:lnTo>
                  <a:lnTo>
                    <a:pt x="1296" y="982"/>
                  </a:lnTo>
                  <a:lnTo>
                    <a:pt x="1312" y="966"/>
                  </a:lnTo>
                  <a:lnTo>
                    <a:pt x="1318" y="957"/>
                  </a:lnTo>
                  <a:lnTo>
                    <a:pt x="1317" y="949"/>
                  </a:lnTo>
                  <a:lnTo>
                    <a:pt x="1316" y="942"/>
                  </a:lnTo>
                  <a:lnTo>
                    <a:pt x="1312" y="936"/>
                  </a:lnTo>
                  <a:lnTo>
                    <a:pt x="1306" y="929"/>
                  </a:lnTo>
                  <a:lnTo>
                    <a:pt x="1301" y="922"/>
                  </a:lnTo>
                  <a:lnTo>
                    <a:pt x="1295" y="917"/>
                  </a:lnTo>
                  <a:lnTo>
                    <a:pt x="1288" y="913"/>
                  </a:lnTo>
                  <a:lnTo>
                    <a:pt x="1280" y="908"/>
                  </a:lnTo>
                  <a:lnTo>
                    <a:pt x="1265" y="901"/>
                  </a:lnTo>
                  <a:lnTo>
                    <a:pt x="1251" y="896"/>
                  </a:lnTo>
                  <a:lnTo>
                    <a:pt x="1237" y="892"/>
                  </a:lnTo>
                  <a:lnTo>
                    <a:pt x="1228" y="890"/>
                  </a:lnTo>
                  <a:lnTo>
                    <a:pt x="1216" y="890"/>
                  </a:lnTo>
                  <a:lnTo>
                    <a:pt x="1205" y="890"/>
                  </a:lnTo>
                  <a:lnTo>
                    <a:pt x="1196" y="890"/>
                  </a:lnTo>
                  <a:lnTo>
                    <a:pt x="1187" y="890"/>
                  </a:lnTo>
                  <a:lnTo>
                    <a:pt x="1173" y="892"/>
                  </a:lnTo>
                  <a:lnTo>
                    <a:pt x="1164" y="892"/>
                  </a:lnTo>
                  <a:lnTo>
                    <a:pt x="1161" y="890"/>
                  </a:lnTo>
                  <a:lnTo>
                    <a:pt x="1159" y="888"/>
                  </a:lnTo>
                  <a:lnTo>
                    <a:pt x="1157" y="885"/>
                  </a:lnTo>
                  <a:lnTo>
                    <a:pt x="1156" y="878"/>
                  </a:lnTo>
                  <a:lnTo>
                    <a:pt x="1143" y="890"/>
                  </a:lnTo>
                  <a:lnTo>
                    <a:pt x="1127" y="905"/>
                  </a:lnTo>
                  <a:lnTo>
                    <a:pt x="1112" y="922"/>
                  </a:lnTo>
                  <a:lnTo>
                    <a:pt x="1095" y="938"/>
                  </a:lnTo>
                  <a:lnTo>
                    <a:pt x="1079" y="956"/>
                  </a:lnTo>
                  <a:lnTo>
                    <a:pt x="1063" y="969"/>
                  </a:lnTo>
                  <a:lnTo>
                    <a:pt x="1053" y="974"/>
                  </a:lnTo>
                  <a:lnTo>
                    <a:pt x="1045" y="978"/>
                  </a:lnTo>
                  <a:lnTo>
                    <a:pt x="1037" y="980"/>
                  </a:lnTo>
                  <a:lnTo>
                    <a:pt x="1029" y="981"/>
                  </a:lnTo>
                  <a:lnTo>
                    <a:pt x="1020" y="981"/>
                  </a:lnTo>
                  <a:lnTo>
                    <a:pt x="1012" y="978"/>
                  </a:lnTo>
                  <a:lnTo>
                    <a:pt x="1004" y="976"/>
                  </a:lnTo>
                  <a:lnTo>
                    <a:pt x="997" y="972"/>
                  </a:lnTo>
                  <a:lnTo>
                    <a:pt x="987" y="962"/>
                  </a:lnTo>
                  <a:lnTo>
                    <a:pt x="976" y="950"/>
                  </a:lnTo>
                  <a:lnTo>
                    <a:pt x="967" y="940"/>
                  </a:lnTo>
                  <a:lnTo>
                    <a:pt x="956" y="930"/>
                  </a:lnTo>
                  <a:lnTo>
                    <a:pt x="949" y="926"/>
                  </a:lnTo>
                  <a:lnTo>
                    <a:pt x="943" y="924"/>
                  </a:lnTo>
                  <a:lnTo>
                    <a:pt x="936" y="921"/>
                  </a:lnTo>
                  <a:lnTo>
                    <a:pt x="927" y="921"/>
                  </a:lnTo>
                  <a:lnTo>
                    <a:pt x="919" y="921"/>
                  </a:lnTo>
                  <a:lnTo>
                    <a:pt x="912" y="924"/>
                  </a:lnTo>
                  <a:lnTo>
                    <a:pt x="905" y="926"/>
                  </a:lnTo>
                  <a:lnTo>
                    <a:pt x="900" y="930"/>
                  </a:lnTo>
                  <a:lnTo>
                    <a:pt x="895" y="933"/>
                  </a:lnTo>
                  <a:lnTo>
                    <a:pt x="888" y="936"/>
                  </a:lnTo>
                  <a:lnTo>
                    <a:pt x="881" y="938"/>
                  </a:lnTo>
                  <a:lnTo>
                    <a:pt x="873" y="938"/>
                  </a:lnTo>
                  <a:lnTo>
                    <a:pt x="864" y="937"/>
                  </a:lnTo>
                  <a:lnTo>
                    <a:pt x="852" y="932"/>
                  </a:lnTo>
                  <a:lnTo>
                    <a:pt x="839" y="925"/>
                  </a:lnTo>
                  <a:lnTo>
                    <a:pt x="824" y="917"/>
                  </a:lnTo>
                  <a:lnTo>
                    <a:pt x="811" y="909"/>
                  </a:lnTo>
                  <a:lnTo>
                    <a:pt x="799" y="901"/>
                  </a:lnTo>
                  <a:lnTo>
                    <a:pt x="792" y="894"/>
                  </a:lnTo>
                  <a:lnTo>
                    <a:pt x="789" y="890"/>
                  </a:lnTo>
                  <a:lnTo>
                    <a:pt x="789" y="884"/>
                  </a:lnTo>
                  <a:lnTo>
                    <a:pt x="789" y="877"/>
                  </a:lnTo>
                  <a:lnTo>
                    <a:pt x="792" y="872"/>
                  </a:lnTo>
                  <a:lnTo>
                    <a:pt x="793" y="868"/>
                  </a:lnTo>
                  <a:lnTo>
                    <a:pt x="799" y="861"/>
                  </a:lnTo>
                  <a:lnTo>
                    <a:pt x="804" y="854"/>
                  </a:lnTo>
                  <a:lnTo>
                    <a:pt x="809" y="849"/>
                  </a:lnTo>
                  <a:lnTo>
                    <a:pt x="815" y="841"/>
                  </a:lnTo>
                  <a:lnTo>
                    <a:pt x="816" y="837"/>
                  </a:lnTo>
                  <a:lnTo>
                    <a:pt x="817" y="832"/>
                  </a:lnTo>
                  <a:lnTo>
                    <a:pt x="819" y="826"/>
                  </a:lnTo>
                  <a:lnTo>
                    <a:pt x="819" y="818"/>
                  </a:lnTo>
                  <a:lnTo>
                    <a:pt x="819" y="812"/>
                  </a:lnTo>
                  <a:lnTo>
                    <a:pt x="817" y="806"/>
                  </a:lnTo>
                  <a:lnTo>
                    <a:pt x="816" y="801"/>
                  </a:lnTo>
                  <a:lnTo>
                    <a:pt x="813" y="796"/>
                  </a:lnTo>
                  <a:lnTo>
                    <a:pt x="808" y="788"/>
                  </a:lnTo>
                  <a:lnTo>
                    <a:pt x="801" y="781"/>
                  </a:lnTo>
                  <a:lnTo>
                    <a:pt x="795" y="774"/>
                  </a:lnTo>
                  <a:lnTo>
                    <a:pt x="788" y="768"/>
                  </a:lnTo>
                  <a:lnTo>
                    <a:pt x="785" y="764"/>
                  </a:lnTo>
                  <a:lnTo>
                    <a:pt x="784" y="761"/>
                  </a:lnTo>
                  <a:lnTo>
                    <a:pt x="783" y="757"/>
                  </a:lnTo>
                  <a:lnTo>
                    <a:pt x="783" y="752"/>
                  </a:lnTo>
                  <a:lnTo>
                    <a:pt x="784" y="746"/>
                  </a:lnTo>
                  <a:lnTo>
                    <a:pt x="785" y="742"/>
                  </a:lnTo>
                  <a:lnTo>
                    <a:pt x="789" y="738"/>
                  </a:lnTo>
                  <a:lnTo>
                    <a:pt x="793" y="736"/>
                  </a:lnTo>
                  <a:lnTo>
                    <a:pt x="804" y="729"/>
                  </a:lnTo>
                  <a:lnTo>
                    <a:pt x="816" y="724"/>
                  </a:lnTo>
                  <a:lnTo>
                    <a:pt x="828" y="718"/>
                  </a:lnTo>
                  <a:lnTo>
                    <a:pt x="839" y="713"/>
                  </a:lnTo>
                  <a:lnTo>
                    <a:pt x="843" y="708"/>
                  </a:lnTo>
                  <a:lnTo>
                    <a:pt x="847" y="704"/>
                  </a:lnTo>
                  <a:lnTo>
                    <a:pt x="848" y="698"/>
                  </a:lnTo>
                  <a:lnTo>
                    <a:pt x="849" y="692"/>
                  </a:lnTo>
                  <a:lnTo>
                    <a:pt x="848" y="683"/>
                  </a:lnTo>
                  <a:lnTo>
                    <a:pt x="843" y="673"/>
                  </a:lnTo>
                  <a:lnTo>
                    <a:pt x="837" y="663"/>
                  </a:lnTo>
                  <a:lnTo>
                    <a:pt x="829" y="653"/>
                  </a:lnTo>
                  <a:lnTo>
                    <a:pt x="821" y="645"/>
                  </a:lnTo>
                  <a:lnTo>
                    <a:pt x="813" y="639"/>
                  </a:lnTo>
                  <a:lnTo>
                    <a:pt x="807" y="633"/>
                  </a:lnTo>
                  <a:lnTo>
                    <a:pt x="801" y="632"/>
                  </a:lnTo>
                  <a:lnTo>
                    <a:pt x="795" y="633"/>
                  </a:lnTo>
                  <a:lnTo>
                    <a:pt x="789" y="636"/>
                  </a:lnTo>
                  <a:lnTo>
                    <a:pt x="784" y="640"/>
                  </a:lnTo>
                  <a:lnTo>
                    <a:pt x="779" y="644"/>
                  </a:lnTo>
                  <a:lnTo>
                    <a:pt x="773" y="648"/>
                  </a:lnTo>
                  <a:lnTo>
                    <a:pt x="768" y="652"/>
                  </a:lnTo>
                  <a:lnTo>
                    <a:pt x="761" y="655"/>
                  </a:lnTo>
                  <a:lnTo>
                    <a:pt x="752" y="656"/>
                  </a:lnTo>
                  <a:lnTo>
                    <a:pt x="747" y="655"/>
                  </a:lnTo>
                  <a:lnTo>
                    <a:pt x="743" y="652"/>
                  </a:lnTo>
                  <a:lnTo>
                    <a:pt x="739" y="647"/>
                  </a:lnTo>
                  <a:lnTo>
                    <a:pt x="737" y="641"/>
                  </a:lnTo>
                  <a:lnTo>
                    <a:pt x="735" y="625"/>
                  </a:lnTo>
                  <a:lnTo>
                    <a:pt x="735" y="608"/>
                  </a:lnTo>
                  <a:lnTo>
                    <a:pt x="735" y="600"/>
                  </a:lnTo>
                  <a:lnTo>
                    <a:pt x="735" y="585"/>
                  </a:lnTo>
                  <a:lnTo>
                    <a:pt x="735" y="569"/>
                  </a:lnTo>
                  <a:lnTo>
                    <a:pt x="735" y="553"/>
                  </a:lnTo>
                  <a:lnTo>
                    <a:pt x="733" y="527"/>
                  </a:lnTo>
                  <a:lnTo>
                    <a:pt x="731" y="503"/>
                  </a:lnTo>
                  <a:lnTo>
                    <a:pt x="725" y="480"/>
                  </a:lnTo>
                  <a:lnTo>
                    <a:pt x="720" y="460"/>
                  </a:lnTo>
                  <a:lnTo>
                    <a:pt x="712" y="440"/>
                  </a:lnTo>
                  <a:lnTo>
                    <a:pt x="704" y="421"/>
                  </a:lnTo>
                  <a:lnTo>
                    <a:pt x="695" y="404"/>
                  </a:lnTo>
                  <a:lnTo>
                    <a:pt x="687" y="387"/>
                  </a:lnTo>
                  <a:lnTo>
                    <a:pt x="677" y="369"/>
                  </a:lnTo>
                  <a:lnTo>
                    <a:pt x="668" y="351"/>
                  </a:lnTo>
                  <a:lnTo>
                    <a:pt x="660" y="332"/>
                  </a:lnTo>
                  <a:lnTo>
                    <a:pt x="653" y="312"/>
                  </a:lnTo>
                  <a:lnTo>
                    <a:pt x="647" y="289"/>
                  </a:lnTo>
                  <a:lnTo>
                    <a:pt x="643" y="265"/>
                  </a:lnTo>
                  <a:lnTo>
                    <a:pt x="639" y="239"/>
                  </a:lnTo>
                  <a:lnTo>
                    <a:pt x="639" y="211"/>
                  </a:lnTo>
                  <a:lnTo>
                    <a:pt x="636" y="196"/>
                  </a:lnTo>
                  <a:lnTo>
                    <a:pt x="632" y="180"/>
                  </a:lnTo>
                  <a:lnTo>
                    <a:pt x="628" y="164"/>
                  </a:lnTo>
                  <a:lnTo>
                    <a:pt x="627" y="151"/>
                  </a:lnTo>
                  <a:lnTo>
                    <a:pt x="615" y="137"/>
                  </a:lnTo>
                  <a:lnTo>
                    <a:pt x="600" y="124"/>
                  </a:lnTo>
                  <a:lnTo>
                    <a:pt x="595" y="117"/>
                  </a:lnTo>
                  <a:lnTo>
                    <a:pt x="589" y="109"/>
                  </a:lnTo>
                  <a:lnTo>
                    <a:pt x="585" y="100"/>
                  </a:lnTo>
                  <a:lnTo>
                    <a:pt x="584" y="90"/>
                  </a:lnTo>
                  <a:lnTo>
                    <a:pt x="585" y="82"/>
                  </a:lnTo>
                  <a:lnTo>
                    <a:pt x="588" y="75"/>
                  </a:lnTo>
                  <a:lnTo>
                    <a:pt x="592" y="68"/>
                  </a:lnTo>
                  <a:lnTo>
                    <a:pt x="597" y="63"/>
                  </a:lnTo>
                  <a:lnTo>
                    <a:pt x="601" y="58"/>
                  </a:lnTo>
                  <a:lnTo>
                    <a:pt x="607" y="51"/>
                  </a:lnTo>
                  <a:lnTo>
                    <a:pt x="611" y="44"/>
                  </a:lnTo>
                  <a:lnTo>
                    <a:pt x="615" y="36"/>
                  </a:lnTo>
                  <a:lnTo>
                    <a:pt x="604" y="32"/>
                  </a:lnTo>
                  <a:lnTo>
                    <a:pt x="595" y="28"/>
                  </a:lnTo>
                  <a:lnTo>
                    <a:pt x="585" y="22"/>
                  </a:lnTo>
                  <a:lnTo>
                    <a:pt x="577" y="15"/>
                  </a:lnTo>
                  <a:lnTo>
                    <a:pt x="569" y="10"/>
                  </a:lnTo>
                  <a:lnTo>
                    <a:pt x="561" y="4"/>
                  </a:lnTo>
                  <a:lnTo>
                    <a:pt x="552" y="2"/>
                  </a:lnTo>
                  <a:lnTo>
                    <a:pt x="541" y="0"/>
                  </a:lnTo>
                  <a:lnTo>
                    <a:pt x="534" y="0"/>
                  </a:lnTo>
                  <a:lnTo>
                    <a:pt x="527" y="3"/>
                  </a:lnTo>
                  <a:lnTo>
                    <a:pt x="522" y="6"/>
                  </a:lnTo>
                  <a:lnTo>
                    <a:pt x="518" y="11"/>
                  </a:lnTo>
                  <a:lnTo>
                    <a:pt x="515" y="16"/>
                  </a:lnTo>
                  <a:lnTo>
                    <a:pt x="512" y="22"/>
                  </a:lnTo>
                  <a:lnTo>
                    <a:pt x="511" y="28"/>
                  </a:lnTo>
                  <a:lnTo>
                    <a:pt x="510" y="36"/>
                  </a:lnTo>
                  <a:lnTo>
                    <a:pt x="508" y="51"/>
                  </a:lnTo>
                  <a:lnTo>
                    <a:pt x="507" y="66"/>
                  </a:lnTo>
                  <a:lnTo>
                    <a:pt x="507" y="72"/>
                  </a:lnTo>
                  <a:lnTo>
                    <a:pt x="504" y="79"/>
                  </a:lnTo>
                  <a:lnTo>
                    <a:pt x="503" y="86"/>
                  </a:lnTo>
                  <a:lnTo>
                    <a:pt x="500" y="90"/>
                  </a:lnTo>
                  <a:lnTo>
                    <a:pt x="495" y="96"/>
                  </a:lnTo>
                  <a:lnTo>
                    <a:pt x="490" y="102"/>
                  </a:lnTo>
                  <a:lnTo>
                    <a:pt x="486" y="107"/>
                  </a:lnTo>
                  <a:lnTo>
                    <a:pt x="480" y="111"/>
                  </a:lnTo>
                  <a:lnTo>
                    <a:pt x="470" y="117"/>
                  </a:lnTo>
                  <a:lnTo>
                    <a:pt x="459" y="123"/>
                  </a:lnTo>
                  <a:lnTo>
                    <a:pt x="448" y="127"/>
                  </a:lnTo>
                  <a:lnTo>
                    <a:pt x="438" y="133"/>
                  </a:lnTo>
                  <a:lnTo>
                    <a:pt x="434" y="136"/>
                  </a:lnTo>
                  <a:lnTo>
                    <a:pt x="430" y="140"/>
                  </a:lnTo>
                  <a:lnTo>
                    <a:pt x="426" y="145"/>
                  </a:lnTo>
                  <a:lnTo>
                    <a:pt x="422" y="151"/>
                  </a:lnTo>
                  <a:lnTo>
                    <a:pt x="408" y="165"/>
                  </a:lnTo>
                  <a:lnTo>
                    <a:pt x="398" y="183"/>
                  </a:lnTo>
                  <a:lnTo>
                    <a:pt x="387" y="203"/>
                  </a:lnTo>
                  <a:lnTo>
                    <a:pt x="375" y="221"/>
                  </a:lnTo>
                  <a:lnTo>
                    <a:pt x="368" y="229"/>
                  </a:lnTo>
                  <a:lnTo>
                    <a:pt x="362" y="237"/>
                  </a:lnTo>
                  <a:lnTo>
                    <a:pt x="354" y="245"/>
                  </a:lnTo>
                  <a:lnTo>
                    <a:pt x="346" y="252"/>
                  </a:lnTo>
                  <a:lnTo>
                    <a:pt x="336" y="257"/>
                  </a:lnTo>
                  <a:lnTo>
                    <a:pt x="326" y="261"/>
                  </a:lnTo>
                  <a:lnTo>
                    <a:pt x="314" y="264"/>
                  </a:lnTo>
                  <a:lnTo>
                    <a:pt x="302" y="264"/>
                  </a:lnTo>
                  <a:lnTo>
                    <a:pt x="290" y="265"/>
                  </a:lnTo>
                  <a:lnTo>
                    <a:pt x="279" y="268"/>
                  </a:lnTo>
                  <a:lnTo>
                    <a:pt x="270" y="272"/>
                  </a:lnTo>
                  <a:lnTo>
                    <a:pt x="259" y="279"/>
                  </a:lnTo>
                  <a:lnTo>
                    <a:pt x="250" y="285"/>
                  </a:lnTo>
                  <a:lnTo>
                    <a:pt x="240" y="292"/>
                  </a:lnTo>
                  <a:lnTo>
                    <a:pt x="232" y="301"/>
                  </a:lnTo>
                  <a:lnTo>
                    <a:pt x="223" y="309"/>
                  </a:lnTo>
                  <a:lnTo>
                    <a:pt x="194" y="345"/>
                  </a:lnTo>
                  <a:lnTo>
                    <a:pt x="168" y="373"/>
                  </a:lnTo>
                  <a:lnTo>
                    <a:pt x="159" y="379"/>
                  </a:lnTo>
                  <a:lnTo>
                    <a:pt x="148" y="384"/>
                  </a:lnTo>
                  <a:lnTo>
                    <a:pt x="138" y="388"/>
                  </a:lnTo>
                  <a:lnTo>
                    <a:pt x="126" y="391"/>
                  </a:lnTo>
                  <a:lnTo>
                    <a:pt x="100" y="396"/>
                  </a:lnTo>
                  <a:lnTo>
                    <a:pt x="76" y="400"/>
                  </a:lnTo>
                  <a:lnTo>
                    <a:pt x="66" y="403"/>
                  </a:lnTo>
                  <a:lnTo>
                    <a:pt x="54" y="405"/>
                  </a:lnTo>
                  <a:lnTo>
                    <a:pt x="44" y="409"/>
                  </a:lnTo>
                  <a:lnTo>
                    <a:pt x="35" y="413"/>
                  </a:lnTo>
                  <a:lnTo>
                    <a:pt x="27" y="419"/>
                  </a:lnTo>
                  <a:lnTo>
                    <a:pt x="20" y="427"/>
                  </a:lnTo>
                  <a:lnTo>
                    <a:pt x="15" y="435"/>
                  </a:lnTo>
                  <a:lnTo>
                    <a:pt x="12" y="445"/>
                  </a:lnTo>
                  <a:lnTo>
                    <a:pt x="0" y="45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Freeform 57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1830388" y="3527425"/>
              <a:ext cx="258762" cy="249238"/>
            </a:xfrm>
            <a:custGeom>
              <a:avLst/>
              <a:gdLst/>
              <a:ahLst/>
              <a:cxnLst>
                <a:cxn ang="0">
                  <a:pos x="499" y="649"/>
                </a:cxn>
                <a:cxn ang="0">
                  <a:pos x="528" y="616"/>
                </a:cxn>
                <a:cxn ang="0">
                  <a:pos x="568" y="584"/>
                </a:cxn>
                <a:cxn ang="0">
                  <a:pos x="592" y="557"/>
                </a:cxn>
                <a:cxn ang="0">
                  <a:pos x="602" y="524"/>
                </a:cxn>
                <a:cxn ang="0">
                  <a:pos x="599" y="511"/>
                </a:cxn>
                <a:cxn ang="0">
                  <a:pos x="587" y="497"/>
                </a:cxn>
                <a:cxn ang="0">
                  <a:pos x="575" y="483"/>
                </a:cxn>
                <a:cxn ang="0">
                  <a:pos x="572" y="469"/>
                </a:cxn>
                <a:cxn ang="0">
                  <a:pos x="582" y="437"/>
                </a:cxn>
                <a:cxn ang="0">
                  <a:pos x="598" y="409"/>
                </a:cxn>
                <a:cxn ang="0">
                  <a:pos x="602" y="367"/>
                </a:cxn>
                <a:cxn ang="0">
                  <a:pos x="596" y="335"/>
                </a:cxn>
                <a:cxn ang="0">
                  <a:pos x="580" y="316"/>
                </a:cxn>
                <a:cxn ang="0">
                  <a:pos x="562" y="275"/>
                </a:cxn>
                <a:cxn ang="0">
                  <a:pos x="536" y="263"/>
                </a:cxn>
                <a:cxn ang="0">
                  <a:pos x="491" y="226"/>
                </a:cxn>
                <a:cxn ang="0">
                  <a:pos x="459" y="208"/>
                </a:cxn>
                <a:cxn ang="0">
                  <a:pos x="434" y="206"/>
                </a:cxn>
                <a:cxn ang="0">
                  <a:pos x="420" y="211"/>
                </a:cxn>
                <a:cxn ang="0">
                  <a:pos x="402" y="234"/>
                </a:cxn>
                <a:cxn ang="0">
                  <a:pos x="387" y="246"/>
                </a:cxn>
                <a:cxn ang="0">
                  <a:pos x="372" y="247"/>
                </a:cxn>
                <a:cxn ang="0">
                  <a:pos x="356" y="239"/>
                </a:cxn>
                <a:cxn ang="0">
                  <a:pos x="346" y="224"/>
                </a:cxn>
                <a:cxn ang="0">
                  <a:pos x="336" y="190"/>
                </a:cxn>
                <a:cxn ang="0">
                  <a:pos x="331" y="140"/>
                </a:cxn>
                <a:cxn ang="0">
                  <a:pos x="320" y="95"/>
                </a:cxn>
                <a:cxn ang="0">
                  <a:pos x="308" y="78"/>
                </a:cxn>
                <a:cxn ang="0">
                  <a:pos x="292" y="68"/>
                </a:cxn>
                <a:cxn ang="0">
                  <a:pos x="271" y="67"/>
                </a:cxn>
                <a:cxn ang="0">
                  <a:pos x="252" y="75"/>
                </a:cxn>
                <a:cxn ang="0">
                  <a:pos x="231" y="84"/>
                </a:cxn>
                <a:cxn ang="0">
                  <a:pos x="211" y="82"/>
                </a:cxn>
                <a:cxn ang="0">
                  <a:pos x="183" y="67"/>
                </a:cxn>
                <a:cxn ang="0">
                  <a:pos x="144" y="28"/>
                </a:cxn>
                <a:cxn ang="0">
                  <a:pos x="134" y="7"/>
                </a:cxn>
                <a:cxn ang="0">
                  <a:pos x="112" y="11"/>
                </a:cxn>
                <a:cxn ang="0">
                  <a:pos x="91" y="35"/>
                </a:cxn>
                <a:cxn ang="0">
                  <a:pos x="84" y="67"/>
                </a:cxn>
                <a:cxn ang="0">
                  <a:pos x="84" y="203"/>
                </a:cxn>
                <a:cxn ang="0">
                  <a:pos x="82" y="279"/>
                </a:cxn>
                <a:cxn ang="0">
                  <a:pos x="68" y="303"/>
                </a:cxn>
                <a:cxn ang="0">
                  <a:pos x="48" y="321"/>
                </a:cxn>
                <a:cxn ang="0">
                  <a:pos x="14" y="345"/>
                </a:cxn>
                <a:cxn ang="0">
                  <a:pos x="0" y="361"/>
                </a:cxn>
                <a:cxn ang="0">
                  <a:pos x="24" y="368"/>
                </a:cxn>
                <a:cxn ang="0">
                  <a:pos x="63" y="399"/>
                </a:cxn>
                <a:cxn ang="0">
                  <a:pos x="100" y="445"/>
                </a:cxn>
                <a:cxn ang="0">
                  <a:pos x="122" y="468"/>
                </a:cxn>
                <a:cxn ang="0">
                  <a:pos x="160" y="479"/>
                </a:cxn>
                <a:cxn ang="0">
                  <a:pos x="200" y="485"/>
                </a:cxn>
                <a:cxn ang="0">
                  <a:pos x="223" y="499"/>
                </a:cxn>
                <a:cxn ang="0">
                  <a:pos x="235" y="524"/>
                </a:cxn>
                <a:cxn ang="0">
                  <a:pos x="244" y="551"/>
                </a:cxn>
                <a:cxn ang="0">
                  <a:pos x="262" y="571"/>
                </a:cxn>
                <a:cxn ang="0">
                  <a:pos x="294" y="585"/>
                </a:cxn>
                <a:cxn ang="0">
                  <a:pos x="352" y="597"/>
                </a:cxn>
                <a:cxn ang="0">
                  <a:pos x="416" y="607"/>
                </a:cxn>
                <a:cxn ang="0">
                  <a:pos x="454" y="619"/>
                </a:cxn>
                <a:cxn ang="0">
                  <a:pos x="476" y="633"/>
                </a:cxn>
                <a:cxn ang="0">
                  <a:pos x="494" y="656"/>
                </a:cxn>
              </a:cxnLst>
              <a:rect l="0" t="0" r="r" b="b"/>
              <a:pathLst>
                <a:path w="602" h="668">
                  <a:moveTo>
                    <a:pt x="494" y="668"/>
                  </a:moveTo>
                  <a:lnTo>
                    <a:pt x="495" y="659"/>
                  </a:lnTo>
                  <a:lnTo>
                    <a:pt x="499" y="649"/>
                  </a:lnTo>
                  <a:lnTo>
                    <a:pt x="504" y="641"/>
                  </a:lnTo>
                  <a:lnTo>
                    <a:pt x="511" y="632"/>
                  </a:lnTo>
                  <a:lnTo>
                    <a:pt x="528" y="616"/>
                  </a:lnTo>
                  <a:lnTo>
                    <a:pt x="548" y="601"/>
                  </a:lnTo>
                  <a:lnTo>
                    <a:pt x="558" y="593"/>
                  </a:lnTo>
                  <a:lnTo>
                    <a:pt x="568" y="584"/>
                  </a:lnTo>
                  <a:lnTo>
                    <a:pt x="578" y="576"/>
                  </a:lnTo>
                  <a:lnTo>
                    <a:pt x="586" y="567"/>
                  </a:lnTo>
                  <a:lnTo>
                    <a:pt x="592" y="557"/>
                  </a:lnTo>
                  <a:lnTo>
                    <a:pt x="598" y="547"/>
                  </a:lnTo>
                  <a:lnTo>
                    <a:pt x="602" y="536"/>
                  </a:lnTo>
                  <a:lnTo>
                    <a:pt x="602" y="524"/>
                  </a:lnTo>
                  <a:lnTo>
                    <a:pt x="602" y="519"/>
                  </a:lnTo>
                  <a:lnTo>
                    <a:pt x="600" y="515"/>
                  </a:lnTo>
                  <a:lnTo>
                    <a:pt x="599" y="511"/>
                  </a:lnTo>
                  <a:lnTo>
                    <a:pt x="598" y="507"/>
                  </a:lnTo>
                  <a:lnTo>
                    <a:pt x="592" y="501"/>
                  </a:lnTo>
                  <a:lnTo>
                    <a:pt x="587" y="497"/>
                  </a:lnTo>
                  <a:lnTo>
                    <a:pt x="582" y="492"/>
                  </a:lnTo>
                  <a:lnTo>
                    <a:pt x="576" y="487"/>
                  </a:lnTo>
                  <a:lnTo>
                    <a:pt x="575" y="483"/>
                  </a:lnTo>
                  <a:lnTo>
                    <a:pt x="574" y="480"/>
                  </a:lnTo>
                  <a:lnTo>
                    <a:pt x="572" y="475"/>
                  </a:lnTo>
                  <a:lnTo>
                    <a:pt x="572" y="469"/>
                  </a:lnTo>
                  <a:lnTo>
                    <a:pt x="574" y="457"/>
                  </a:lnTo>
                  <a:lnTo>
                    <a:pt x="576" y="447"/>
                  </a:lnTo>
                  <a:lnTo>
                    <a:pt x="582" y="437"/>
                  </a:lnTo>
                  <a:lnTo>
                    <a:pt x="587" y="429"/>
                  </a:lnTo>
                  <a:lnTo>
                    <a:pt x="592" y="420"/>
                  </a:lnTo>
                  <a:lnTo>
                    <a:pt x="598" y="409"/>
                  </a:lnTo>
                  <a:lnTo>
                    <a:pt x="600" y="396"/>
                  </a:lnTo>
                  <a:lnTo>
                    <a:pt x="602" y="379"/>
                  </a:lnTo>
                  <a:lnTo>
                    <a:pt x="602" y="367"/>
                  </a:lnTo>
                  <a:lnTo>
                    <a:pt x="600" y="355"/>
                  </a:lnTo>
                  <a:lnTo>
                    <a:pt x="599" y="344"/>
                  </a:lnTo>
                  <a:lnTo>
                    <a:pt x="596" y="335"/>
                  </a:lnTo>
                  <a:lnTo>
                    <a:pt x="592" y="327"/>
                  </a:lnTo>
                  <a:lnTo>
                    <a:pt x="587" y="321"/>
                  </a:lnTo>
                  <a:lnTo>
                    <a:pt x="580" y="316"/>
                  </a:lnTo>
                  <a:lnTo>
                    <a:pt x="572" y="313"/>
                  </a:lnTo>
                  <a:lnTo>
                    <a:pt x="572" y="278"/>
                  </a:lnTo>
                  <a:lnTo>
                    <a:pt x="562" y="275"/>
                  </a:lnTo>
                  <a:lnTo>
                    <a:pt x="554" y="272"/>
                  </a:lnTo>
                  <a:lnTo>
                    <a:pt x="544" y="268"/>
                  </a:lnTo>
                  <a:lnTo>
                    <a:pt x="536" y="263"/>
                  </a:lnTo>
                  <a:lnTo>
                    <a:pt x="520" y="252"/>
                  </a:lnTo>
                  <a:lnTo>
                    <a:pt x="506" y="239"/>
                  </a:lnTo>
                  <a:lnTo>
                    <a:pt x="491" y="226"/>
                  </a:lnTo>
                  <a:lnTo>
                    <a:pt x="475" y="215"/>
                  </a:lnTo>
                  <a:lnTo>
                    <a:pt x="467" y="211"/>
                  </a:lnTo>
                  <a:lnTo>
                    <a:pt x="459" y="208"/>
                  </a:lnTo>
                  <a:lnTo>
                    <a:pt x="450" y="206"/>
                  </a:lnTo>
                  <a:lnTo>
                    <a:pt x="439" y="204"/>
                  </a:lnTo>
                  <a:lnTo>
                    <a:pt x="434" y="206"/>
                  </a:lnTo>
                  <a:lnTo>
                    <a:pt x="430" y="207"/>
                  </a:lnTo>
                  <a:lnTo>
                    <a:pt x="424" y="208"/>
                  </a:lnTo>
                  <a:lnTo>
                    <a:pt x="420" y="211"/>
                  </a:lnTo>
                  <a:lnTo>
                    <a:pt x="414" y="218"/>
                  </a:lnTo>
                  <a:lnTo>
                    <a:pt x="407" y="226"/>
                  </a:lnTo>
                  <a:lnTo>
                    <a:pt x="402" y="234"/>
                  </a:lnTo>
                  <a:lnTo>
                    <a:pt x="395" y="240"/>
                  </a:lnTo>
                  <a:lnTo>
                    <a:pt x="391" y="243"/>
                  </a:lnTo>
                  <a:lnTo>
                    <a:pt x="387" y="246"/>
                  </a:lnTo>
                  <a:lnTo>
                    <a:pt x="383" y="247"/>
                  </a:lnTo>
                  <a:lnTo>
                    <a:pt x="379" y="247"/>
                  </a:lnTo>
                  <a:lnTo>
                    <a:pt x="372" y="247"/>
                  </a:lnTo>
                  <a:lnTo>
                    <a:pt x="366" y="246"/>
                  </a:lnTo>
                  <a:lnTo>
                    <a:pt x="360" y="243"/>
                  </a:lnTo>
                  <a:lnTo>
                    <a:pt x="356" y="239"/>
                  </a:lnTo>
                  <a:lnTo>
                    <a:pt x="352" y="235"/>
                  </a:lnTo>
                  <a:lnTo>
                    <a:pt x="348" y="231"/>
                  </a:lnTo>
                  <a:lnTo>
                    <a:pt x="346" y="224"/>
                  </a:lnTo>
                  <a:lnTo>
                    <a:pt x="343" y="219"/>
                  </a:lnTo>
                  <a:lnTo>
                    <a:pt x="339" y="206"/>
                  </a:lnTo>
                  <a:lnTo>
                    <a:pt x="336" y="190"/>
                  </a:lnTo>
                  <a:lnTo>
                    <a:pt x="334" y="174"/>
                  </a:lnTo>
                  <a:lnTo>
                    <a:pt x="332" y="156"/>
                  </a:lnTo>
                  <a:lnTo>
                    <a:pt x="331" y="140"/>
                  </a:lnTo>
                  <a:lnTo>
                    <a:pt x="328" y="123"/>
                  </a:lnTo>
                  <a:lnTo>
                    <a:pt x="324" y="108"/>
                  </a:lnTo>
                  <a:lnTo>
                    <a:pt x="320" y="95"/>
                  </a:lnTo>
                  <a:lnTo>
                    <a:pt x="316" y="88"/>
                  </a:lnTo>
                  <a:lnTo>
                    <a:pt x="314" y="83"/>
                  </a:lnTo>
                  <a:lnTo>
                    <a:pt x="308" y="78"/>
                  </a:lnTo>
                  <a:lnTo>
                    <a:pt x="304" y="74"/>
                  </a:lnTo>
                  <a:lnTo>
                    <a:pt x="299" y="71"/>
                  </a:lnTo>
                  <a:lnTo>
                    <a:pt x="292" y="68"/>
                  </a:lnTo>
                  <a:lnTo>
                    <a:pt x="284" y="67"/>
                  </a:lnTo>
                  <a:lnTo>
                    <a:pt x="276" y="67"/>
                  </a:lnTo>
                  <a:lnTo>
                    <a:pt x="271" y="67"/>
                  </a:lnTo>
                  <a:lnTo>
                    <a:pt x="264" y="70"/>
                  </a:lnTo>
                  <a:lnTo>
                    <a:pt x="258" y="72"/>
                  </a:lnTo>
                  <a:lnTo>
                    <a:pt x="252" y="75"/>
                  </a:lnTo>
                  <a:lnTo>
                    <a:pt x="246" y="79"/>
                  </a:lnTo>
                  <a:lnTo>
                    <a:pt x="239" y="82"/>
                  </a:lnTo>
                  <a:lnTo>
                    <a:pt x="231" y="84"/>
                  </a:lnTo>
                  <a:lnTo>
                    <a:pt x="223" y="84"/>
                  </a:lnTo>
                  <a:lnTo>
                    <a:pt x="216" y="84"/>
                  </a:lnTo>
                  <a:lnTo>
                    <a:pt x="211" y="82"/>
                  </a:lnTo>
                  <a:lnTo>
                    <a:pt x="204" y="80"/>
                  </a:lnTo>
                  <a:lnTo>
                    <a:pt x="196" y="76"/>
                  </a:lnTo>
                  <a:lnTo>
                    <a:pt x="183" y="67"/>
                  </a:lnTo>
                  <a:lnTo>
                    <a:pt x="168" y="56"/>
                  </a:lnTo>
                  <a:lnTo>
                    <a:pt x="155" y="43"/>
                  </a:lnTo>
                  <a:lnTo>
                    <a:pt x="144" y="28"/>
                  </a:lnTo>
                  <a:lnTo>
                    <a:pt x="140" y="22"/>
                  </a:lnTo>
                  <a:lnTo>
                    <a:pt x="136" y="14"/>
                  </a:lnTo>
                  <a:lnTo>
                    <a:pt x="134" y="7"/>
                  </a:lnTo>
                  <a:lnTo>
                    <a:pt x="132" y="0"/>
                  </a:lnTo>
                  <a:lnTo>
                    <a:pt x="122" y="6"/>
                  </a:lnTo>
                  <a:lnTo>
                    <a:pt x="112" y="11"/>
                  </a:lnTo>
                  <a:lnTo>
                    <a:pt x="104" y="19"/>
                  </a:lnTo>
                  <a:lnTo>
                    <a:pt x="96" y="27"/>
                  </a:lnTo>
                  <a:lnTo>
                    <a:pt x="91" y="35"/>
                  </a:lnTo>
                  <a:lnTo>
                    <a:pt x="87" y="46"/>
                  </a:lnTo>
                  <a:lnTo>
                    <a:pt x="84" y="55"/>
                  </a:lnTo>
                  <a:lnTo>
                    <a:pt x="84" y="67"/>
                  </a:lnTo>
                  <a:lnTo>
                    <a:pt x="84" y="115"/>
                  </a:lnTo>
                  <a:lnTo>
                    <a:pt x="84" y="158"/>
                  </a:lnTo>
                  <a:lnTo>
                    <a:pt x="84" y="203"/>
                  </a:lnTo>
                  <a:lnTo>
                    <a:pt x="84" y="259"/>
                  </a:lnTo>
                  <a:lnTo>
                    <a:pt x="83" y="270"/>
                  </a:lnTo>
                  <a:lnTo>
                    <a:pt x="82" y="279"/>
                  </a:lnTo>
                  <a:lnTo>
                    <a:pt x="78" y="288"/>
                  </a:lnTo>
                  <a:lnTo>
                    <a:pt x="74" y="296"/>
                  </a:lnTo>
                  <a:lnTo>
                    <a:pt x="68" y="303"/>
                  </a:lnTo>
                  <a:lnTo>
                    <a:pt x="62" y="309"/>
                  </a:lnTo>
                  <a:lnTo>
                    <a:pt x="56" y="316"/>
                  </a:lnTo>
                  <a:lnTo>
                    <a:pt x="48" y="321"/>
                  </a:lnTo>
                  <a:lnTo>
                    <a:pt x="35" y="332"/>
                  </a:lnTo>
                  <a:lnTo>
                    <a:pt x="20" y="341"/>
                  </a:lnTo>
                  <a:lnTo>
                    <a:pt x="14" y="345"/>
                  </a:lnTo>
                  <a:lnTo>
                    <a:pt x="8" y="351"/>
                  </a:lnTo>
                  <a:lnTo>
                    <a:pt x="4" y="356"/>
                  </a:lnTo>
                  <a:lnTo>
                    <a:pt x="0" y="361"/>
                  </a:lnTo>
                  <a:lnTo>
                    <a:pt x="8" y="361"/>
                  </a:lnTo>
                  <a:lnTo>
                    <a:pt x="16" y="364"/>
                  </a:lnTo>
                  <a:lnTo>
                    <a:pt x="24" y="368"/>
                  </a:lnTo>
                  <a:lnTo>
                    <a:pt x="32" y="372"/>
                  </a:lnTo>
                  <a:lnTo>
                    <a:pt x="48" y="384"/>
                  </a:lnTo>
                  <a:lnTo>
                    <a:pt x="63" y="399"/>
                  </a:lnTo>
                  <a:lnTo>
                    <a:pt x="78" y="413"/>
                  </a:lnTo>
                  <a:lnTo>
                    <a:pt x="90" y="429"/>
                  </a:lnTo>
                  <a:lnTo>
                    <a:pt x="100" y="445"/>
                  </a:lnTo>
                  <a:lnTo>
                    <a:pt x="108" y="457"/>
                  </a:lnTo>
                  <a:lnTo>
                    <a:pt x="115" y="464"/>
                  </a:lnTo>
                  <a:lnTo>
                    <a:pt x="122" y="468"/>
                  </a:lnTo>
                  <a:lnTo>
                    <a:pt x="131" y="472"/>
                  </a:lnTo>
                  <a:lnTo>
                    <a:pt x="140" y="475"/>
                  </a:lnTo>
                  <a:lnTo>
                    <a:pt x="160" y="479"/>
                  </a:lnTo>
                  <a:lnTo>
                    <a:pt x="180" y="481"/>
                  </a:lnTo>
                  <a:lnTo>
                    <a:pt x="191" y="484"/>
                  </a:lnTo>
                  <a:lnTo>
                    <a:pt x="200" y="485"/>
                  </a:lnTo>
                  <a:lnTo>
                    <a:pt x="208" y="489"/>
                  </a:lnTo>
                  <a:lnTo>
                    <a:pt x="216" y="493"/>
                  </a:lnTo>
                  <a:lnTo>
                    <a:pt x="223" y="499"/>
                  </a:lnTo>
                  <a:lnTo>
                    <a:pt x="228" y="505"/>
                  </a:lnTo>
                  <a:lnTo>
                    <a:pt x="232" y="513"/>
                  </a:lnTo>
                  <a:lnTo>
                    <a:pt x="235" y="524"/>
                  </a:lnTo>
                  <a:lnTo>
                    <a:pt x="236" y="535"/>
                  </a:lnTo>
                  <a:lnTo>
                    <a:pt x="240" y="543"/>
                  </a:lnTo>
                  <a:lnTo>
                    <a:pt x="244" y="551"/>
                  </a:lnTo>
                  <a:lnTo>
                    <a:pt x="250" y="559"/>
                  </a:lnTo>
                  <a:lnTo>
                    <a:pt x="255" y="565"/>
                  </a:lnTo>
                  <a:lnTo>
                    <a:pt x="262" y="571"/>
                  </a:lnTo>
                  <a:lnTo>
                    <a:pt x="268" y="575"/>
                  </a:lnTo>
                  <a:lnTo>
                    <a:pt x="276" y="579"/>
                  </a:lnTo>
                  <a:lnTo>
                    <a:pt x="294" y="585"/>
                  </a:lnTo>
                  <a:lnTo>
                    <a:pt x="312" y="591"/>
                  </a:lnTo>
                  <a:lnTo>
                    <a:pt x="332" y="595"/>
                  </a:lnTo>
                  <a:lnTo>
                    <a:pt x="352" y="597"/>
                  </a:lnTo>
                  <a:lnTo>
                    <a:pt x="374" y="600"/>
                  </a:lnTo>
                  <a:lnTo>
                    <a:pt x="395" y="603"/>
                  </a:lnTo>
                  <a:lnTo>
                    <a:pt x="416" y="607"/>
                  </a:lnTo>
                  <a:lnTo>
                    <a:pt x="435" y="611"/>
                  </a:lnTo>
                  <a:lnTo>
                    <a:pt x="444" y="615"/>
                  </a:lnTo>
                  <a:lnTo>
                    <a:pt x="454" y="619"/>
                  </a:lnTo>
                  <a:lnTo>
                    <a:pt x="462" y="623"/>
                  </a:lnTo>
                  <a:lnTo>
                    <a:pt x="470" y="628"/>
                  </a:lnTo>
                  <a:lnTo>
                    <a:pt x="476" y="633"/>
                  </a:lnTo>
                  <a:lnTo>
                    <a:pt x="483" y="640"/>
                  </a:lnTo>
                  <a:lnTo>
                    <a:pt x="488" y="648"/>
                  </a:lnTo>
                  <a:lnTo>
                    <a:pt x="494" y="656"/>
                  </a:lnTo>
                  <a:lnTo>
                    <a:pt x="494" y="668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7" name="Freeform 56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1747838" y="3662363"/>
              <a:ext cx="466725" cy="384175"/>
            </a:xfrm>
            <a:custGeom>
              <a:avLst/>
              <a:gdLst/>
              <a:ahLst/>
              <a:cxnLst>
                <a:cxn ang="0">
                  <a:pos x="695" y="323"/>
                </a:cxn>
                <a:cxn ang="0">
                  <a:pos x="769" y="359"/>
                </a:cxn>
                <a:cxn ang="0">
                  <a:pos x="928" y="392"/>
                </a:cxn>
                <a:cxn ang="0">
                  <a:pos x="929" y="378"/>
                </a:cxn>
                <a:cxn ang="0">
                  <a:pos x="921" y="394"/>
                </a:cxn>
                <a:cxn ang="0">
                  <a:pos x="889" y="424"/>
                </a:cxn>
                <a:cxn ang="0">
                  <a:pos x="889" y="462"/>
                </a:cxn>
                <a:cxn ang="0">
                  <a:pos x="917" y="507"/>
                </a:cxn>
                <a:cxn ang="0">
                  <a:pos x="996" y="591"/>
                </a:cxn>
                <a:cxn ang="0">
                  <a:pos x="1041" y="716"/>
                </a:cxn>
                <a:cxn ang="0">
                  <a:pos x="1084" y="801"/>
                </a:cxn>
                <a:cxn ang="0">
                  <a:pos x="1058" y="825"/>
                </a:cxn>
                <a:cxn ang="0">
                  <a:pos x="980" y="848"/>
                </a:cxn>
                <a:cxn ang="0">
                  <a:pos x="889" y="872"/>
                </a:cxn>
                <a:cxn ang="0">
                  <a:pos x="834" y="864"/>
                </a:cxn>
                <a:cxn ang="0">
                  <a:pos x="792" y="856"/>
                </a:cxn>
                <a:cxn ang="0">
                  <a:pos x="725" y="881"/>
                </a:cxn>
                <a:cxn ang="0">
                  <a:pos x="667" y="889"/>
                </a:cxn>
                <a:cxn ang="0">
                  <a:pos x="636" y="907"/>
                </a:cxn>
                <a:cxn ang="0">
                  <a:pos x="605" y="968"/>
                </a:cxn>
                <a:cxn ang="0">
                  <a:pos x="580" y="1011"/>
                </a:cxn>
                <a:cxn ang="0">
                  <a:pos x="551" y="1024"/>
                </a:cxn>
                <a:cxn ang="0">
                  <a:pos x="504" y="1015"/>
                </a:cxn>
                <a:cxn ang="0">
                  <a:pos x="471" y="911"/>
                </a:cxn>
                <a:cxn ang="0">
                  <a:pos x="471" y="845"/>
                </a:cxn>
                <a:cxn ang="0">
                  <a:pos x="461" y="827"/>
                </a:cxn>
                <a:cxn ang="0">
                  <a:pos x="380" y="687"/>
                </a:cxn>
                <a:cxn ang="0">
                  <a:pos x="323" y="679"/>
                </a:cxn>
                <a:cxn ang="0">
                  <a:pos x="311" y="641"/>
                </a:cxn>
                <a:cxn ang="0">
                  <a:pos x="299" y="597"/>
                </a:cxn>
                <a:cxn ang="0">
                  <a:pos x="253" y="596"/>
                </a:cxn>
                <a:cxn ang="0">
                  <a:pos x="220" y="583"/>
                </a:cxn>
                <a:cxn ang="0">
                  <a:pos x="213" y="548"/>
                </a:cxn>
                <a:cxn ang="0">
                  <a:pos x="244" y="513"/>
                </a:cxn>
                <a:cxn ang="0">
                  <a:pos x="259" y="482"/>
                </a:cxn>
                <a:cxn ang="0">
                  <a:pos x="233" y="415"/>
                </a:cxn>
                <a:cxn ang="0">
                  <a:pos x="152" y="362"/>
                </a:cxn>
                <a:cxn ang="0">
                  <a:pos x="109" y="318"/>
                </a:cxn>
                <a:cxn ang="0">
                  <a:pos x="48" y="291"/>
                </a:cxn>
                <a:cxn ang="0">
                  <a:pos x="8" y="266"/>
                </a:cxn>
                <a:cxn ang="0">
                  <a:pos x="3" y="204"/>
                </a:cxn>
                <a:cxn ang="0">
                  <a:pos x="18" y="154"/>
                </a:cxn>
                <a:cxn ang="0">
                  <a:pos x="19" y="96"/>
                </a:cxn>
                <a:cxn ang="0">
                  <a:pos x="176" y="2"/>
                </a:cxn>
                <a:cxn ang="0">
                  <a:pos x="217" y="7"/>
                </a:cxn>
                <a:cxn ang="0">
                  <a:pos x="283" y="68"/>
                </a:cxn>
                <a:cxn ang="0">
                  <a:pos x="324" y="111"/>
                </a:cxn>
                <a:cxn ang="0">
                  <a:pos x="393" y="124"/>
                </a:cxn>
                <a:cxn ang="0">
                  <a:pos x="425" y="152"/>
                </a:cxn>
                <a:cxn ang="0">
                  <a:pos x="443" y="198"/>
                </a:cxn>
                <a:cxn ang="0">
                  <a:pos x="487" y="224"/>
                </a:cxn>
                <a:cxn ang="0">
                  <a:pos x="588" y="242"/>
                </a:cxn>
                <a:cxn ang="0">
                  <a:pos x="655" y="262"/>
                </a:cxn>
                <a:cxn ang="0">
                  <a:pos x="687" y="295"/>
                </a:cxn>
              </a:cxnLst>
              <a:rect l="0" t="0" r="r" b="b"/>
              <a:pathLst>
                <a:path w="1084" h="1024">
                  <a:moveTo>
                    <a:pt x="687" y="307"/>
                  </a:moveTo>
                  <a:lnTo>
                    <a:pt x="688" y="311"/>
                  </a:lnTo>
                  <a:lnTo>
                    <a:pt x="689" y="315"/>
                  </a:lnTo>
                  <a:lnTo>
                    <a:pt x="692" y="319"/>
                  </a:lnTo>
                  <a:lnTo>
                    <a:pt x="695" y="323"/>
                  </a:lnTo>
                  <a:lnTo>
                    <a:pt x="705" y="331"/>
                  </a:lnTo>
                  <a:lnTo>
                    <a:pt x="717" y="339"/>
                  </a:lnTo>
                  <a:lnTo>
                    <a:pt x="733" y="346"/>
                  </a:lnTo>
                  <a:lnTo>
                    <a:pt x="751" y="352"/>
                  </a:lnTo>
                  <a:lnTo>
                    <a:pt x="769" y="359"/>
                  </a:lnTo>
                  <a:lnTo>
                    <a:pt x="789" y="366"/>
                  </a:lnTo>
                  <a:lnTo>
                    <a:pt x="830" y="376"/>
                  </a:lnTo>
                  <a:lnTo>
                    <a:pt x="869" y="384"/>
                  </a:lnTo>
                  <a:lnTo>
                    <a:pt x="904" y="390"/>
                  </a:lnTo>
                  <a:lnTo>
                    <a:pt x="928" y="392"/>
                  </a:lnTo>
                  <a:lnTo>
                    <a:pt x="930" y="390"/>
                  </a:lnTo>
                  <a:lnTo>
                    <a:pt x="933" y="388"/>
                  </a:lnTo>
                  <a:lnTo>
                    <a:pt x="933" y="386"/>
                  </a:lnTo>
                  <a:lnTo>
                    <a:pt x="932" y="384"/>
                  </a:lnTo>
                  <a:lnTo>
                    <a:pt x="929" y="378"/>
                  </a:lnTo>
                  <a:lnTo>
                    <a:pt x="928" y="368"/>
                  </a:lnTo>
                  <a:lnTo>
                    <a:pt x="926" y="376"/>
                  </a:lnTo>
                  <a:lnTo>
                    <a:pt x="925" y="383"/>
                  </a:lnTo>
                  <a:lnTo>
                    <a:pt x="924" y="390"/>
                  </a:lnTo>
                  <a:lnTo>
                    <a:pt x="921" y="394"/>
                  </a:lnTo>
                  <a:lnTo>
                    <a:pt x="914" y="402"/>
                  </a:lnTo>
                  <a:lnTo>
                    <a:pt x="906" y="408"/>
                  </a:lnTo>
                  <a:lnTo>
                    <a:pt x="898" y="414"/>
                  </a:lnTo>
                  <a:lnTo>
                    <a:pt x="892" y="420"/>
                  </a:lnTo>
                  <a:lnTo>
                    <a:pt x="889" y="424"/>
                  </a:lnTo>
                  <a:lnTo>
                    <a:pt x="888" y="428"/>
                  </a:lnTo>
                  <a:lnTo>
                    <a:pt x="886" y="434"/>
                  </a:lnTo>
                  <a:lnTo>
                    <a:pt x="885" y="440"/>
                  </a:lnTo>
                  <a:lnTo>
                    <a:pt x="886" y="451"/>
                  </a:lnTo>
                  <a:lnTo>
                    <a:pt x="889" y="462"/>
                  </a:lnTo>
                  <a:lnTo>
                    <a:pt x="892" y="471"/>
                  </a:lnTo>
                  <a:lnTo>
                    <a:pt x="897" y="480"/>
                  </a:lnTo>
                  <a:lnTo>
                    <a:pt x="902" y="490"/>
                  </a:lnTo>
                  <a:lnTo>
                    <a:pt x="909" y="499"/>
                  </a:lnTo>
                  <a:lnTo>
                    <a:pt x="917" y="507"/>
                  </a:lnTo>
                  <a:lnTo>
                    <a:pt x="925" y="515"/>
                  </a:lnTo>
                  <a:lnTo>
                    <a:pt x="957" y="543"/>
                  </a:lnTo>
                  <a:lnTo>
                    <a:pt x="981" y="567"/>
                  </a:lnTo>
                  <a:lnTo>
                    <a:pt x="989" y="579"/>
                  </a:lnTo>
                  <a:lnTo>
                    <a:pt x="996" y="591"/>
                  </a:lnTo>
                  <a:lnTo>
                    <a:pt x="1002" y="605"/>
                  </a:lnTo>
                  <a:lnTo>
                    <a:pt x="1009" y="620"/>
                  </a:lnTo>
                  <a:lnTo>
                    <a:pt x="1020" y="651"/>
                  </a:lnTo>
                  <a:lnTo>
                    <a:pt x="1030" y="684"/>
                  </a:lnTo>
                  <a:lnTo>
                    <a:pt x="1041" y="716"/>
                  </a:lnTo>
                  <a:lnTo>
                    <a:pt x="1053" y="748"/>
                  </a:lnTo>
                  <a:lnTo>
                    <a:pt x="1060" y="763"/>
                  </a:lnTo>
                  <a:lnTo>
                    <a:pt x="1068" y="776"/>
                  </a:lnTo>
                  <a:lnTo>
                    <a:pt x="1076" y="789"/>
                  </a:lnTo>
                  <a:lnTo>
                    <a:pt x="1084" y="801"/>
                  </a:lnTo>
                  <a:lnTo>
                    <a:pt x="1078" y="804"/>
                  </a:lnTo>
                  <a:lnTo>
                    <a:pt x="1073" y="807"/>
                  </a:lnTo>
                  <a:lnTo>
                    <a:pt x="1068" y="811"/>
                  </a:lnTo>
                  <a:lnTo>
                    <a:pt x="1065" y="815"/>
                  </a:lnTo>
                  <a:lnTo>
                    <a:pt x="1058" y="825"/>
                  </a:lnTo>
                  <a:lnTo>
                    <a:pt x="1054" y="837"/>
                  </a:lnTo>
                  <a:lnTo>
                    <a:pt x="1038" y="840"/>
                  </a:lnTo>
                  <a:lnTo>
                    <a:pt x="1024" y="843"/>
                  </a:lnTo>
                  <a:lnTo>
                    <a:pt x="1001" y="844"/>
                  </a:lnTo>
                  <a:lnTo>
                    <a:pt x="980" y="848"/>
                  </a:lnTo>
                  <a:lnTo>
                    <a:pt x="961" y="853"/>
                  </a:lnTo>
                  <a:lnTo>
                    <a:pt x="944" y="859"/>
                  </a:lnTo>
                  <a:lnTo>
                    <a:pt x="926" y="864"/>
                  </a:lnTo>
                  <a:lnTo>
                    <a:pt x="908" y="869"/>
                  </a:lnTo>
                  <a:lnTo>
                    <a:pt x="889" y="872"/>
                  </a:lnTo>
                  <a:lnTo>
                    <a:pt x="868" y="873"/>
                  </a:lnTo>
                  <a:lnTo>
                    <a:pt x="858" y="872"/>
                  </a:lnTo>
                  <a:lnTo>
                    <a:pt x="850" y="871"/>
                  </a:lnTo>
                  <a:lnTo>
                    <a:pt x="842" y="868"/>
                  </a:lnTo>
                  <a:lnTo>
                    <a:pt x="834" y="864"/>
                  </a:lnTo>
                  <a:lnTo>
                    <a:pt x="828" y="861"/>
                  </a:lnTo>
                  <a:lnTo>
                    <a:pt x="821" y="859"/>
                  </a:lnTo>
                  <a:lnTo>
                    <a:pt x="815" y="856"/>
                  </a:lnTo>
                  <a:lnTo>
                    <a:pt x="807" y="855"/>
                  </a:lnTo>
                  <a:lnTo>
                    <a:pt x="792" y="856"/>
                  </a:lnTo>
                  <a:lnTo>
                    <a:pt x="779" y="860"/>
                  </a:lnTo>
                  <a:lnTo>
                    <a:pt x="765" y="865"/>
                  </a:lnTo>
                  <a:lnTo>
                    <a:pt x="752" y="871"/>
                  </a:lnTo>
                  <a:lnTo>
                    <a:pt x="739" y="876"/>
                  </a:lnTo>
                  <a:lnTo>
                    <a:pt x="725" y="881"/>
                  </a:lnTo>
                  <a:lnTo>
                    <a:pt x="709" y="884"/>
                  </a:lnTo>
                  <a:lnTo>
                    <a:pt x="693" y="885"/>
                  </a:lnTo>
                  <a:lnTo>
                    <a:pt x="683" y="885"/>
                  </a:lnTo>
                  <a:lnTo>
                    <a:pt x="675" y="887"/>
                  </a:lnTo>
                  <a:lnTo>
                    <a:pt x="667" y="889"/>
                  </a:lnTo>
                  <a:lnTo>
                    <a:pt x="659" y="892"/>
                  </a:lnTo>
                  <a:lnTo>
                    <a:pt x="652" y="895"/>
                  </a:lnTo>
                  <a:lnTo>
                    <a:pt x="647" y="899"/>
                  </a:lnTo>
                  <a:lnTo>
                    <a:pt x="641" y="903"/>
                  </a:lnTo>
                  <a:lnTo>
                    <a:pt x="636" y="907"/>
                  </a:lnTo>
                  <a:lnTo>
                    <a:pt x="628" y="917"/>
                  </a:lnTo>
                  <a:lnTo>
                    <a:pt x="621" y="929"/>
                  </a:lnTo>
                  <a:lnTo>
                    <a:pt x="616" y="941"/>
                  </a:lnTo>
                  <a:lnTo>
                    <a:pt x="611" y="955"/>
                  </a:lnTo>
                  <a:lnTo>
                    <a:pt x="605" y="968"/>
                  </a:lnTo>
                  <a:lnTo>
                    <a:pt x="601" y="980"/>
                  </a:lnTo>
                  <a:lnTo>
                    <a:pt x="596" y="992"/>
                  </a:lnTo>
                  <a:lnTo>
                    <a:pt x="588" y="1003"/>
                  </a:lnTo>
                  <a:lnTo>
                    <a:pt x="585" y="1007"/>
                  </a:lnTo>
                  <a:lnTo>
                    <a:pt x="580" y="1011"/>
                  </a:lnTo>
                  <a:lnTo>
                    <a:pt x="576" y="1015"/>
                  </a:lnTo>
                  <a:lnTo>
                    <a:pt x="571" y="1019"/>
                  </a:lnTo>
                  <a:lnTo>
                    <a:pt x="564" y="1020"/>
                  </a:lnTo>
                  <a:lnTo>
                    <a:pt x="557" y="1023"/>
                  </a:lnTo>
                  <a:lnTo>
                    <a:pt x="551" y="1024"/>
                  </a:lnTo>
                  <a:lnTo>
                    <a:pt x="543" y="1024"/>
                  </a:lnTo>
                  <a:lnTo>
                    <a:pt x="533" y="1023"/>
                  </a:lnTo>
                  <a:lnTo>
                    <a:pt x="524" y="1021"/>
                  </a:lnTo>
                  <a:lnTo>
                    <a:pt x="513" y="1017"/>
                  </a:lnTo>
                  <a:lnTo>
                    <a:pt x="504" y="1015"/>
                  </a:lnTo>
                  <a:lnTo>
                    <a:pt x="488" y="1007"/>
                  </a:lnTo>
                  <a:lnTo>
                    <a:pt x="476" y="1000"/>
                  </a:lnTo>
                  <a:lnTo>
                    <a:pt x="475" y="965"/>
                  </a:lnTo>
                  <a:lnTo>
                    <a:pt x="473" y="936"/>
                  </a:lnTo>
                  <a:lnTo>
                    <a:pt x="471" y="911"/>
                  </a:lnTo>
                  <a:lnTo>
                    <a:pt x="469" y="891"/>
                  </a:lnTo>
                  <a:lnTo>
                    <a:pt x="468" y="873"/>
                  </a:lnTo>
                  <a:lnTo>
                    <a:pt x="468" y="859"/>
                  </a:lnTo>
                  <a:lnTo>
                    <a:pt x="469" y="852"/>
                  </a:lnTo>
                  <a:lnTo>
                    <a:pt x="471" y="845"/>
                  </a:lnTo>
                  <a:lnTo>
                    <a:pt x="473" y="837"/>
                  </a:lnTo>
                  <a:lnTo>
                    <a:pt x="476" y="831"/>
                  </a:lnTo>
                  <a:lnTo>
                    <a:pt x="467" y="831"/>
                  </a:lnTo>
                  <a:lnTo>
                    <a:pt x="463" y="828"/>
                  </a:lnTo>
                  <a:lnTo>
                    <a:pt x="461" y="827"/>
                  </a:lnTo>
                  <a:lnTo>
                    <a:pt x="457" y="825"/>
                  </a:lnTo>
                  <a:lnTo>
                    <a:pt x="443" y="796"/>
                  </a:lnTo>
                  <a:lnTo>
                    <a:pt x="416" y="749"/>
                  </a:lnTo>
                  <a:lnTo>
                    <a:pt x="391" y="705"/>
                  </a:lnTo>
                  <a:lnTo>
                    <a:pt x="380" y="687"/>
                  </a:lnTo>
                  <a:lnTo>
                    <a:pt x="368" y="687"/>
                  </a:lnTo>
                  <a:lnTo>
                    <a:pt x="344" y="687"/>
                  </a:lnTo>
                  <a:lnTo>
                    <a:pt x="335" y="685"/>
                  </a:lnTo>
                  <a:lnTo>
                    <a:pt x="328" y="683"/>
                  </a:lnTo>
                  <a:lnTo>
                    <a:pt x="323" y="679"/>
                  </a:lnTo>
                  <a:lnTo>
                    <a:pt x="319" y="672"/>
                  </a:lnTo>
                  <a:lnTo>
                    <a:pt x="316" y="665"/>
                  </a:lnTo>
                  <a:lnTo>
                    <a:pt x="313" y="659"/>
                  </a:lnTo>
                  <a:lnTo>
                    <a:pt x="312" y="649"/>
                  </a:lnTo>
                  <a:lnTo>
                    <a:pt x="311" y="641"/>
                  </a:lnTo>
                  <a:lnTo>
                    <a:pt x="308" y="625"/>
                  </a:lnTo>
                  <a:lnTo>
                    <a:pt x="307" y="611"/>
                  </a:lnTo>
                  <a:lnTo>
                    <a:pt x="304" y="604"/>
                  </a:lnTo>
                  <a:lnTo>
                    <a:pt x="303" y="600"/>
                  </a:lnTo>
                  <a:lnTo>
                    <a:pt x="299" y="597"/>
                  </a:lnTo>
                  <a:lnTo>
                    <a:pt x="295" y="596"/>
                  </a:lnTo>
                  <a:lnTo>
                    <a:pt x="289" y="596"/>
                  </a:lnTo>
                  <a:lnTo>
                    <a:pt x="281" y="596"/>
                  </a:lnTo>
                  <a:lnTo>
                    <a:pt x="269" y="596"/>
                  </a:lnTo>
                  <a:lnTo>
                    <a:pt x="253" y="596"/>
                  </a:lnTo>
                  <a:lnTo>
                    <a:pt x="247" y="596"/>
                  </a:lnTo>
                  <a:lnTo>
                    <a:pt x="239" y="595"/>
                  </a:lnTo>
                  <a:lnTo>
                    <a:pt x="232" y="591"/>
                  </a:lnTo>
                  <a:lnTo>
                    <a:pt x="225" y="587"/>
                  </a:lnTo>
                  <a:lnTo>
                    <a:pt x="220" y="583"/>
                  </a:lnTo>
                  <a:lnTo>
                    <a:pt x="215" y="576"/>
                  </a:lnTo>
                  <a:lnTo>
                    <a:pt x="212" y="568"/>
                  </a:lnTo>
                  <a:lnTo>
                    <a:pt x="211" y="560"/>
                  </a:lnTo>
                  <a:lnTo>
                    <a:pt x="212" y="553"/>
                  </a:lnTo>
                  <a:lnTo>
                    <a:pt x="213" y="548"/>
                  </a:lnTo>
                  <a:lnTo>
                    <a:pt x="216" y="543"/>
                  </a:lnTo>
                  <a:lnTo>
                    <a:pt x="219" y="537"/>
                  </a:lnTo>
                  <a:lnTo>
                    <a:pt x="227" y="529"/>
                  </a:lnTo>
                  <a:lnTo>
                    <a:pt x="235" y="521"/>
                  </a:lnTo>
                  <a:lnTo>
                    <a:pt x="244" y="513"/>
                  </a:lnTo>
                  <a:lnTo>
                    <a:pt x="252" y="504"/>
                  </a:lnTo>
                  <a:lnTo>
                    <a:pt x="255" y="500"/>
                  </a:lnTo>
                  <a:lnTo>
                    <a:pt x="257" y="495"/>
                  </a:lnTo>
                  <a:lnTo>
                    <a:pt x="259" y="488"/>
                  </a:lnTo>
                  <a:lnTo>
                    <a:pt x="259" y="482"/>
                  </a:lnTo>
                  <a:lnTo>
                    <a:pt x="257" y="466"/>
                  </a:lnTo>
                  <a:lnTo>
                    <a:pt x="255" y="450"/>
                  </a:lnTo>
                  <a:lnTo>
                    <a:pt x="249" y="438"/>
                  </a:lnTo>
                  <a:lnTo>
                    <a:pt x="241" y="426"/>
                  </a:lnTo>
                  <a:lnTo>
                    <a:pt x="233" y="415"/>
                  </a:lnTo>
                  <a:lnTo>
                    <a:pt x="223" y="406"/>
                  </a:lnTo>
                  <a:lnTo>
                    <a:pt x="212" y="398"/>
                  </a:lnTo>
                  <a:lnTo>
                    <a:pt x="200" y="390"/>
                  </a:lnTo>
                  <a:lnTo>
                    <a:pt x="176" y="376"/>
                  </a:lnTo>
                  <a:lnTo>
                    <a:pt x="152" y="362"/>
                  </a:lnTo>
                  <a:lnTo>
                    <a:pt x="141" y="354"/>
                  </a:lnTo>
                  <a:lnTo>
                    <a:pt x="131" y="346"/>
                  </a:lnTo>
                  <a:lnTo>
                    <a:pt x="123" y="336"/>
                  </a:lnTo>
                  <a:lnTo>
                    <a:pt x="115" y="326"/>
                  </a:lnTo>
                  <a:lnTo>
                    <a:pt x="109" y="318"/>
                  </a:lnTo>
                  <a:lnTo>
                    <a:pt x="103" y="311"/>
                  </a:lnTo>
                  <a:lnTo>
                    <a:pt x="95" y="306"/>
                  </a:lnTo>
                  <a:lnTo>
                    <a:pt x="87" y="302"/>
                  </a:lnTo>
                  <a:lnTo>
                    <a:pt x="68" y="296"/>
                  </a:lnTo>
                  <a:lnTo>
                    <a:pt x="48" y="291"/>
                  </a:lnTo>
                  <a:lnTo>
                    <a:pt x="39" y="288"/>
                  </a:lnTo>
                  <a:lnTo>
                    <a:pt x="30" y="284"/>
                  </a:lnTo>
                  <a:lnTo>
                    <a:pt x="22" y="279"/>
                  </a:lnTo>
                  <a:lnTo>
                    <a:pt x="15" y="274"/>
                  </a:lnTo>
                  <a:lnTo>
                    <a:pt x="8" y="266"/>
                  </a:lnTo>
                  <a:lnTo>
                    <a:pt x="4" y="255"/>
                  </a:lnTo>
                  <a:lnTo>
                    <a:pt x="2" y="243"/>
                  </a:lnTo>
                  <a:lnTo>
                    <a:pt x="0" y="230"/>
                  </a:lnTo>
                  <a:lnTo>
                    <a:pt x="2" y="216"/>
                  </a:lnTo>
                  <a:lnTo>
                    <a:pt x="3" y="204"/>
                  </a:lnTo>
                  <a:lnTo>
                    <a:pt x="6" y="192"/>
                  </a:lnTo>
                  <a:lnTo>
                    <a:pt x="10" y="183"/>
                  </a:lnTo>
                  <a:lnTo>
                    <a:pt x="12" y="172"/>
                  </a:lnTo>
                  <a:lnTo>
                    <a:pt x="15" y="163"/>
                  </a:lnTo>
                  <a:lnTo>
                    <a:pt x="18" y="154"/>
                  </a:lnTo>
                  <a:lnTo>
                    <a:pt x="19" y="144"/>
                  </a:lnTo>
                  <a:lnTo>
                    <a:pt x="19" y="140"/>
                  </a:lnTo>
                  <a:lnTo>
                    <a:pt x="19" y="130"/>
                  </a:lnTo>
                  <a:lnTo>
                    <a:pt x="19" y="114"/>
                  </a:lnTo>
                  <a:lnTo>
                    <a:pt x="19" y="96"/>
                  </a:lnTo>
                  <a:lnTo>
                    <a:pt x="132" y="18"/>
                  </a:lnTo>
                  <a:lnTo>
                    <a:pt x="149" y="12"/>
                  </a:lnTo>
                  <a:lnTo>
                    <a:pt x="163" y="7"/>
                  </a:lnTo>
                  <a:lnTo>
                    <a:pt x="169" y="4"/>
                  </a:lnTo>
                  <a:lnTo>
                    <a:pt x="176" y="2"/>
                  </a:lnTo>
                  <a:lnTo>
                    <a:pt x="184" y="0"/>
                  </a:lnTo>
                  <a:lnTo>
                    <a:pt x="193" y="0"/>
                  </a:lnTo>
                  <a:lnTo>
                    <a:pt x="201" y="0"/>
                  </a:lnTo>
                  <a:lnTo>
                    <a:pt x="209" y="3"/>
                  </a:lnTo>
                  <a:lnTo>
                    <a:pt x="217" y="7"/>
                  </a:lnTo>
                  <a:lnTo>
                    <a:pt x="225" y="11"/>
                  </a:lnTo>
                  <a:lnTo>
                    <a:pt x="241" y="23"/>
                  </a:lnTo>
                  <a:lnTo>
                    <a:pt x="256" y="38"/>
                  </a:lnTo>
                  <a:lnTo>
                    <a:pt x="271" y="52"/>
                  </a:lnTo>
                  <a:lnTo>
                    <a:pt x="283" y="68"/>
                  </a:lnTo>
                  <a:lnTo>
                    <a:pt x="293" y="84"/>
                  </a:lnTo>
                  <a:lnTo>
                    <a:pt x="301" y="96"/>
                  </a:lnTo>
                  <a:lnTo>
                    <a:pt x="308" y="103"/>
                  </a:lnTo>
                  <a:lnTo>
                    <a:pt x="315" y="107"/>
                  </a:lnTo>
                  <a:lnTo>
                    <a:pt x="324" y="111"/>
                  </a:lnTo>
                  <a:lnTo>
                    <a:pt x="333" y="114"/>
                  </a:lnTo>
                  <a:lnTo>
                    <a:pt x="353" y="118"/>
                  </a:lnTo>
                  <a:lnTo>
                    <a:pt x="373" y="120"/>
                  </a:lnTo>
                  <a:lnTo>
                    <a:pt x="384" y="123"/>
                  </a:lnTo>
                  <a:lnTo>
                    <a:pt x="393" y="124"/>
                  </a:lnTo>
                  <a:lnTo>
                    <a:pt x="401" y="128"/>
                  </a:lnTo>
                  <a:lnTo>
                    <a:pt x="409" y="132"/>
                  </a:lnTo>
                  <a:lnTo>
                    <a:pt x="416" y="138"/>
                  </a:lnTo>
                  <a:lnTo>
                    <a:pt x="421" y="144"/>
                  </a:lnTo>
                  <a:lnTo>
                    <a:pt x="425" y="152"/>
                  </a:lnTo>
                  <a:lnTo>
                    <a:pt x="428" y="163"/>
                  </a:lnTo>
                  <a:lnTo>
                    <a:pt x="429" y="174"/>
                  </a:lnTo>
                  <a:lnTo>
                    <a:pt x="433" y="182"/>
                  </a:lnTo>
                  <a:lnTo>
                    <a:pt x="437" y="190"/>
                  </a:lnTo>
                  <a:lnTo>
                    <a:pt x="443" y="198"/>
                  </a:lnTo>
                  <a:lnTo>
                    <a:pt x="448" y="204"/>
                  </a:lnTo>
                  <a:lnTo>
                    <a:pt x="455" y="210"/>
                  </a:lnTo>
                  <a:lnTo>
                    <a:pt x="461" y="214"/>
                  </a:lnTo>
                  <a:lnTo>
                    <a:pt x="469" y="218"/>
                  </a:lnTo>
                  <a:lnTo>
                    <a:pt x="487" y="224"/>
                  </a:lnTo>
                  <a:lnTo>
                    <a:pt x="505" y="230"/>
                  </a:lnTo>
                  <a:lnTo>
                    <a:pt x="525" y="234"/>
                  </a:lnTo>
                  <a:lnTo>
                    <a:pt x="545" y="236"/>
                  </a:lnTo>
                  <a:lnTo>
                    <a:pt x="567" y="239"/>
                  </a:lnTo>
                  <a:lnTo>
                    <a:pt x="588" y="242"/>
                  </a:lnTo>
                  <a:lnTo>
                    <a:pt x="609" y="246"/>
                  </a:lnTo>
                  <a:lnTo>
                    <a:pt x="628" y="250"/>
                  </a:lnTo>
                  <a:lnTo>
                    <a:pt x="637" y="254"/>
                  </a:lnTo>
                  <a:lnTo>
                    <a:pt x="647" y="258"/>
                  </a:lnTo>
                  <a:lnTo>
                    <a:pt x="655" y="262"/>
                  </a:lnTo>
                  <a:lnTo>
                    <a:pt x="663" y="267"/>
                  </a:lnTo>
                  <a:lnTo>
                    <a:pt x="669" y="272"/>
                  </a:lnTo>
                  <a:lnTo>
                    <a:pt x="676" y="279"/>
                  </a:lnTo>
                  <a:lnTo>
                    <a:pt x="681" y="287"/>
                  </a:lnTo>
                  <a:lnTo>
                    <a:pt x="687" y="295"/>
                  </a:lnTo>
                  <a:lnTo>
                    <a:pt x="687" y="30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8" name="Freeform 10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3841750" y="4321175"/>
              <a:ext cx="568325" cy="361950"/>
            </a:xfrm>
            <a:custGeom>
              <a:avLst/>
              <a:gdLst/>
              <a:ahLst/>
              <a:cxnLst>
                <a:cxn ang="0">
                  <a:pos x="880" y="955"/>
                </a:cxn>
                <a:cxn ang="0">
                  <a:pos x="917" y="937"/>
                </a:cxn>
                <a:cxn ang="0">
                  <a:pos x="933" y="911"/>
                </a:cxn>
                <a:cxn ang="0">
                  <a:pos x="921" y="881"/>
                </a:cxn>
                <a:cxn ang="0">
                  <a:pos x="868" y="847"/>
                </a:cxn>
                <a:cxn ang="0">
                  <a:pos x="862" y="825"/>
                </a:cxn>
                <a:cxn ang="0">
                  <a:pos x="921" y="782"/>
                </a:cxn>
                <a:cxn ang="0">
                  <a:pos x="1072" y="710"/>
                </a:cxn>
                <a:cxn ang="0">
                  <a:pos x="1117" y="686"/>
                </a:cxn>
                <a:cxn ang="0">
                  <a:pos x="1252" y="661"/>
                </a:cxn>
                <a:cxn ang="0">
                  <a:pos x="1287" y="629"/>
                </a:cxn>
                <a:cxn ang="0">
                  <a:pos x="1273" y="577"/>
                </a:cxn>
                <a:cxn ang="0">
                  <a:pos x="1258" y="538"/>
                </a:cxn>
                <a:cxn ang="0">
                  <a:pos x="1265" y="510"/>
                </a:cxn>
                <a:cxn ang="0">
                  <a:pos x="1317" y="484"/>
                </a:cxn>
                <a:cxn ang="0">
                  <a:pos x="1315" y="416"/>
                </a:cxn>
                <a:cxn ang="0">
                  <a:pos x="1325" y="390"/>
                </a:cxn>
                <a:cxn ang="0">
                  <a:pos x="1311" y="365"/>
                </a:cxn>
                <a:cxn ang="0">
                  <a:pos x="1283" y="334"/>
                </a:cxn>
                <a:cxn ang="0">
                  <a:pos x="1291" y="306"/>
                </a:cxn>
                <a:cxn ang="0">
                  <a:pos x="1313" y="270"/>
                </a:cxn>
                <a:cxn ang="0">
                  <a:pos x="1273" y="260"/>
                </a:cxn>
                <a:cxn ang="0">
                  <a:pos x="1236" y="209"/>
                </a:cxn>
                <a:cxn ang="0">
                  <a:pos x="1194" y="128"/>
                </a:cxn>
                <a:cxn ang="0">
                  <a:pos x="1081" y="38"/>
                </a:cxn>
                <a:cxn ang="0">
                  <a:pos x="1052" y="4"/>
                </a:cxn>
                <a:cxn ang="0">
                  <a:pos x="1024" y="40"/>
                </a:cxn>
                <a:cxn ang="0">
                  <a:pos x="994" y="70"/>
                </a:cxn>
                <a:cxn ang="0">
                  <a:pos x="929" y="68"/>
                </a:cxn>
                <a:cxn ang="0">
                  <a:pos x="869" y="69"/>
                </a:cxn>
                <a:cxn ang="0">
                  <a:pos x="840" y="92"/>
                </a:cxn>
                <a:cxn ang="0">
                  <a:pos x="790" y="96"/>
                </a:cxn>
                <a:cxn ang="0">
                  <a:pos x="730" y="178"/>
                </a:cxn>
                <a:cxn ang="0">
                  <a:pos x="689" y="214"/>
                </a:cxn>
                <a:cxn ang="0">
                  <a:pos x="654" y="205"/>
                </a:cxn>
                <a:cxn ang="0">
                  <a:pos x="590" y="144"/>
                </a:cxn>
                <a:cxn ang="0">
                  <a:pos x="584" y="106"/>
                </a:cxn>
                <a:cxn ang="0">
                  <a:pos x="564" y="72"/>
                </a:cxn>
                <a:cxn ang="0">
                  <a:pos x="517" y="10"/>
                </a:cxn>
                <a:cxn ang="0">
                  <a:pos x="469" y="0"/>
                </a:cxn>
                <a:cxn ang="0">
                  <a:pos x="396" y="28"/>
                </a:cxn>
                <a:cxn ang="0">
                  <a:pos x="316" y="89"/>
                </a:cxn>
                <a:cxn ang="0">
                  <a:pos x="231" y="110"/>
                </a:cxn>
                <a:cxn ang="0">
                  <a:pos x="153" y="112"/>
                </a:cxn>
                <a:cxn ang="0">
                  <a:pos x="108" y="138"/>
                </a:cxn>
                <a:cxn ang="0">
                  <a:pos x="67" y="109"/>
                </a:cxn>
                <a:cxn ang="0">
                  <a:pos x="43" y="113"/>
                </a:cxn>
                <a:cxn ang="0">
                  <a:pos x="11" y="145"/>
                </a:cxn>
                <a:cxn ang="0">
                  <a:pos x="221" y="815"/>
                </a:cxn>
                <a:cxn ang="0">
                  <a:pos x="240" y="830"/>
                </a:cxn>
                <a:cxn ang="0">
                  <a:pos x="280" y="806"/>
                </a:cxn>
                <a:cxn ang="0">
                  <a:pos x="312" y="743"/>
                </a:cxn>
                <a:cxn ang="0">
                  <a:pos x="351" y="729"/>
                </a:cxn>
                <a:cxn ang="0">
                  <a:pos x="401" y="755"/>
                </a:cxn>
                <a:cxn ang="0">
                  <a:pos x="409" y="779"/>
                </a:cxn>
                <a:cxn ang="0">
                  <a:pos x="427" y="821"/>
                </a:cxn>
                <a:cxn ang="0">
                  <a:pos x="445" y="871"/>
                </a:cxn>
                <a:cxn ang="0">
                  <a:pos x="485" y="882"/>
                </a:cxn>
                <a:cxn ang="0">
                  <a:pos x="577" y="881"/>
                </a:cxn>
                <a:cxn ang="0">
                  <a:pos x="678" y="854"/>
                </a:cxn>
                <a:cxn ang="0">
                  <a:pos x="757" y="855"/>
                </a:cxn>
                <a:cxn ang="0">
                  <a:pos x="806" y="887"/>
                </a:cxn>
                <a:cxn ang="0">
                  <a:pos x="846" y="945"/>
                </a:cxn>
              </a:cxnLst>
              <a:rect l="0" t="0" r="r" b="b"/>
              <a:pathLst>
                <a:path w="1330" h="969">
                  <a:moveTo>
                    <a:pt x="873" y="963"/>
                  </a:moveTo>
                  <a:lnTo>
                    <a:pt x="866" y="969"/>
                  </a:lnTo>
                  <a:lnTo>
                    <a:pt x="870" y="963"/>
                  </a:lnTo>
                  <a:lnTo>
                    <a:pt x="874" y="959"/>
                  </a:lnTo>
                  <a:lnTo>
                    <a:pt x="880" y="955"/>
                  </a:lnTo>
                  <a:lnTo>
                    <a:pt x="885" y="953"/>
                  </a:lnTo>
                  <a:lnTo>
                    <a:pt x="896" y="947"/>
                  </a:lnTo>
                  <a:lnTo>
                    <a:pt x="906" y="942"/>
                  </a:lnTo>
                  <a:lnTo>
                    <a:pt x="912" y="939"/>
                  </a:lnTo>
                  <a:lnTo>
                    <a:pt x="917" y="937"/>
                  </a:lnTo>
                  <a:lnTo>
                    <a:pt x="921" y="933"/>
                  </a:lnTo>
                  <a:lnTo>
                    <a:pt x="925" y="929"/>
                  </a:lnTo>
                  <a:lnTo>
                    <a:pt x="929" y="925"/>
                  </a:lnTo>
                  <a:lnTo>
                    <a:pt x="930" y="918"/>
                  </a:lnTo>
                  <a:lnTo>
                    <a:pt x="933" y="911"/>
                  </a:lnTo>
                  <a:lnTo>
                    <a:pt x="933" y="902"/>
                  </a:lnTo>
                  <a:lnTo>
                    <a:pt x="932" y="897"/>
                  </a:lnTo>
                  <a:lnTo>
                    <a:pt x="930" y="890"/>
                  </a:lnTo>
                  <a:lnTo>
                    <a:pt x="926" y="886"/>
                  </a:lnTo>
                  <a:lnTo>
                    <a:pt x="921" y="881"/>
                  </a:lnTo>
                  <a:lnTo>
                    <a:pt x="910" y="874"/>
                  </a:lnTo>
                  <a:lnTo>
                    <a:pt x="897" y="866"/>
                  </a:lnTo>
                  <a:lnTo>
                    <a:pt x="884" y="859"/>
                  </a:lnTo>
                  <a:lnTo>
                    <a:pt x="872" y="851"/>
                  </a:lnTo>
                  <a:lnTo>
                    <a:pt x="868" y="847"/>
                  </a:lnTo>
                  <a:lnTo>
                    <a:pt x="864" y="842"/>
                  </a:lnTo>
                  <a:lnTo>
                    <a:pt x="861" y="837"/>
                  </a:lnTo>
                  <a:lnTo>
                    <a:pt x="861" y="830"/>
                  </a:lnTo>
                  <a:lnTo>
                    <a:pt x="861" y="827"/>
                  </a:lnTo>
                  <a:lnTo>
                    <a:pt x="862" y="825"/>
                  </a:lnTo>
                  <a:lnTo>
                    <a:pt x="865" y="821"/>
                  </a:lnTo>
                  <a:lnTo>
                    <a:pt x="869" y="817"/>
                  </a:lnTo>
                  <a:lnTo>
                    <a:pt x="878" y="809"/>
                  </a:lnTo>
                  <a:lnTo>
                    <a:pt x="890" y="801"/>
                  </a:lnTo>
                  <a:lnTo>
                    <a:pt x="921" y="782"/>
                  </a:lnTo>
                  <a:lnTo>
                    <a:pt x="957" y="763"/>
                  </a:lnTo>
                  <a:lnTo>
                    <a:pt x="994" y="745"/>
                  </a:lnTo>
                  <a:lnTo>
                    <a:pt x="1029" y="730"/>
                  </a:lnTo>
                  <a:lnTo>
                    <a:pt x="1056" y="717"/>
                  </a:lnTo>
                  <a:lnTo>
                    <a:pt x="1072" y="710"/>
                  </a:lnTo>
                  <a:lnTo>
                    <a:pt x="1086" y="701"/>
                  </a:lnTo>
                  <a:lnTo>
                    <a:pt x="1098" y="693"/>
                  </a:lnTo>
                  <a:lnTo>
                    <a:pt x="1104" y="690"/>
                  </a:lnTo>
                  <a:lnTo>
                    <a:pt x="1110" y="687"/>
                  </a:lnTo>
                  <a:lnTo>
                    <a:pt x="1117" y="686"/>
                  </a:lnTo>
                  <a:lnTo>
                    <a:pt x="1126" y="686"/>
                  </a:lnTo>
                  <a:lnTo>
                    <a:pt x="1174" y="678"/>
                  </a:lnTo>
                  <a:lnTo>
                    <a:pt x="1228" y="669"/>
                  </a:lnTo>
                  <a:lnTo>
                    <a:pt x="1240" y="665"/>
                  </a:lnTo>
                  <a:lnTo>
                    <a:pt x="1252" y="661"/>
                  </a:lnTo>
                  <a:lnTo>
                    <a:pt x="1261" y="657"/>
                  </a:lnTo>
                  <a:lnTo>
                    <a:pt x="1270" y="651"/>
                  </a:lnTo>
                  <a:lnTo>
                    <a:pt x="1278" y="645"/>
                  </a:lnTo>
                  <a:lnTo>
                    <a:pt x="1283" y="638"/>
                  </a:lnTo>
                  <a:lnTo>
                    <a:pt x="1287" y="629"/>
                  </a:lnTo>
                  <a:lnTo>
                    <a:pt x="1289" y="619"/>
                  </a:lnTo>
                  <a:lnTo>
                    <a:pt x="1287" y="606"/>
                  </a:lnTo>
                  <a:lnTo>
                    <a:pt x="1283" y="594"/>
                  </a:lnTo>
                  <a:lnTo>
                    <a:pt x="1278" y="585"/>
                  </a:lnTo>
                  <a:lnTo>
                    <a:pt x="1273" y="577"/>
                  </a:lnTo>
                  <a:lnTo>
                    <a:pt x="1268" y="567"/>
                  </a:lnTo>
                  <a:lnTo>
                    <a:pt x="1262" y="558"/>
                  </a:lnTo>
                  <a:lnTo>
                    <a:pt x="1261" y="551"/>
                  </a:lnTo>
                  <a:lnTo>
                    <a:pt x="1260" y="545"/>
                  </a:lnTo>
                  <a:lnTo>
                    <a:pt x="1258" y="538"/>
                  </a:lnTo>
                  <a:lnTo>
                    <a:pt x="1258" y="529"/>
                  </a:lnTo>
                  <a:lnTo>
                    <a:pt x="1258" y="523"/>
                  </a:lnTo>
                  <a:lnTo>
                    <a:pt x="1260" y="518"/>
                  </a:lnTo>
                  <a:lnTo>
                    <a:pt x="1262" y="514"/>
                  </a:lnTo>
                  <a:lnTo>
                    <a:pt x="1265" y="510"/>
                  </a:lnTo>
                  <a:lnTo>
                    <a:pt x="1271" y="502"/>
                  </a:lnTo>
                  <a:lnTo>
                    <a:pt x="1281" y="495"/>
                  </a:lnTo>
                  <a:lnTo>
                    <a:pt x="1291" y="491"/>
                  </a:lnTo>
                  <a:lnTo>
                    <a:pt x="1303" y="487"/>
                  </a:lnTo>
                  <a:lnTo>
                    <a:pt x="1317" y="484"/>
                  </a:lnTo>
                  <a:lnTo>
                    <a:pt x="1330" y="481"/>
                  </a:lnTo>
                  <a:lnTo>
                    <a:pt x="1313" y="433"/>
                  </a:lnTo>
                  <a:lnTo>
                    <a:pt x="1313" y="425"/>
                  </a:lnTo>
                  <a:lnTo>
                    <a:pt x="1314" y="420"/>
                  </a:lnTo>
                  <a:lnTo>
                    <a:pt x="1315" y="416"/>
                  </a:lnTo>
                  <a:lnTo>
                    <a:pt x="1318" y="412"/>
                  </a:lnTo>
                  <a:lnTo>
                    <a:pt x="1321" y="409"/>
                  </a:lnTo>
                  <a:lnTo>
                    <a:pt x="1322" y="404"/>
                  </a:lnTo>
                  <a:lnTo>
                    <a:pt x="1323" y="398"/>
                  </a:lnTo>
                  <a:lnTo>
                    <a:pt x="1325" y="390"/>
                  </a:lnTo>
                  <a:lnTo>
                    <a:pt x="1323" y="385"/>
                  </a:lnTo>
                  <a:lnTo>
                    <a:pt x="1322" y="381"/>
                  </a:lnTo>
                  <a:lnTo>
                    <a:pt x="1321" y="376"/>
                  </a:lnTo>
                  <a:lnTo>
                    <a:pt x="1318" y="372"/>
                  </a:lnTo>
                  <a:lnTo>
                    <a:pt x="1311" y="365"/>
                  </a:lnTo>
                  <a:lnTo>
                    <a:pt x="1303" y="358"/>
                  </a:lnTo>
                  <a:lnTo>
                    <a:pt x="1295" y="350"/>
                  </a:lnTo>
                  <a:lnTo>
                    <a:pt x="1289" y="344"/>
                  </a:lnTo>
                  <a:lnTo>
                    <a:pt x="1286" y="340"/>
                  </a:lnTo>
                  <a:lnTo>
                    <a:pt x="1283" y="334"/>
                  </a:lnTo>
                  <a:lnTo>
                    <a:pt x="1282" y="330"/>
                  </a:lnTo>
                  <a:lnTo>
                    <a:pt x="1282" y="325"/>
                  </a:lnTo>
                  <a:lnTo>
                    <a:pt x="1283" y="318"/>
                  </a:lnTo>
                  <a:lnTo>
                    <a:pt x="1287" y="312"/>
                  </a:lnTo>
                  <a:lnTo>
                    <a:pt x="1291" y="306"/>
                  </a:lnTo>
                  <a:lnTo>
                    <a:pt x="1297" y="300"/>
                  </a:lnTo>
                  <a:lnTo>
                    <a:pt x="1302" y="293"/>
                  </a:lnTo>
                  <a:lnTo>
                    <a:pt x="1307" y="286"/>
                  </a:lnTo>
                  <a:lnTo>
                    <a:pt x="1311" y="278"/>
                  </a:lnTo>
                  <a:lnTo>
                    <a:pt x="1313" y="270"/>
                  </a:lnTo>
                  <a:lnTo>
                    <a:pt x="1305" y="270"/>
                  </a:lnTo>
                  <a:lnTo>
                    <a:pt x="1297" y="269"/>
                  </a:lnTo>
                  <a:lnTo>
                    <a:pt x="1290" y="268"/>
                  </a:lnTo>
                  <a:lnTo>
                    <a:pt x="1285" y="265"/>
                  </a:lnTo>
                  <a:lnTo>
                    <a:pt x="1273" y="260"/>
                  </a:lnTo>
                  <a:lnTo>
                    <a:pt x="1264" y="252"/>
                  </a:lnTo>
                  <a:lnTo>
                    <a:pt x="1256" y="242"/>
                  </a:lnTo>
                  <a:lnTo>
                    <a:pt x="1248" y="232"/>
                  </a:lnTo>
                  <a:lnTo>
                    <a:pt x="1241" y="221"/>
                  </a:lnTo>
                  <a:lnTo>
                    <a:pt x="1236" y="209"/>
                  </a:lnTo>
                  <a:lnTo>
                    <a:pt x="1225" y="184"/>
                  </a:lnTo>
                  <a:lnTo>
                    <a:pt x="1214" y="158"/>
                  </a:lnTo>
                  <a:lnTo>
                    <a:pt x="1208" y="148"/>
                  </a:lnTo>
                  <a:lnTo>
                    <a:pt x="1202" y="137"/>
                  </a:lnTo>
                  <a:lnTo>
                    <a:pt x="1194" y="128"/>
                  </a:lnTo>
                  <a:lnTo>
                    <a:pt x="1186" y="120"/>
                  </a:lnTo>
                  <a:lnTo>
                    <a:pt x="1150" y="94"/>
                  </a:lnTo>
                  <a:lnTo>
                    <a:pt x="1113" y="69"/>
                  </a:lnTo>
                  <a:lnTo>
                    <a:pt x="1096" y="54"/>
                  </a:lnTo>
                  <a:lnTo>
                    <a:pt x="1081" y="38"/>
                  </a:lnTo>
                  <a:lnTo>
                    <a:pt x="1074" y="30"/>
                  </a:lnTo>
                  <a:lnTo>
                    <a:pt x="1068" y="20"/>
                  </a:lnTo>
                  <a:lnTo>
                    <a:pt x="1064" y="10"/>
                  </a:lnTo>
                  <a:lnTo>
                    <a:pt x="1060" y="0"/>
                  </a:lnTo>
                  <a:lnTo>
                    <a:pt x="1052" y="4"/>
                  </a:lnTo>
                  <a:lnTo>
                    <a:pt x="1046" y="8"/>
                  </a:lnTo>
                  <a:lnTo>
                    <a:pt x="1041" y="12"/>
                  </a:lnTo>
                  <a:lnTo>
                    <a:pt x="1036" y="17"/>
                  </a:lnTo>
                  <a:lnTo>
                    <a:pt x="1029" y="29"/>
                  </a:lnTo>
                  <a:lnTo>
                    <a:pt x="1024" y="40"/>
                  </a:lnTo>
                  <a:lnTo>
                    <a:pt x="1017" y="50"/>
                  </a:lnTo>
                  <a:lnTo>
                    <a:pt x="1010" y="60"/>
                  </a:lnTo>
                  <a:lnTo>
                    <a:pt x="1006" y="64"/>
                  </a:lnTo>
                  <a:lnTo>
                    <a:pt x="1001" y="68"/>
                  </a:lnTo>
                  <a:lnTo>
                    <a:pt x="994" y="70"/>
                  </a:lnTo>
                  <a:lnTo>
                    <a:pt x="988" y="72"/>
                  </a:lnTo>
                  <a:lnTo>
                    <a:pt x="973" y="73"/>
                  </a:lnTo>
                  <a:lnTo>
                    <a:pt x="958" y="72"/>
                  </a:lnTo>
                  <a:lnTo>
                    <a:pt x="944" y="69"/>
                  </a:lnTo>
                  <a:lnTo>
                    <a:pt x="929" y="68"/>
                  </a:lnTo>
                  <a:lnTo>
                    <a:pt x="912" y="65"/>
                  </a:lnTo>
                  <a:lnTo>
                    <a:pt x="896" y="65"/>
                  </a:lnTo>
                  <a:lnTo>
                    <a:pt x="888" y="65"/>
                  </a:lnTo>
                  <a:lnTo>
                    <a:pt x="878" y="66"/>
                  </a:lnTo>
                  <a:lnTo>
                    <a:pt x="869" y="69"/>
                  </a:lnTo>
                  <a:lnTo>
                    <a:pt x="861" y="72"/>
                  </a:lnTo>
                  <a:lnTo>
                    <a:pt x="856" y="76"/>
                  </a:lnTo>
                  <a:lnTo>
                    <a:pt x="848" y="84"/>
                  </a:lnTo>
                  <a:lnTo>
                    <a:pt x="844" y="88"/>
                  </a:lnTo>
                  <a:lnTo>
                    <a:pt x="840" y="92"/>
                  </a:lnTo>
                  <a:lnTo>
                    <a:pt x="836" y="94"/>
                  </a:lnTo>
                  <a:lnTo>
                    <a:pt x="830" y="96"/>
                  </a:lnTo>
                  <a:lnTo>
                    <a:pt x="818" y="96"/>
                  </a:lnTo>
                  <a:lnTo>
                    <a:pt x="805" y="96"/>
                  </a:lnTo>
                  <a:lnTo>
                    <a:pt x="790" y="96"/>
                  </a:lnTo>
                  <a:lnTo>
                    <a:pt x="770" y="96"/>
                  </a:lnTo>
                  <a:lnTo>
                    <a:pt x="762" y="114"/>
                  </a:lnTo>
                  <a:lnTo>
                    <a:pt x="744" y="156"/>
                  </a:lnTo>
                  <a:lnTo>
                    <a:pt x="737" y="168"/>
                  </a:lnTo>
                  <a:lnTo>
                    <a:pt x="730" y="178"/>
                  </a:lnTo>
                  <a:lnTo>
                    <a:pt x="722" y="188"/>
                  </a:lnTo>
                  <a:lnTo>
                    <a:pt x="714" y="197"/>
                  </a:lnTo>
                  <a:lnTo>
                    <a:pt x="706" y="205"/>
                  </a:lnTo>
                  <a:lnTo>
                    <a:pt x="697" y="212"/>
                  </a:lnTo>
                  <a:lnTo>
                    <a:pt x="689" y="214"/>
                  </a:lnTo>
                  <a:lnTo>
                    <a:pt x="680" y="216"/>
                  </a:lnTo>
                  <a:lnTo>
                    <a:pt x="674" y="216"/>
                  </a:lnTo>
                  <a:lnTo>
                    <a:pt x="669" y="213"/>
                  </a:lnTo>
                  <a:lnTo>
                    <a:pt x="662" y="210"/>
                  </a:lnTo>
                  <a:lnTo>
                    <a:pt x="654" y="205"/>
                  </a:lnTo>
                  <a:lnTo>
                    <a:pt x="638" y="194"/>
                  </a:lnTo>
                  <a:lnTo>
                    <a:pt x="622" y="180"/>
                  </a:lnTo>
                  <a:lnTo>
                    <a:pt x="608" y="165"/>
                  </a:lnTo>
                  <a:lnTo>
                    <a:pt x="596" y="150"/>
                  </a:lnTo>
                  <a:lnTo>
                    <a:pt x="590" y="144"/>
                  </a:lnTo>
                  <a:lnTo>
                    <a:pt x="586" y="137"/>
                  </a:lnTo>
                  <a:lnTo>
                    <a:pt x="585" y="130"/>
                  </a:lnTo>
                  <a:lnTo>
                    <a:pt x="584" y="126"/>
                  </a:lnTo>
                  <a:lnTo>
                    <a:pt x="584" y="114"/>
                  </a:lnTo>
                  <a:lnTo>
                    <a:pt x="584" y="106"/>
                  </a:lnTo>
                  <a:lnTo>
                    <a:pt x="584" y="98"/>
                  </a:lnTo>
                  <a:lnTo>
                    <a:pt x="584" y="84"/>
                  </a:lnTo>
                  <a:lnTo>
                    <a:pt x="576" y="81"/>
                  </a:lnTo>
                  <a:lnTo>
                    <a:pt x="569" y="77"/>
                  </a:lnTo>
                  <a:lnTo>
                    <a:pt x="564" y="72"/>
                  </a:lnTo>
                  <a:lnTo>
                    <a:pt x="557" y="65"/>
                  </a:lnTo>
                  <a:lnTo>
                    <a:pt x="548" y="52"/>
                  </a:lnTo>
                  <a:lnTo>
                    <a:pt x="537" y="37"/>
                  </a:lnTo>
                  <a:lnTo>
                    <a:pt x="528" y="22"/>
                  </a:lnTo>
                  <a:lnTo>
                    <a:pt x="517" y="10"/>
                  </a:lnTo>
                  <a:lnTo>
                    <a:pt x="510" y="6"/>
                  </a:lnTo>
                  <a:lnTo>
                    <a:pt x="504" y="2"/>
                  </a:lnTo>
                  <a:lnTo>
                    <a:pt x="496" y="0"/>
                  </a:lnTo>
                  <a:lnTo>
                    <a:pt x="488" y="0"/>
                  </a:lnTo>
                  <a:lnTo>
                    <a:pt x="469" y="0"/>
                  </a:lnTo>
                  <a:lnTo>
                    <a:pt x="452" y="2"/>
                  </a:lnTo>
                  <a:lnTo>
                    <a:pt x="437" y="8"/>
                  </a:lnTo>
                  <a:lnTo>
                    <a:pt x="423" y="13"/>
                  </a:lnTo>
                  <a:lnTo>
                    <a:pt x="409" y="20"/>
                  </a:lnTo>
                  <a:lnTo>
                    <a:pt x="396" y="28"/>
                  </a:lnTo>
                  <a:lnTo>
                    <a:pt x="384" y="36"/>
                  </a:lnTo>
                  <a:lnTo>
                    <a:pt x="373" y="45"/>
                  </a:lnTo>
                  <a:lnTo>
                    <a:pt x="351" y="62"/>
                  </a:lnTo>
                  <a:lnTo>
                    <a:pt x="328" y="81"/>
                  </a:lnTo>
                  <a:lnTo>
                    <a:pt x="316" y="89"/>
                  </a:lnTo>
                  <a:lnTo>
                    <a:pt x="304" y="96"/>
                  </a:lnTo>
                  <a:lnTo>
                    <a:pt x="291" y="102"/>
                  </a:lnTo>
                  <a:lnTo>
                    <a:pt x="276" y="108"/>
                  </a:lnTo>
                  <a:lnTo>
                    <a:pt x="253" y="110"/>
                  </a:lnTo>
                  <a:lnTo>
                    <a:pt x="231" y="110"/>
                  </a:lnTo>
                  <a:lnTo>
                    <a:pt x="208" y="110"/>
                  </a:lnTo>
                  <a:lnTo>
                    <a:pt x="185" y="109"/>
                  </a:lnTo>
                  <a:lnTo>
                    <a:pt x="175" y="109"/>
                  </a:lnTo>
                  <a:lnTo>
                    <a:pt x="164" y="110"/>
                  </a:lnTo>
                  <a:lnTo>
                    <a:pt x="153" y="112"/>
                  </a:lnTo>
                  <a:lnTo>
                    <a:pt x="144" y="114"/>
                  </a:lnTo>
                  <a:lnTo>
                    <a:pt x="135" y="118"/>
                  </a:lnTo>
                  <a:lnTo>
                    <a:pt x="125" y="124"/>
                  </a:lnTo>
                  <a:lnTo>
                    <a:pt x="116" y="130"/>
                  </a:lnTo>
                  <a:lnTo>
                    <a:pt x="108" y="138"/>
                  </a:lnTo>
                  <a:lnTo>
                    <a:pt x="97" y="130"/>
                  </a:lnTo>
                  <a:lnTo>
                    <a:pt x="87" y="121"/>
                  </a:lnTo>
                  <a:lnTo>
                    <a:pt x="80" y="116"/>
                  </a:lnTo>
                  <a:lnTo>
                    <a:pt x="73" y="112"/>
                  </a:lnTo>
                  <a:lnTo>
                    <a:pt x="67" y="109"/>
                  </a:lnTo>
                  <a:lnTo>
                    <a:pt x="60" y="108"/>
                  </a:lnTo>
                  <a:lnTo>
                    <a:pt x="55" y="108"/>
                  </a:lnTo>
                  <a:lnTo>
                    <a:pt x="51" y="109"/>
                  </a:lnTo>
                  <a:lnTo>
                    <a:pt x="47" y="110"/>
                  </a:lnTo>
                  <a:lnTo>
                    <a:pt x="43" y="113"/>
                  </a:lnTo>
                  <a:lnTo>
                    <a:pt x="37" y="118"/>
                  </a:lnTo>
                  <a:lnTo>
                    <a:pt x="32" y="124"/>
                  </a:lnTo>
                  <a:lnTo>
                    <a:pt x="27" y="132"/>
                  </a:lnTo>
                  <a:lnTo>
                    <a:pt x="20" y="138"/>
                  </a:lnTo>
                  <a:lnTo>
                    <a:pt x="11" y="145"/>
                  </a:lnTo>
                  <a:lnTo>
                    <a:pt x="0" y="150"/>
                  </a:lnTo>
                  <a:lnTo>
                    <a:pt x="216" y="801"/>
                  </a:lnTo>
                  <a:lnTo>
                    <a:pt x="217" y="805"/>
                  </a:lnTo>
                  <a:lnTo>
                    <a:pt x="219" y="810"/>
                  </a:lnTo>
                  <a:lnTo>
                    <a:pt x="221" y="815"/>
                  </a:lnTo>
                  <a:lnTo>
                    <a:pt x="224" y="819"/>
                  </a:lnTo>
                  <a:lnTo>
                    <a:pt x="228" y="823"/>
                  </a:lnTo>
                  <a:lnTo>
                    <a:pt x="232" y="827"/>
                  </a:lnTo>
                  <a:lnTo>
                    <a:pt x="236" y="830"/>
                  </a:lnTo>
                  <a:lnTo>
                    <a:pt x="240" y="830"/>
                  </a:lnTo>
                  <a:lnTo>
                    <a:pt x="251" y="829"/>
                  </a:lnTo>
                  <a:lnTo>
                    <a:pt x="260" y="826"/>
                  </a:lnTo>
                  <a:lnTo>
                    <a:pt x="268" y="821"/>
                  </a:lnTo>
                  <a:lnTo>
                    <a:pt x="275" y="814"/>
                  </a:lnTo>
                  <a:lnTo>
                    <a:pt x="280" y="806"/>
                  </a:lnTo>
                  <a:lnTo>
                    <a:pt x="285" y="798"/>
                  </a:lnTo>
                  <a:lnTo>
                    <a:pt x="289" y="789"/>
                  </a:lnTo>
                  <a:lnTo>
                    <a:pt x="293" y="779"/>
                  </a:lnTo>
                  <a:lnTo>
                    <a:pt x="303" y="761"/>
                  </a:lnTo>
                  <a:lnTo>
                    <a:pt x="312" y="743"/>
                  </a:lnTo>
                  <a:lnTo>
                    <a:pt x="319" y="738"/>
                  </a:lnTo>
                  <a:lnTo>
                    <a:pt x="325" y="733"/>
                  </a:lnTo>
                  <a:lnTo>
                    <a:pt x="333" y="729"/>
                  </a:lnTo>
                  <a:lnTo>
                    <a:pt x="343" y="727"/>
                  </a:lnTo>
                  <a:lnTo>
                    <a:pt x="351" y="729"/>
                  </a:lnTo>
                  <a:lnTo>
                    <a:pt x="361" y="731"/>
                  </a:lnTo>
                  <a:lnTo>
                    <a:pt x="372" y="737"/>
                  </a:lnTo>
                  <a:lnTo>
                    <a:pt x="383" y="742"/>
                  </a:lnTo>
                  <a:lnTo>
                    <a:pt x="393" y="749"/>
                  </a:lnTo>
                  <a:lnTo>
                    <a:pt x="401" y="755"/>
                  </a:lnTo>
                  <a:lnTo>
                    <a:pt x="404" y="759"/>
                  </a:lnTo>
                  <a:lnTo>
                    <a:pt x="407" y="763"/>
                  </a:lnTo>
                  <a:lnTo>
                    <a:pt x="408" y="766"/>
                  </a:lnTo>
                  <a:lnTo>
                    <a:pt x="409" y="770"/>
                  </a:lnTo>
                  <a:lnTo>
                    <a:pt x="409" y="779"/>
                  </a:lnTo>
                  <a:lnTo>
                    <a:pt x="411" y="787"/>
                  </a:lnTo>
                  <a:lnTo>
                    <a:pt x="412" y="794"/>
                  </a:lnTo>
                  <a:lnTo>
                    <a:pt x="415" y="801"/>
                  </a:lnTo>
                  <a:lnTo>
                    <a:pt x="420" y="811"/>
                  </a:lnTo>
                  <a:lnTo>
                    <a:pt x="427" y="821"/>
                  </a:lnTo>
                  <a:lnTo>
                    <a:pt x="433" y="831"/>
                  </a:lnTo>
                  <a:lnTo>
                    <a:pt x="440" y="843"/>
                  </a:lnTo>
                  <a:lnTo>
                    <a:pt x="441" y="851"/>
                  </a:lnTo>
                  <a:lnTo>
                    <a:pt x="444" y="861"/>
                  </a:lnTo>
                  <a:lnTo>
                    <a:pt x="445" y="871"/>
                  </a:lnTo>
                  <a:lnTo>
                    <a:pt x="445" y="885"/>
                  </a:lnTo>
                  <a:lnTo>
                    <a:pt x="453" y="883"/>
                  </a:lnTo>
                  <a:lnTo>
                    <a:pt x="463" y="882"/>
                  </a:lnTo>
                  <a:lnTo>
                    <a:pt x="473" y="882"/>
                  </a:lnTo>
                  <a:lnTo>
                    <a:pt x="485" y="882"/>
                  </a:lnTo>
                  <a:lnTo>
                    <a:pt x="512" y="883"/>
                  </a:lnTo>
                  <a:lnTo>
                    <a:pt x="536" y="885"/>
                  </a:lnTo>
                  <a:lnTo>
                    <a:pt x="550" y="885"/>
                  </a:lnTo>
                  <a:lnTo>
                    <a:pt x="564" y="883"/>
                  </a:lnTo>
                  <a:lnTo>
                    <a:pt x="577" y="881"/>
                  </a:lnTo>
                  <a:lnTo>
                    <a:pt x="589" y="879"/>
                  </a:lnTo>
                  <a:lnTo>
                    <a:pt x="613" y="873"/>
                  </a:lnTo>
                  <a:lnTo>
                    <a:pt x="636" y="866"/>
                  </a:lnTo>
                  <a:lnTo>
                    <a:pt x="657" y="859"/>
                  </a:lnTo>
                  <a:lnTo>
                    <a:pt x="678" y="854"/>
                  </a:lnTo>
                  <a:lnTo>
                    <a:pt x="700" y="850"/>
                  </a:lnTo>
                  <a:lnTo>
                    <a:pt x="722" y="849"/>
                  </a:lnTo>
                  <a:lnTo>
                    <a:pt x="734" y="849"/>
                  </a:lnTo>
                  <a:lnTo>
                    <a:pt x="746" y="851"/>
                  </a:lnTo>
                  <a:lnTo>
                    <a:pt x="757" y="855"/>
                  </a:lnTo>
                  <a:lnTo>
                    <a:pt x="768" y="859"/>
                  </a:lnTo>
                  <a:lnTo>
                    <a:pt x="778" y="865"/>
                  </a:lnTo>
                  <a:lnTo>
                    <a:pt x="789" y="871"/>
                  </a:lnTo>
                  <a:lnTo>
                    <a:pt x="798" y="879"/>
                  </a:lnTo>
                  <a:lnTo>
                    <a:pt x="806" y="887"/>
                  </a:lnTo>
                  <a:lnTo>
                    <a:pt x="814" y="897"/>
                  </a:lnTo>
                  <a:lnTo>
                    <a:pt x="822" y="906"/>
                  </a:lnTo>
                  <a:lnTo>
                    <a:pt x="829" y="915"/>
                  </a:lnTo>
                  <a:lnTo>
                    <a:pt x="836" y="925"/>
                  </a:lnTo>
                  <a:lnTo>
                    <a:pt x="846" y="945"/>
                  </a:lnTo>
                  <a:lnTo>
                    <a:pt x="854" y="963"/>
                  </a:lnTo>
                  <a:lnTo>
                    <a:pt x="873" y="963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9" name="Freeform 1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4184650" y="2058988"/>
              <a:ext cx="1228725" cy="2522537"/>
            </a:xfrm>
            <a:custGeom>
              <a:avLst/>
              <a:gdLst/>
              <a:ahLst/>
              <a:cxnLst>
                <a:cxn ang="0">
                  <a:pos x="211" y="2861"/>
                </a:cxn>
                <a:cxn ang="0">
                  <a:pos x="379" y="3250"/>
                </a:cxn>
                <a:cxn ang="0">
                  <a:pos x="506" y="3666"/>
                </a:cxn>
                <a:cxn ang="0">
                  <a:pos x="451" y="3932"/>
                </a:cxn>
                <a:cxn ang="0">
                  <a:pos x="328" y="4171"/>
                </a:cxn>
                <a:cxn ang="0">
                  <a:pos x="361" y="4399"/>
                </a:cxn>
                <a:cxn ang="0">
                  <a:pos x="319" y="4671"/>
                </a:cxn>
                <a:cxn ang="0">
                  <a:pos x="593" y="4756"/>
                </a:cxn>
                <a:cxn ang="0">
                  <a:pos x="785" y="4961"/>
                </a:cxn>
                <a:cxn ang="0">
                  <a:pos x="834" y="5205"/>
                </a:cxn>
                <a:cxn ang="0">
                  <a:pos x="782" y="5562"/>
                </a:cxn>
                <a:cxn ang="0">
                  <a:pos x="796" y="5830"/>
                </a:cxn>
                <a:cxn ang="0">
                  <a:pos x="1073" y="5984"/>
                </a:cxn>
                <a:cxn ang="0">
                  <a:pos x="1239" y="6362"/>
                </a:cxn>
                <a:cxn ang="0">
                  <a:pos x="1062" y="6601"/>
                </a:cxn>
                <a:cxn ang="0">
                  <a:pos x="1403" y="6708"/>
                </a:cxn>
                <a:cxn ang="0">
                  <a:pos x="1633" y="6335"/>
                </a:cxn>
                <a:cxn ang="0">
                  <a:pos x="1783" y="6134"/>
                </a:cxn>
                <a:cxn ang="0">
                  <a:pos x="1883" y="5980"/>
                </a:cxn>
                <a:cxn ang="0">
                  <a:pos x="1871" y="5713"/>
                </a:cxn>
                <a:cxn ang="0">
                  <a:pos x="1966" y="5458"/>
                </a:cxn>
                <a:cxn ang="0">
                  <a:pos x="2083" y="5201"/>
                </a:cxn>
                <a:cxn ang="0">
                  <a:pos x="2295" y="5209"/>
                </a:cxn>
                <a:cxn ang="0">
                  <a:pos x="2398" y="5037"/>
                </a:cxn>
                <a:cxn ang="0">
                  <a:pos x="2492" y="4800"/>
                </a:cxn>
                <a:cxn ang="0">
                  <a:pos x="2732" y="4860"/>
                </a:cxn>
                <a:cxn ang="0">
                  <a:pos x="2812" y="4676"/>
                </a:cxn>
                <a:cxn ang="0">
                  <a:pos x="2787" y="4436"/>
                </a:cxn>
                <a:cxn ang="0">
                  <a:pos x="2698" y="4146"/>
                </a:cxn>
                <a:cxn ang="0">
                  <a:pos x="2783" y="3932"/>
                </a:cxn>
                <a:cxn ang="0">
                  <a:pos x="2727" y="3692"/>
                </a:cxn>
                <a:cxn ang="0">
                  <a:pos x="2772" y="3486"/>
                </a:cxn>
                <a:cxn ang="0">
                  <a:pos x="2630" y="3387"/>
                </a:cxn>
                <a:cxn ang="0">
                  <a:pos x="2590" y="3035"/>
                </a:cxn>
                <a:cxn ang="0">
                  <a:pos x="2442" y="2776"/>
                </a:cxn>
                <a:cxn ang="0">
                  <a:pos x="2354" y="2124"/>
                </a:cxn>
                <a:cxn ang="0">
                  <a:pos x="2587" y="1944"/>
                </a:cxn>
                <a:cxn ang="0">
                  <a:pos x="2704" y="1508"/>
                </a:cxn>
                <a:cxn ang="0">
                  <a:pos x="2487" y="1191"/>
                </a:cxn>
                <a:cxn ang="0">
                  <a:pos x="2432" y="914"/>
                </a:cxn>
                <a:cxn ang="0">
                  <a:pos x="2383" y="1031"/>
                </a:cxn>
                <a:cxn ang="0">
                  <a:pos x="2291" y="926"/>
                </a:cxn>
                <a:cxn ang="0">
                  <a:pos x="2302" y="229"/>
                </a:cxn>
                <a:cxn ang="0">
                  <a:pos x="1990" y="293"/>
                </a:cxn>
                <a:cxn ang="0">
                  <a:pos x="1873" y="140"/>
                </a:cxn>
                <a:cxn ang="0">
                  <a:pos x="1809" y="12"/>
                </a:cxn>
                <a:cxn ang="0">
                  <a:pos x="1587" y="225"/>
                </a:cxn>
                <a:cxn ang="0">
                  <a:pos x="1478" y="385"/>
                </a:cxn>
                <a:cxn ang="0">
                  <a:pos x="1339" y="558"/>
                </a:cxn>
                <a:cxn ang="0">
                  <a:pos x="1238" y="509"/>
                </a:cxn>
                <a:cxn ang="0">
                  <a:pos x="1010" y="645"/>
                </a:cxn>
                <a:cxn ang="0">
                  <a:pos x="740" y="1106"/>
                </a:cxn>
                <a:cxn ang="0">
                  <a:pos x="273" y="1155"/>
                </a:cxn>
                <a:cxn ang="0">
                  <a:pos x="240" y="1490"/>
                </a:cxn>
                <a:cxn ang="0">
                  <a:pos x="368" y="1627"/>
                </a:cxn>
                <a:cxn ang="0">
                  <a:pos x="369" y="2081"/>
                </a:cxn>
                <a:cxn ang="0">
                  <a:pos x="323" y="1893"/>
                </a:cxn>
                <a:cxn ang="0">
                  <a:pos x="360" y="1662"/>
                </a:cxn>
                <a:cxn ang="0">
                  <a:pos x="72" y="1467"/>
                </a:cxn>
                <a:cxn ang="0">
                  <a:pos x="160" y="1674"/>
                </a:cxn>
                <a:cxn ang="0">
                  <a:pos x="164" y="1957"/>
                </a:cxn>
                <a:cxn ang="0">
                  <a:pos x="37" y="2237"/>
                </a:cxn>
                <a:cxn ang="0">
                  <a:pos x="289" y="2403"/>
                </a:cxn>
              </a:cxnLst>
              <a:rect l="0" t="0" r="r" b="b"/>
              <a:pathLst>
                <a:path w="2865" h="6748">
                  <a:moveTo>
                    <a:pt x="276" y="2557"/>
                  </a:moveTo>
                  <a:lnTo>
                    <a:pt x="271" y="2540"/>
                  </a:lnTo>
                  <a:lnTo>
                    <a:pt x="276" y="2557"/>
                  </a:lnTo>
                  <a:lnTo>
                    <a:pt x="271" y="2557"/>
                  </a:lnTo>
                  <a:lnTo>
                    <a:pt x="269" y="2568"/>
                  </a:lnTo>
                  <a:lnTo>
                    <a:pt x="267" y="2578"/>
                  </a:lnTo>
                  <a:lnTo>
                    <a:pt x="264" y="2590"/>
                  </a:lnTo>
                  <a:lnTo>
                    <a:pt x="259" y="2602"/>
                  </a:lnTo>
                  <a:lnTo>
                    <a:pt x="252" y="2613"/>
                  </a:lnTo>
                  <a:lnTo>
                    <a:pt x="245" y="2624"/>
                  </a:lnTo>
                  <a:lnTo>
                    <a:pt x="237" y="2634"/>
                  </a:lnTo>
                  <a:lnTo>
                    <a:pt x="228" y="2641"/>
                  </a:lnTo>
                  <a:lnTo>
                    <a:pt x="212" y="2645"/>
                  </a:lnTo>
                  <a:lnTo>
                    <a:pt x="195" y="2648"/>
                  </a:lnTo>
                  <a:lnTo>
                    <a:pt x="187" y="2650"/>
                  </a:lnTo>
                  <a:lnTo>
                    <a:pt x="180" y="2656"/>
                  </a:lnTo>
                  <a:lnTo>
                    <a:pt x="177" y="2658"/>
                  </a:lnTo>
                  <a:lnTo>
                    <a:pt x="176" y="2662"/>
                  </a:lnTo>
                  <a:lnTo>
                    <a:pt x="175" y="2666"/>
                  </a:lnTo>
                  <a:lnTo>
                    <a:pt x="175" y="2672"/>
                  </a:lnTo>
                  <a:lnTo>
                    <a:pt x="176" y="2680"/>
                  </a:lnTo>
                  <a:lnTo>
                    <a:pt x="179" y="2701"/>
                  </a:lnTo>
                  <a:lnTo>
                    <a:pt x="184" y="2730"/>
                  </a:lnTo>
                  <a:lnTo>
                    <a:pt x="191" y="2765"/>
                  </a:lnTo>
                  <a:lnTo>
                    <a:pt x="197" y="2801"/>
                  </a:lnTo>
                  <a:lnTo>
                    <a:pt x="204" y="2834"/>
                  </a:lnTo>
                  <a:lnTo>
                    <a:pt x="211" y="2861"/>
                  </a:lnTo>
                  <a:lnTo>
                    <a:pt x="216" y="2877"/>
                  </a:lnTo>
                  <a:lnTo>
                    <a:pt x="237" y="2897"/>
                  </a:lnTo>
                  <a:lnTo>
                    <a:pt x="255" y="2910"/>
                  </a:lnTo>
                  <a:lnTo>
                    <a:pt x="259" y="2913"/>
                  </a:lnTo>
                  <a:lnTo>
                    <a:pt x="261" y="2917"/>
                  </a:lnTo>
                  <a:lnTo>
                    <a:pt x="264" y="2922"/>
                  </a:lnTo>
                  <a:lnTo>
                    <a:pt x="267" y="2928"/>
                  </a:lnTo>
                  <a:lnTo>
                    <a:pt x="268" y="2934"/>
                  </a:lnTo>
                  <a:lnTo>
                    <a:pt x="269" y="2941"/>
                  </a:lnTo>
                  <a:lnTo>
                    <a:pt x="271" y="2950"/>
                  </a:lnTo>
                  <a:lnTo>
                    <a:pt x="271" y="2961"/>
                  </a:lnTo>
                  <a:lnTo>
                    <a:pt x="271" y="3001"/>
                  </a:lnTo>
                  <a:lnTo>
                    <a:pt x="271" y="3035"/>
                  </a:lnTo>
                  <a:lnTo>
                    <a:pt x="271" y="3073"/>
                  </a:lnTo>
                  <a:lnTo>
                    <a:pt x="271" y="3123"/>
                  </a:lnTo>
                  <a:lnTo>
                    <a:pt x="271" y="3137"/>
                  </a:lnTo>
                  <a:lnTo>
                    <a:pt x="273" y="3149"/>
                  </a:lnTo>
                  <a:lnTo>
                    <a:pt x="276" y="3159"/>
                  </a:lnTo>
                  <a:lnTo>
                    <a:pt x="280" y="3169"/>
                  </a:lnTo>
                  <a:lnTo>
                    <a:pt x="285" y="3178"/>
                  </a:lnTo>
                  <a:lnTo>
                    <a:pt x="292" y="3187"/>
                  </a:lnTo>
                  <a:lnTo>
                    <a:pt x="299" y="3195"/>
                  </a:lnTo>
                  <a:lnTo>
                    <a:pt x="307" y="3202"/>
                  </a:lnTo>
                  <a:lnTo>
                    <a:pt x="324" y="3215"/>
                  </a:lnTo>
                  <a:lnTo>
                    <a:pt x="341" y="3227"/>
                  </a:lnTo>
                  <a:lnTo>
                    <a:pt x="360" y="3238"/>
                  </a:lnTo>
                  <a:lnTo>
                    <a:pt x="379" y="3250"/>
                  </a:lnTo>
                  <a:lnTo>
                    <a:pt x="385" y="3365"/>
                  </a:lnTo>
                  <a:lnTo>
                    <a:pt x="379" y="3371"/>
                  </a:lnTo>
                  <a:lnTo>
                    <a:pt x="371" y="3383"/>
                  </a:lnTo>
                  <a:lnTo>
                    <a:pt x="367" y="3391"/>
                  </a:lnTo>
                  <a:lnTo>
                    <a:pt x="364" y="3398"/>
                  </a:lnTo>
                  <a:lnTo>
                    <a:pt x="361" y="3406"/>
                  </a:lnTo>
                  <a:lnTo>
                    <a:pt x="361" y="3413"/>
                  </a:lnTo>
                  <a:lnTo>
                    <a:pt x="363" y="3421"/>
                  </a:lnTo>
                  <a:lnTo>
                    <a:pt x="365" y="3427"/>
                  </a:lnTo>
                  <a:lnTo>
                    <a:pt x="371" y="3435"/>
                  </a:lnTo>
                  <a:lnTo>
                    <a:pt x="379" y="3442"/>
                  </a:lnTo>
                  <a:lnTo>
                    <a:pt x="387" y="3447"/>
                  </a:lnTo>
                  <a:lnTo>
                    <a:pt x="397" y="3454"/>
                  </a:lnTo>
                  <a:lnTo>
                    <a:pt x="408" y="3459"/>
                  </a:lnTo>
                  <a:lnTo>
                    <a:pt x="420" y="3465"/>
                  </a:lnTo>
                  <a:lnTo>
                    <a:pt x="445" y="3473"/>
                  </a:lnTo>
                  <a:lnTo>
                    <a:pt x="470" y="3479"/>
                  </a:lnTo>
                  <a:lnTo>
                    <a:pt x="493" y="3483"/>
                  </a:lnTo>
                  <a:lnTo>
                    <a:pt x="512" y="3485"/>
                  </a:lnTo>
                  <a:lnTo>
                    <a:pt x="513" y="3511"/>
                  </a:lnTo>
                  <a:lnTo>
                    <a:pt x="517" y="3541"/>
                  </a:lnTo>
                  <a:lnTo>
                    <a:pt x="521" y="3571"/>
                  </a:lnTo>
                  <a:lnTo>
                    <a:pt x="524" y="3605"/>
                  </a:lnTo>
                  <a:lnTo>
                    <a:pt x="522" y="3624"/>
                  </a:lnTo>
                  <a:lnTo>
                    <a:pt x="518" y="3640"/>
                  </a:lnTo>
                  <a:lnTo>
                    <a:pt x="513" y="3654"/>
                  </a:lnTo>
                  <a:lnTo>
                    <a:pt x="506" y="3666"/>
                  </a:lnTo>
                  <a:lnTo>
                    <a:pt x="498" y="3675"/>
                  </a:lnTo>
                  <a:lnTo>
                    <a:pt x="489" y="3684"/>
                  </a:lnTo>
                  <a:lnTo>
                    <a:pt x="480" y="3692"/>
                  </a:lnTo>
                  <a:lnTo>
                    <a:pt x="469" y="3700"/>
                  </a:lnTo>
                  <a:lnTo>
                    <a:pt x="459" y="3708"/>
                  </a:lnTo>
                  <a:lnTo>
                    <a:pt x="449" y="3716"/>
                  </a:lnTo>
                  <a:lnTo>
                    <a:pt x="440" y="3724"/>
                  </a:lnTo>
                  <a:lnTo>
                    <a:pt x="432" y="3735"/>
                  </a:lnTo>
                  <a:lnTo>
                    <a:pt x="425" y="3746"/>
                  </a:lnTo>
                  <a:lnTo>
                    <a:pt x="420" y="3759"/>
                  </a:lnTo>
                  <a:lnTo>
                    <a:pt x="416" y="3774"/>
                  </a:lnTo>
                  <a:lnTo>
                    <a:pt x="415" y="3791"/>
                  </a:lnTo>
                  <a:lnTo>
                    <a:pt x="416" y="3798"/>
                  </a:lnTo>
                  <a:lnTo>
                    <a:pt x="417" y="3804"/>
                  </a:lnTo>
                  <a:lnTo>
                    <a:pt x="419" y="3811"/>
                  </a:lnTo>
                  <a:lnTo>
                    <a:pt x="421" y="3818"/>
                  </a:lnTo>
                  <a:lnTo>
                    <a:pt x="428" y="3830"/>
                  </a:lnTo>
                  <a:lnTo>
                    <a:pt x="436" y="3842"/>
                  </a:lnTo>
                  <a:lnTo>
                    <a:pt x="444" y="3855"/>
                  </a:lnTo>
                  <a:lnTo>
                    <a:pt x="451" y="3871"/>
                  </a:lnTo>
                  <a:lnTo>
                    <a:pt x="453" y="3879"/>
                  </a:lnTo>
                  <a:lnTo>
                    <a:pt x="456" y="3887"/>
                  </a:lnTo>
                  <a:lnTo>
                    <a:pt x="457" y="3896"/>
                  </a:lnTo>
                  <a:lnTo>
                    <a:pt x="457" y="3906"/>
                  </a:lnTo>
                  <a:lnTo>
                    <a:pt x="456" y="3916"/>
                  </a:lnTo>
                  <a:lnTo>
                    <a:pt x="455" y="3924"/>
                  </a:lnTo>
                  <a:lnTo>
                    <a:pt x="451" y="3932"/>
                  </a:lnTo>
                  <a:lnTo>
                    <a:pt x="447" y="3940"/>
                  </a:lnTo>
                  <a:lnTo>
                    <a:pt x="436" y="3954"/>
                  </a:lnTo>
                  <a:lnTo>
                    <a:pt x="423" y="3966"/>
                  </a:lnTo>
                  <a:lnTo>
                    <a:pt x="409" y="3978"/>
                  </a:lnTo>
                  <a:lnTo>
                    <a:pt x="396" y="3990"/>
                  </a:lnTo>
                  <a:lnTo>
                    <a:pt x="391" y="3996"/>
                  </a:lnTo>
                  <a:lnTo>
                    <a:pt x="385" y="4004"/>
                  </a:lnTo>
                  <a:lnTo>
                    <a:pt x="381" y="4012"/>
                  </a:lnTo>
                  <a:lnTo>
                    <a:pt x="379" y="4020"/>
                  </a:lnTo>
                  <a:lnTo>
                    <a:pt x="376" y="4043"/>
                  </a:lnTo>
                  <a:lnTo>
                    <a:pt x="375" y="4063"/>
                  </a:lnTo>
                  <a:lnTo>
                    <a:pt x="373" y="4072"/>
                  </a:lnTo>
                  <a:lnTo>
                    <a:pt x="371" y="4080"/>
                  </a:lnTo>
                  <a:lnTo>
                    <a:pt x="367" y="4087"/>
                  </a:lnTo>
                  <a:lnTo>
                    <a:pt x="361" y="4092"/>
                  </a:lnTo>
                  <a:lnTo>
                    <a:pt x="355" y="4096"/>
                  </a:lnTo>
                  <a:lnTo>
                    <a:pt x="349" y="4098"/>
                  </a:lnTo>
                  <a:lnTo>
                    <a:pt x="344" y="4099"/>
                  </a:lnTo>
                  <a:lnTo>
                    <a:pt x="340" y="4098"/>
                  </a:lnTo>
                  <a:lnTo>
                    <a:pt x="335" y="4098"/>
                  </a:lnTo>
                  <a:lnTo>
                    <a:pt x="331" y="4098"/>
                  </a:lnTo>
                  <a:lnTo>
                    <a:pt x="325" y="4098"/>
                  </a:lnTo>
                  <a:lnTo>
                    <a:pt x="319" y="4099"/>
                  </a:lnTo>
                  <a:lnTo>
                    <a:pt x="319" y="4118"/>
                  </a:lnTo>
                  <a:lnTo>
                    <a:pt x="321" y="4136"/>
                  </a:lnTo>
                  <a:lnTo>
                    <a:pt x="324" y="4154"/>
                  </a:lnTo>
                  <a:lnTo>
                    <a:pt x="328" y="4171"/>
                  </a:lnTo>
                  <a:lnTo>
                    <a:pt x="335" y="4187"/>
                  </a:lnTo>
                  <a:lnTo>
                    <a:pt x="341" y="4203"/>
                  </a:lnTo>
                  <a:lnTo>
                    <a:pt x="349" y="4217"/>
                  </a:lnTo>
                  <a:lnTo>
                    <a:pt x="357" y="4231"/>
                  </a:lnTo>
                  <a:lnTo>
                    <a:pt x="368" y="4243"/>
                  </a:lnTo>
                  <a:lnTo>
                    <a:pt x="379" y="4253"/>
                  </a:lnTo>
                  <a:lnTo>
                    <a:pt x="392" y="4263"/>
                  </a:lnTo>
                  <a:lnTo>
                    <a:pt x="405" y="4271"/>
                  </a:lnTo>
                  <a:lnTo>
                    <a:pt x="420" y="4277"/>
                  </a:lnTo>
                  <a:lnTo>
                    <a:pt x="435" y="4281"/>
                  </a:lnTo>
                  <a:lnTo>
                    <a:pt x="452" y="4284"/>
                  </a:lnTo>
                  <a:lnTo>
                    <a:pt x="469" y="4285"/>
                  </a:lnTo>
                  <a:lnTo>
                    <a:pt x="470" y="4297"/>
                  </a:lnTo>
                  <a:lnTo>
                    <a:pt x="470" y="4308"/>
                  </a:lnTo>
                  <a:lnTo>
                    <a:pt x="469" y="4319"/>
                  </a:lnTo>
                  <a:lnTo>
                    <a:pt x="467" y="4328"/>
                  </a:lnTo>
                  <a:lnTo>
                    <a:pt x="463" y="4336"/>
                  </a:lnTo>
                  <a:lnTo>
                    <a:pt x="459" y="4344"/>
                  </a:lnTo>
                  <a:lnTo>
                    <a:pt x="453" y="4351"/>
                  </a:lnTo>
                  <a:lnTo>
                    <a:pt x="447" y="4357"/>
                  </a:lnTo>
                  <a:lnTo>
                    <a:pt x="440" y="4363"/>
                  </a:lnTo>
                  <a:lnTo>
                    <a:pt x="432" y="4368"/>
                  </a:lnTo>
                  <a:lnTo>
                    <a:pt x="424" y="4373"/>
                  </a:lnTo>
                  <a:lnTo>
                    <a:pt x="416" y="4377"/>
                  </a:lnTo>
                  <a:lnTo>
                    <a:pt x="399" y="4385"/>
                  </a:lnTo>
                  <a:lnTo>
                    <a:pt x="380" y="4392"/>
                  </a:lnTo>
                  <a:lnTo>
                    <a:pt x="361" y="4399"/>
                  </a:lnTo>
                  <a:lnTo>
                    <a:pt x="343" y="4405"/>
                  </a:lnTo>
                  <a:lnTo>
                    <a:pt x="325" y="4412"/>
                  </a:lnTo>
                  <a:lnTo>
                    <a:pt x="309" y="4421"/>
                  </a:lnTo>
                  <a:lnTo>
                    <a:pt x="303" y="4425"/>
                  </a:lnTo>
                  <a:lnTo>
                    <a:pt x="296" y="4431"/>
                  </a:lnTo>
                  <a:lnTo>
                    <a:pt x="291" y="4436"/>
                  </a:lnTo>
                  <a:lnTo>
                    <a:pt x="285" y="4441"/>
                  </a:lnTo>
                  <a:lnTo>
                    <a:pt x="281" y="4448"/>
                  </a:lnTo>
                  <a:lnTo>
                    <a:pt x="279" y="4456"/>
                  </a:lnTo>
                  <a:lnTo>
                    <a:pt x="277" y="4464"/>
                  </a:lnTo>
                  <a:lnTo>
                    <a:pt x="276" y="4472"/>
                  </a:lnTo>
                  <a:lnTo>
                    <a:pt x="277" y="4480"/>
                  </a:lnTo>
                  <a:lnTo>
                    <a:pt x="279" y="4488"/>
                  </a:lnTo>
                  <a:lnTo>
                    <a:pt x="280" y="4495"/>
                  </a:lnTo>
                  <a:lnTo>
                    <a:pt x="283" y="4501"/>
                  </a:lnTo>
                  <a:lnTo>
                    <a:pt x="289" y="4513"/>
                  </a:lnTo>
                  <a:lnTo>
                    <a:pt x="297" y="4523"/>
                  </a:lnTo>
                  <a:lnTo>
                    <a:pt x="305" y="4533"/>
                  </a:lnTo>
                  <a:lnTo>
                    <a:pt x="312" y="4545"/>
                  </a:lnTo>
                  <a:lnTo>
                    <a:pt x="315" y="4551"/>
                  </a:lnTo>
                  <a:lnTo>
                    <a:pt x="317" y="4559"/>
                  </a:lnTo>
                  <a:lnTo>
                    <a:pt x="319" y="4565"/>
                  </a:lnTo>
                  <a:lnTo>
                    <a:pt x="319" y="4575"/>
                  </a:lnTo>
                  <a:lnTo>
                    <a:pt x="319" y="4605"/>
                  </a:lnTo>
                  <a:lnTo>
                    <a:pt x="319" y="4632"/>
                  </a:lnTo>
                  <a:lnTo>
                    <a:pt x="319" y="4655"/>
                  </a:lnTo>
                  <a:lnTo>
                    <a:pt x="319" y="4671"/>
                  </a:lnTo>
                  <a:lnTo>
                    <a:pt x="319" y="4676"/>
                  </a:lnTo>
                  <a:lnTo>
                    <a:pt x="320" y="4684"/>
                  </a:lnTo>
                  <a:lnTo>
                    <a:pt x="323" y="4691"/>
                  </a:lnTo>
                  <a:lnTo>
                    <a:pt x="325" y="4700"/>
                  </a:lnTo>
                  <a:lnTo>
                    <a:pt x="331" y="4707"/>
                  </a:lnTo>
                  <a:lnTo>
                    <a:pt x="336" y="4713"/>
                  </a:lnTo>
                  <a:lnTo>
                    <a:pt x="340" y="4716"/>
                  </a:lnTo>
                  <a:lnTo>
                    <a:pt x="344" y="4717"/>
                  </a:lnTo>
                  <a:lnTo>
                    <a:pt x="349" y="4719"/>
                  </a:lnTo>
                  <a:lnTo>
                    <a:pt x="355" y="4719"/>
                  </a:lnTo>
                  <a:lnTo>
                    <a:pt x="375" y="4719"/>
                  </a:lnTo>
                  <a:lnTo>
                    <a:pt x="392" y="4716"/>
                  </a:lnTo>
                  <a:lnTo>
                    <a:pt x="408" y="4713"/>
                  </a:lnTo>
                  <a:lnTo>
                    <a:pt x="424" y="4709"/>
                  </a:lnTo>
                  <a:lnTo>
                    <a:pt x="440" y="4707"/>
                  </a:lnTo>
                  <a:lnTo>
                    <a:pt x="456" y="4704"/>
                  </a:lnTo>
                  <a:lnTo>
                    <a:pt x="474" y="4701"/>
                  </a:lnTo>
                  <a:lnTo>
                    <a:pt x="493" y="4701"/>
                  </a:lnTo>
                  <a:lnTo>
                    <a:pt x="510" y="4701"/>
                  </a:lnTo>
                  <a:lnTo>
                    <a:pt x="526" y="4704"/>
                  </a:lnTo>
                  <a:lnTo>
                    <a:pt x="538" y="4708"/>
                  </a:lnTo>
                  <a:lnTo>
                    <a:pt x="550" y="4713"/>
                  </a:lnTo>
                  <a:lnTo>
                    <a:pt x="558" y="4719"/>
                  </a:lnTo>
                  <a:lnTo>
                    <a:pt x="566" y="4725"/>
                  </a:lnTo>
                  <a:lnTo>
                    <a:pt x="574" y="4733"/>
                  </a:lnTo>
                  <a:lnTo>
                    <a:pt x="581" y="4741"/>
                  </a:lnTo>
                  <a:lnTo>
                    <a:pt x="593" y="4756"/>
                  </a:lnTo>
                  <a:lnTo>
                    <a:pt x="606" y="4769"/>
                  </a:lnTo>
                  <a:lnTo>
                    <a:pt x="614" y="4775"/>
                  </a:lnTo>
                  <a:lnTo>
                    <a:pt x="625" y="4780"/>
                  </a:lnTo>
                  <a:lnTo>
                    <a:pt x="636" y="4783"/>
                  </a:lnTo>
                  <a:lnTo>
                    <a:pt x="650" y="4785"/>
                  </a:lnTo>
                  <a:lnTo>
                    <a:pt x="653" y="4794"/>
                  </a:lnTo>
                  <a:lnTo>
                    <a:pt x="657" y="4806"/>
                  </a:lnTo>
                  <a:lnTo>
                    <a:pt x="662" y="4820"/>
                  </a:lnTo>
                  <a:lnTo>
                    <a:pt x="669" y="4833"/>
                  </a:lnTo>
                  <a:lnTo>
                    <a:pt x="676" y="4845"/>
                  </a:lnTo>
                  <a:lnTo>
                    <a:pt x="684" y="4857"/>
                  </a:lnTo>
                  <a:lnTo>
                    <a:pt x="690" y="4868"/>
                  </a:lnTo>
                  <a:lnTo>
                    <a:pt x="698" y="4876"/>
                  </a:lnTo>
                  <a:lnTo>
                    <a:pt x="712" y="4882"/>
                  </a:lnTo>
                  <a:lnTo>
                    <a:pt x="728" y="4888"/>
                  </a:lnTo>
                  <a:lnTo>
                    <a:pt x="742" y="4893"/>
                  </a:lnTo>
                  <a:lnTo>
                    <a:pt x="757" y="4897"/>
                  </a:lnTo>
                  <a:lnTo>
                    <a:pt x="764" y="4900"/>
                  </a:lnTo>
                  <a:lnTo>
                    <a:pt x="769" y="4904"/>
                  </a:lnTo>
                  <a:lnTo>
                    <a:pt x="774" y="4908"/>
                  </a:lnTo>
                  <a:lnTo>
                    <a:pt x="780" y="4912"/>
                  </a:lnTo>
                  <a:lnTo>
                    <a:pt x="782" y="4917"/>
                  </a:lnTo>
                  <a:lnTo>
                    <a:pt x="786" y="4924"/>
                  </a:lnTo>
                  <a:lnTo>
                    <a:pt x="788" y="4932"/>
                  </a:lnTo>
                  <a:lnTo>
                    <a:pt x="788" y="4941"/>
                  </a:lnTo>
                  <a:lnTo>
                    <a:pt x="788" y="4952"/>
                  </a:lnTo>
                  <a:lnTo>
                    <a:pt x="785" y="4961"/>
                  </a:lnTo>
                  <a:lnTo>
                    <a:pt x="781" y="4970"/>
                  </a:lnTo>
                  <a:lnTo>
                    <a:pt x="776" y="4980"/>
                  </a:lnTo>
                  <a:lnTo>
                    <a:pt x="764" y="4998"/>
                  </a:lnTo>
                  <a:lnTo>
                    <a:pt x="749" y="5017"/>
                  </a:lnTo>
                  <a:lnTo>
                    <a:pt x="742" y="5028"/>
                  </a:lnTo>
                  <a:lnTo>
                    <a:pt x="734" y="5038"/>
                  </a:lnTo>
                  <a:lnTo>
                    <a:pt x="728" y="5049"/>
                  </a:lnTo>
                  <a:lnTo>
                    <a:pt x="722" y="5061"/>
                  </a:lnTo>
                  <a:lnTo>
                    <a:pt x="717" y="5073"/>
                  </a:lnTo>
                  <a:lnTo>
                    <a:pt x="713" y="5086"/>
                  </a:lnTo>
                  <a:lnTo>
                    <a:pt x="710" y="5101"/>
                  </a:lnTo>
                  <a:lnTo>
                    <a:pt x="710" y="5116"/>
                  </a:lnTo>
                  <a:lnTo>
                    <a:pt x="710" y="5125"/>
                  </a:lnTo>
                  <a:lnTo>
                    <a:pt x="712" y="5134"/>
                  </a:lnTo>
                  <a:lnTo>
                    <a:pt x="714" y="5141"/>
                  </a:lnTo>
                  <a:lnTo>
                    <a:pt x="717" y="5148"/>
                  </a:lnTo>
                  <a:lnTo>
                    <a:pt x="721" y="5154"/>
                  </a:lnTo>
                  <a:lnTo>
                    <a:pt x="725" y="5160"/>
                  </a:lnTo>
                  <a:lnTo>
                    <a:pt x="730" y="5164"/>
                  </a:lnTo>
                  <a:lnTo>
                    <a:pt x="736" y="5169"/>
                  </a:lnTo>
                  <a:lnTo>
                    <a:pt x="748" y="5176"/>
                  </a:lnTo>
                  <a:lnTo>
                    <a:pt x="761" y="5181"/>
                  </a:lnTo>
                  <a:lnTo>
                    <a:pt x="776" y="5186"/>
                  </a:lnTo>
                  <a:lnTo>
                    <a:pt x="792" y="5190"/>
                  </a:lnTo>
                  <a:lnTo>
                    <a:pt x="806" y="5196"/>
                  </a:lnTo>
                  <a:lnTo>
                    <a:pt x="821" y="5200"/>
                  </a:lnTo>
                  <a:lnTo>
                    <a:pt x="834" y="5205"/>
                  </a:lnTo>
                  <a:lnTo>
                    <a:pt x="848" y="5212"/>
                  </a:lnTo>
                  <a:lnTo>
                    <a:pt x="853" y="5216"/>
                  </a:lnTo>
                  <a:lnTo>
                    <a:pt x="857" y="5221"/>
                  </a:lnTo>
                  <a:lnTo>
                    <a:pt x="862" y="5225"/>
                  </a:lnTo>
                  <a:lnTo>
                    <a:pt x="865" y="5232"/>
                  </a:lnTo>
                  <a:lnTo>
                    <a:pt x="869" y="5237"/>
                  </a:lnTo>
                  <a:lnTo>
                    <a:pt x="870" y="5245"/>
                  </a:lnTo>
                  <a:lnTo>
                    <a:pt x="872" y="5252"/>
                  </a:lnTo>
                  <a:lnTo>
                    <a:pt x="873" y="5261"/>
                  </a:lnTo>
                  <a:lnTo>
                    <a:pt x="872" y="5274"/>
                  </a:lnTo>
                  <a:lnTo>
                    <a:pt x="869" y="5286"/>
                  </a:lnTo>
                  <a:lnTo>
                    <a:pt x="864" y="5297"/>
                  </a:lnTo>
                  <a:lnTo>
                    <a:pt x="858" y="5308"/>
                  </a:lnTo>
                  <a:lnTo>
                    <a:pt x="852" y="5316"/>
                  </a:lnTo>
                  <a:lnTo>
                    <a:pt x="844" y="5324"/>
                  </a:lnTo>
                  <a:lnTo>
                    <a:pt x="836" y="5330"/>
                  </a:lnTo>
                  <a:lnTo>
                    <a:pt x="828" y="5337"/>
                  </a:lnTo>
                  <a:lnTo>
                    <a:pt x="810" y="5352"/>
                  </a:lnTo>
                  <a:lnTo>
                    <a:pt x="796" y="5366"/>
                  </a:lnTo>
                  <a:lnTo>
                    <a:pt x="790" y="5374"/>
                  </a:lnTo>
                  <a:lnTo>
                    <a:pt x="786" y="5383"/>
                  </a:lnTo>
                  <a:lnTo>
                    <a:pt x="784" y="5394"/>
                  </a:lnTo>
                  <a:lnTo>
                    <a:pt x="782" y="5405"/>
                  </a:lnTo>
                  <a:lnTo>
                    <a:pt x="782" y="5433"/>
                  </a:lnTo>
                  <a:lnTo>
                    <a:pt x="782" y="5477"/>
                  </a:lnTo>
                  <a:lnTo>
                    <a:pt x="782" y="5525"/>
                  </a:lnTo>
                  <a:lnTo>
                    <a:pt x="782" y="5562"/>
                  </a:lnTo>
                  <a:lnTo>
                    <a:pt x="784" y="5571"/>
                  </a:lnTo>
                  <a:lnTo>
                    <a:pt x="786" y="5581"/>
                  </a:lnTo>
                  <a:lnTo>
                    <a:pt x="790" y="5590"/>
                  </a:lnTo>
                  <a:lnTo>
                    <a:pt x="796" y="5599"/>
                  </a:lnTo>
                  <a:lnTo>
                    <a:pt x="809" y="5617"/>
                  </a:lnTo>
                  <a:lnTo>
                    <a:pt x="825" y="5637"/>
                  </a:lnTo>
                  <a:lnTo>
                    <a:pt x="832" y="5646"/>
                  </a:lnTo>
                  <a:lnTo>
                    <a:pt x="840" y="5657"/>
                  </a:lnTo>
                  <a:lnTo>
                    <a:pt x="846" y="5669"/>
                  </a:lnTo>
                  <a:lnTo>
                    <a:pt x="853" y="5681"/>
                  </a:lnTo>
                  <a:lnTo>
                    <a:pt x="858" y="5694"/>
                  </a:lnTo>
                  <a:lnTo>
                    <a:pt x="862" y="5709"/>
                  </a:lnTo>
                  <a:lnTo>
                    <a:pt x="865" y="5725"/>
                  </a:lnTo>
                  <a:lnTo>
                    <a:pt x="866" y="5742"/>
                  </a:lnTo>
                  <a:lnTo>
                    <a:pt x="866" y="5754"/>
                  </a:lnTo>
                  <a:lnTo>
                    <a:pt x="864" y="5763"/>
                  </a:lnTo>
                  <a:lnTo>
                    <a:pt x="860" y="5771"/>
                  </a:lnTo>
                  <a:lnTo>
                    <a:pt x="856" y="5778"/>
                  </a:lnTo>
                  <a:lnTo>
                    <a:pt x="850" y="5783"/>
                  </a:lnTo>
                  <a:lnTo>
                    <a:pt x="844" y="5787"/>
                  </a:lnTo>
                  <a:lnTo>
                    <a:pt x="837" y="5791"/>
                  </a:lnTo>
                  <a:lnTo>
                    <a:pt x="830" y="5795"/>
                  </a:lnTo>
                  <a:lnTo>
                    <a:pt x="817" y="5802"/>
                  </a:lnTo>
                  <a:lnTo>
                    <a:pt x="805" y="5810"/>
                  </a:lnTo>
                  <a:lnTo>
                    <a:pt x="801" y="5815"/>
                  </a:lnTo>
                  <a:lnTo>
                    <a:pt x="797" y="5822"/>
                  </a:lnTo>
                  <a:lnTo>
                    <a:pt x="796" y="5830"/>
                  </a:lnTo>
                  <a:lnTo>
                    <a:pt x="794" y="5839"/>
                  </a:lnTo>
                  <a:lnTo>
                    <a:pt x="796" y="5843"/>
                  </a:lnTo>
                  <a:lnTo>
                    <a:pt x="797" y="5850"/>
                  </a:lnTo>
                  <a:lnTo>
                    <a:pt x="801" y="5857"/>
                  </a:lnTo>
                  <a:lnTo>
                    <a:pt x="806" y="5865"/>
                  </a:lnTo>
                  <a:lnTo>
                    <a:pt x="818" y="5882"/>
                  </a:lnTo>
                  <a:lnTo>
                    <a:pt x="834" y="5899"/>
                  </a:lnTo>
                  <a:lnTo>
                    <a:pt x="852" y="5915"/>
                  </a:lnTo>
                  <a:lnTo>
                    <a:pt x="868" y="5929"/>
                  </a:lnTo>
                  <a:lnTo>
                    <a:pt x="876" y="5934"/>
                  </a:lnTo>
                  <a:lnTo>
                    <a:pt x="884" y="5938"/>
                  </a:lnTo>
                  <a:lnTo>
                    <a:pt x="890" y="5941"/>
                  </a:lnTo>
                  <a:lnTo>
                    <a:pt x="897" y="5941"/>
                  </a:lnTo>
                  <a:lnTo>
                    <a:pt x="909" y="5941"/>
                  </a:lnTo>
                  <a:lnTo>
                    <a:pt x="921" y="5939"/>
                  </a:lnTo>
                  <a:lnTo>
                    <a:pt x="932" y="5938"/>
                  </a:lnTo>
                  <a:lnTo>
                    <a:pt x="941" y="5935"/>
                  </a:lnTo>
                  <a:lnTo>
                    <a:pt x="960" y="5931"/>
                  </a:lnTo>
                  <a:lnTo>
                    <a:pt x="981" y="5929"/>
                  </a:lnTo>
                  <a:lnTo>
                    <a:pt x="993" y="5930"/>
                  </a:lnTo>
                  <a:lnTo>
                    <a:pt x="1004" y="5933"/>
                  </a:lnTo>
                  <a:lnTo>
                    <a:pt x="1013" y="5938"/>
                  </a:lnTo>
                  <a:lnTo>
                    <a:pt x="1021" y="5943"/>
                  </a:lnTo>
                  <a:lnTo>
                    <a:pt x="1037" y="5956"/>
                  </a:lnTo>
                  <a:lnTo>
                    <a:pt x="1053" y="5971"/>
                  </a:lnTo>
                  <a:lnTo>
                    <a:pt x="1064" y="5978"/>
                  </a:lnTo>
                  <a:lnTo>
                    <a:pt x="1073" y="5984"/>
                  </a:lnTo>
                  <a:lnTo>
                    <a:pt x="1082" y="5992"/>
                  </a:lnTo>
                  <a:lnTo>
                    <a:pt x="1090" y="6000"/>
                  </a:lnTo>
                  <a:lnTo>
                    <a:pt x="1097" y="6010"/>
                  </a:lnTo>
                  <a:lnTo>
                    <a:pt x="1104" y="6019"/>
                  </a:lnTo>
                  <a:lnTo>
                    <a:pt x="1109" y="6028"/>
                  </a:lnTo>
                  <a:lnTo>
                    <a:pt x="1116" y="6038"/>
                  </a:lnTo>
                  <a:lnTo>
                    <a:pt x="1125" y="6059"/>
                  </a:lnTo>
                  <a:lnTo>
                    <a:pt x="1133" y="6080"/>
                  </a:lnTo>
                  <a:lnTo>
                    <a:pt x="1140" y="6103"/>
                  </a:lnTo>
                  <a:lnTo>
                    <a:pt x="1146" y="6127"/>
                  </a:lnTo>
                  <a:lnTo>
                    <a:pt x="1157" y="6174"/>
                  </a:lnTo>
                  <a:lnTo>
                    <a:pt x="1172" y="6219"/>
                  </a:lnTo>
                  <a:lnTo>
                    <a:pt x="1180" y="6240"/>
                  </a:lnTo>
                  <a:lnTo>
                    <a:pt x="1189" y="6260"/>
                  </a:lnTo>
                  <a:lnTo>
                    <a:pt x="1196" y="6271"/>
                  </a:lnTo>
                  <a:lnTo>
                    <a:pt x="1201" y="6279"/>
                  </a:lnTo>
                  <a:lnTo>
                    <a:pt x="1209" y="6288"/>
                  </a:lnTo>
                  <a:lnTo>
                    <a:pt x="1216" y="6296"/>
                  </a:lnTo>
                  <a:lnTo>
                    <a:pt x="1217" y="6304"/>
                  </a:lnTo>
                  <a:lnTo>
                    <a:pt x="1220" y="6312"/>
                  </a:lnTo>
                  <a:lnTo>
                    <a:pt x="1224" y="6319"/>
                  </a:lnTo>
                  <a:lnTo>
                    <a:pt x="1228" y="6327"/>
                  </a:lnTo>
                  <a:lnTo>
                    <a:pt x="1233" y="6334"/>
                  </a:lnTo>
                  <a:lnTo>
                    <a:pt x="1235" y="6340"/>
                  </a:lnTo>
                  <a:lnTo>
                    <a:pt x="1238" y="6348"/>
                  </a:lnTo>
                  <a:lnTo>
                    <a:pt x="1239" y="6356"/>
                  </a:lnTo>
                  <a:lnTo>
                    <a:pt x="1239" y="6362"/>
                  </a:lnTo>
                  <a:lnTo>
                    <a:pt x="1238" y="6367"/>
                  </a:lnTo>
                  <a:lnTo>
                    <a:pt x="1235" y="6372"/>
                  </a:lnTo>
                  <a:lnTo>
                    <a:pt x="1233" y="6376"/>
                  </a:lnTo>
                  <a:lnTo>
                    <a:pt x="1226" y="6384"/>
                  </a:lnTo>
                  <a:lnTo>
                    <a:pt x="1218" y="6391"/>
                  </a:lnTo>
                  <a:lnTo>
                    <a:pt x="1210" y="6398"/>
                  </a:lnTo>
                  <a:lnTo>
                    <a:pt x="1202" y="6404"/>
                  </a:lnTo>
                  <a:lnTo>
                    <a:pt x="1196" y="6410"/>
                  </a:lnTo>
                  <a:lnTo>
                    <a:pt x="1192" y="6416"/>
                  </a:lnTo>
                  <a:lnTo>
                    <a:pt x="1189" y="6430"/>
                  </a:lnTo>
                  <a:lnTo>
                    <a:pt x="1188" y="6440"/>
                  </a:lnTo>
                  <a:lnTo>
                    <a:pt x="1188" y="6451"/>
                  </a:lnTo>
                  <a:lnTo>
                    <a:pt x="1188" y="6460"/>
                  </a:lnTo>
                  <a:lnTo>
                    <a:pt x="1186" y="6470"/>
                  </a:lnTo>
                  <a:lnTo>
                    <a:pt x="1185" y="6478"/>
                  </a:lnTo>
                  <a:lnTo>
                    <a:pt x="1181" y="6486"/>
                  </a:lnTo>
                  <a:lnTo>
                    <a:pt x="1174" y="6495"/>
                  </a:lnTo>
                  <a:lnTo>
                    <a:pt x="1166" y="6504"/>
                  </a:lnTo>
                  <a:lnTo>
                    <a:pt x="1158" y="6514"/>
                  </a:lnTo>
                  <a:lnTo>
                    <a:pt x="1149" y="6522"/>
                  </a:lnTo>
                  <a:lnTo>
                    <a:pt x="1138" y="6530"/>
                  </a:lnTo>
                  <a:lnTo>
                    <a:pt x="1118" y="6545"/>
                  </a:lnTo>
                  <a:lnTo>
                    <a:pt x="1097" y="6561"/>
                  </a:lnTo>
                  <a:lnTo>
                    <a:pt x="1088" y="6569"/>
                  </a:lnTo>
                  <a:lnTo>
                    <a:pt x="1078" y="6580"/>
                  </a:lnTo>
                  <a:lnTo>
                    <a:pt x="1069" y="6589"/>
                  </a:lnTo>
                  <a:lnTo>
                    <a:pt x="1062" y="6601"/>
                  </a:lnTo>
                  <a:lnTo>
                    <a:pt x="1056" y="6615"/>
                  </a:lnTo>
                  <a:lnTo>
                    <a:pt x="1052" y="6629"/>
                  </a:lnTo>
                  <a:lnTo>
                    <a:pt x="1048" y="6645"/>
                  </a:lnTo>
                  <a:lnTo>
                    <a:pt x="1048" y="6664"/>
                  </a:lnTo>
                  <a:lnTo>
                    <a:pt x="1054" y="6671"/>
                  </a:lnTo>
                  <a:lnTo>
                    <a:pt x="1069" y="6688"/>
                  </a:lnTo>
                  <a:lnTo>
                    <a:pt x="1085" y="6707"/>
                  </a:lnTo>
                  <a:lnTo>
                    <a:pt x="1096" y="6717"/>
                  </a:lnTo>
                  <a:lnTo>
                    <a:pt x="1198" y="6717"/>
                  </a:lnTo>
                  <a:lnTo>
                    <a:pt x="1205" y="6725"/>
                  </a:lnTo>
                  <a:lnTo>
                    <a:pt x="1213" y="6732"/>
                  </a:lnTo>
                  <a:lnTo>
                    <a:pt x="1222" y="6737"/>
                  </a:lnTo>
                  <a:lnTo>
                    <a:pt x="1233" y="6741"/>
                  </a:lnTo>
                  <a:lnTo>
                    <a:pt x="1242" y="6744"/>
                  </a:lnTo>
                  <a:lnTo>
                    <a:pt x="1254" y="6747"/>
                  </a:lnTo>
                  <a:lnTo>
                    <a:pt x="1265" y="6748"/>
                  </a:lnTo>
                  <a:lnTo>
                    <a:pt x="1275" y="6748"/>
                  </a:lnTo>
                  <a:lnTo>
                    <a:pt x="1291" y="6748"/>
                  </a:lnTo>
                  <a:lnTo>
                    <a:pt x="1305" y="6747"/>
                  </a:lnTo>
                  <a:lnTo>
                    <a:pt x="1319" y="6744"/>
                  </a:lnTo>
                  <a:lnTo>
                    <a:pt x="1333" y="6741"/>
                  </a:lnTo>
                  <a:lnTo>
                    <a:pt x="1346" y="6737"/>
                  </a:lnTo>
                  <a:lnTo>
                    <a:pt x="1358" y="6732"/>
                  </a:lnTo>
                  <a:lnTo>
                    <a:pt x="1370" y="6727"/>
                  </a:lnTo>
                  <a:lnTo>
                    <a:pt x="1382" y="6721"/>
                  </a:lnTo>
                  <a:lnTo>
                    <a:pt x="1393" y="6715"/>
                  </a:lnTo>
                  <a:lnTo>
                    <a:pt x="1403" y="6708"/>
                  </a:lnTo>
                  <a:lnTo>
                    <a:pt x="1414" y="6700"/>
                  </a:lnTo>
                  <a:lnTo>
                    <a:pt x="1425" y="6692"/>
                  </a:lnTo>
                  <a:lnTo>
                    <a:pt x="1443" y="6673"/>
                  </a:lnTo>
                  <a:lnTo>
                    <a:pt x="1461" y="6653"/>
                  </a:lnTo>
                  <a:lnTo>
                    <a:pt x="1477" y="6632"/>
                  </a:lnTo>
                  <a:lnTo>
                    <a:pt x="1491" y="6609"/>
                  </a:lnTo>
                  <a:lnTo>
                    <a:pt x="1505" y="6587"/>
                  </a:lnTo>
                  <a:lnTo>
                    <a:pt x="1517" y="6563"/>
                  </a:lnTo>
                  <a:lnTo>
                    <a:pt x="1539" y="6514"/>
                  </a:lnTo>
                  <a:lnTo>
                    <a:pt x="1559" y="6464"/>
                  </a:lnTo>
                  <a:lnTo>
                    <a:pt x="1565" y="6458"/>
                  </a:lnTo>
                  <a:lnTo>
                    <a:pt x="1571" y="6451"/>
                  </a:lnTo>
                  <a:lnTo>
                    <a:pt x="1578" y="6446"/>
                  </a:lnTo>
                  <a:lnTo>
                    <a:pt x="1586" y="6443"/>
                  </a:lnTo>
                  <a:lnTo>
                    <a:pt x="1601" y="6436"/>
                  </a:lnTo>
                  <a:lnTo>
                    <a:pt x="1613" y="6428"/>
                  </a:lnTo>
                  <a:lnTo>
                    <a:pt x="1617" y="6424"/>
                  </a:lnTo>
                  <a:lnTo>
                    <a:pt x="1618" y="6420"/>
                  </a:lnTo>
                  <a:lnTo>
                    <a:pt x="1621" y="6414"/>
                  </a:lnTo>
                  <a:lnTo>
                    <a:pt x="1621" y="6408"/>
                  </a:lnTo>
                  <a:lnTo>
                    <a:pt x="1622" y="6394"/>
                  </a:lnTo>
                  <a:lnTo>
                    <a:pt x="1623" y="6379"/>
                  </a:lnTo>
                  <a:lnTo>
                    <a:pt x="1623" y="6363"/>
                  </a:lnTo>
                  <a:lnTo>
                    <a:pt x="1626" y="6350"/>
                  </a:lnTo>
                  <a:lnTo>
                    <a:pt x="1627" y="6344"/>
                  </a:lnTo>
                  <a:lnTo>
                    <a:pt x="1630" y="6339"/>
                  </a:lnTo>
                  <a:lnTo>
                    <a:pt x="1633" y="6335"/>
                  </a:lnTo>
                  <a:lnTo>
                    <a:pt x="1637" y="6332"/>
                  </a:lnTo>
                  <a:lnTo>
                    <a:pt x="1649" y="6326"/>
                  </a:lnTo>
                  <a:lnTo>
                    <a:pt x="1663" y="6320"/>
                  </a:lnTo>
                  <a:lnTo>
                    <a:pt x="1677" y="6314"/>
                  </a:lnTo>
                  <a:lnTo>
                    <a:pt x="1693" y="6308"/>
                  </a:lnTo>
                  <a:lnTo>
                    <a:pt x="1726" y="6299"/>
                  </a:lnTo>
                  <a:lnTo>
                    <a:pt x="1761" y="6292"/>
                  </a:lnTo>
                  <a:lnTo>
                    <a:pt x="1795" y="6286"/>
                  </a:lnTo>
                  <a:lnTo>
                    <a:pt x="1829" y="6282"/>
                  </a:lnTo>
                  <a:lnTo>
                    <a:pt x="1859" y="6279"/>
                  </a:lnTo>
                  <a:lnTo>
                    <a:pt x="1885" y="6278"/>
                  </a:lnTo>
                  <a:lnTo>
                    <a:pt x="1889" y="6268"/>
                  </a:lnTo>
                  <a:lnTo>
                    <a:pt x="1891" y="6258"/>
                  </a:lnTo>
                  <a:lnTo>
                    <a:pt x="1891" y="6251"/>
                  </a:lnTo>
                  <a:lnTo>
                    <a:pt x="1890" y="6246"/>
                  </a:lnTo>
                  <a:lnTo>
                    <a:pt x="1887" y="6240"/>
                  </a:lnTo>
                  <a:lnTo>
                    <a:pt x="1885" y="6236"/>
                  </a:lnTo>
                  <a:lnTo>
                    <a:pt x="1877" y="6235"/>
                  </a:lnTo>
                  <a:lnTo>
                    <a:pt x="1869" y="6232"/>
                  </a:lnTo>
                  <a:lnTo>
                    <a:pt x="1861" y="6227"/>
                  </a:lnTo>
                  <a:lnTo>
                    <a:pt x="1854" y="6222"/>
                  </a:lnTo>
                  <a:lnTo>
                    <a:pt x="1839" y="6206"/>
                  </a:lnTo>
                  <a:lnTo>
                    <a:pt x="1825" y="6188"/>
                  </a:lnTo>
                  <a:lnTo>
                    <a:pt x="1811" y="6168"/>
                  </a:lnTo>
                  <a:lnTo>
                    <a:pt x="1797" y="6150"/>
                  </a:lnTo>
                  <a:lnTo>
                    <a:pt x="1790" y="6142"/>
                  </a:lnTo>
                  <a:lnTo>
                    <a:pt x="1783" y="6134"/>
                  </a:lnTo>
                  <a:lnTo>
                    <a:pt x="1777" y="6127"/>
                  </a:lnTo>
                  <a:lnTo>
                    <a:pt x="1770" y="6122"/>
                  </a:lnTo>
                  <a:lnTo>
                    <a:pt x="1762" y="6116"/>
                  </a:lnTo>
                  <a:lnTo>
                    <a:pt x="1753" y="6111"/>
                  </a:lnTo>
                  <a:lnTo>
                    <a:pt x="1747" y="6107"/>
                  </a:lnTo>
                  <a:lnTo>
                    <a:pt x="1743" y="6103"/>
                  </a:lnTo>
                  <a:lnTo>
                    <a:pt x="1741" y="6098"/>
                  </a:lnTo>
                  <a:lnTo>
                    <a:pt x="1739" y="6091"/>
                  </a:lnTo>
                  <a:lnTo>
                    <a:pt x="1742" y="6086"/>
                  </a:lnTo>
                  <a:lnTo>
                    <a:pt x="1749" y="6076"/>
                  </a:lnTo>
                  <a:lnTo>
                    <a:pt x="1759" y="6066"/>
                  </a:lnTo>
                  <a:lnTo>
                    <a:pt x="1771" y="6054"/>
                  </a:lnTo>
                  <a:lnTo>
                    <a:pt x="1783" y="6043"/>
                  </a:lnTo>
                  <a:lnTo>
                    <a:pt x="1795" y="6034"/>
                  </a:lnTo>
                  <a:lnTo>
                    <a:pt x="1806" y="6027"/>
                  </a:lnTo>
                  <a:lnTo>
                    <a:pt x="1811" y="6026"/>
                  </a:lnTo>
                  <a:lnTo>
                    <a:pt x="1829" y="6026"/>
                  </a:lnTo>
                  <a:lnTo>
                    <a:pt x="1843" y="6024"/>
                  </a:lnTo>
                  <a:lnTo>
                    <a:pt x="1857" y="6023"/>
                  </a:lnTo>
                  <a:lnTo>
                    <a:pt x="1866" y="6019"/>
                  </a:lnTo>
                  <a:lnTo>
                    <a:pt x="1870" y="6015"/>
                  </a:lnTo>
                  <a:lnTo>
                    <a:pt x="1874" y="6012"/>
                  </a:lnTo>
                  <a:lnTo>
                    <a:pt x="1877" y="6007"/>
                  </a:lnTo>
                  <a:lnTo>
                    <a:pt x="1879" y="6003"/>
                  </a:lnTo>
                  <a:lnTo>
                    <a:pt x="1882" y="5996"/>
                  </a:lnTo>
                  <a:lnTo>
                    <a:pt x="1883" y="5988"/>
                  </a:lnTo>
                  <a:lnTo>
                    <a:pt x="1883" y="5980"/>
                  </a:lnTo>
                  <a:lnTo>
                    <a:pt x="1885" y="5971"/>
                  </a:lnTo>
                  <a:lnTo>
                    <a:pt x="1883" y="5962"/>
                  </a:lnTo>
                  <a:lnTo>
                    <a:pt x="1882" y="5954"/>
                  </a:lnTo>
                  <a:lnTo>
                    <a:pt x="1878" y="5946"/>
                  </a:lnTo>
                  <a:lnTo>
                    <a:pt x="1875" y="5938"/>
                  </a:lnTo>
                  <a:lnTo>
                    <a:pt x="1871" y="5930"/>
                  </a:lnTo>
                  <a:lnTo>
                    <a:pt x="1869" y="5922"/>
                  </a:lnTo>
                  <a:lnTo>
                    <a:pt x="1867" y="5914"/>
                  </a:lnTo>
                  <a:lnTo>
                    <a:pt x="1866" y="5905"/>
                  </a:lnTo>
                  <a:lnTo>
                    <a:pt x="1867" y="5894"/>
                  </a:lnTo>
                  <a:lnTo>
                    <a:pt x="1870" y="5885"/>
                  </a:lnTo>
                  <a:lnTo>
                    <a:pt x="1874" y="5874"/>
                  </a:lnTo>
                  <a:lnTo>
                    <a:pt x="1878" y="5865"/>
                  </a:lnTo>
                  <a:lnTo>
                    <a:pt x="1882" y="5854"/>
                  </a:lnTo>
                  <a:lnTo>
                    <a:pt x="1886" y="5842"/>
                  </a:lnTo>
                  <a:lnTo>
                    <a:pt x="1889" y="5830"/>
                  </a:lnTo>
                  <a:lnTo>
                    <a:pt x="1890" y="5815"/>
                  </a:lnTo>
                  <a:lnTo>
                    <a:pt x="1889" y="5802"/>
                  </a:lnTo>
                  <a:lnTo>
                    <a:pt x="1886" y="5790"/>
                  </a:lnTo>
                  <a:lnTo>
                    <a:pt x="1882" y="5781"/>
                  </a:lnTo>
                  <a:lnTo>
                    <a:pt x="1878" y="5770"/>
                  </a:lnTo>
                  <a:lnTo>
                    <a:pt x="1874" y="5761"/>
                  </a:lnTo>
                  <a:lnTo>
                    <a:pt x="1870" y="5751"/>
                  </a:lnTo>
                  <a:lnTo>
                    <a:pt x="1867" y="5741"/>
                  </a:lnTo>
                  <a:lnTo>
                    <a:pt x="1866" y="5730"/>
                  </a:lnTo>
                  <a:lnTo>
                    <a:pt x="1867" y="5722"/>
                  </a:lnTo>
                  <a:lnTo>
                    <a:pt x="1871" y="5713"/>
                  </a:lnTo>
                  <a:lnTo>
                    <a:pt x="1877" y="5702"/>
                  </a:lnTo>
                  <a:lnTo>
                    <a:pt x="1882" y="5689"/>
                  </a:lnTo>
                  <a:lnTo>
                    <a:pt x="1889" y="5675"/>
                  </a:lnTo>
                  <a:lnTo>
                    <a:pt x="1894" y="5662"/>
                  </a:lnTo>
                  <a:lnTo>
                    <a:pt x="1899" y="5647"/>
                  </a:lnTo>
                  <a:lnTo>
                    <a:pt x="1902" y="5634"/>
                  </a:lnTo>
                  <a:lnTo>
                    <a:pt x="1911" y="5631"/>
                  </a:lnTo>
                  <a:lnTo>
                    <a:pt x="1919" y="5627"/>
                  </a:lnTo>
                  <a:lnTo>
                    <a:pt x="1929" y="5622"/>
                  </a:lnTo>
                  <a:lnTo>
                    <a:pt x="1935" y="5617"/>
                  </a:lnTo>
                  <a:lnTo>
                    <a:pt x="1943" y="5610"/>
                  </a:lnTo>
                  <a:lnTo>
                    <a:pt x="1950" y="5603"/>
                  </a:lnTo>
                  <a:lnTo>
                    <a:pt x="1957" y="5595"/>
                  </a:lnTo>
                  <a:lnTo>
                    <a:pt x="1962" y="5587"/>
                  </a:lnTo>
                  <a:lnTo>
                    <a:pt x="1967" y="5578"/>
                  </a:lnTo>
                  <a:lnTo>
                    <a:pt x="1973" y="5570"/>
                  </a:lnTo>
                  <a:lnTo>
                    <a:pt x="1977" y="5561"/>
                  </a:lnTo>
                  <a:lnTo>
                    <a:pt x="1981" y="5551"/>
                  </a:lnTo>
                  <a:lnTo>
                    <a:pt x="1983" y="5542"/>
                  </a:lnTo>
                  <a:lnTo>
                    <a:pt x="1985" y="5533"/>
                  </a:lnTo>
                  <a:lnTo>
                    <a:pt x="1986" y="5522"/>
                  </a:lnTo>
                  <a:lnTo>
                    <a:pt x="1987" y="5514"/>
                  </a:lnTo>
                  <a:lnTo>
                    <a:pt x="1986" y="5502"/>
                  </a:lnTo>
                  <a:lnTo>
                    <a:pt x="1983" y="5493"/>
                  </a:lnTo>
                  <a:lnTo>
                    <a:pt x="1981" y="5483"/>
                  </a:lnTo>
                  <a:lnTo>
                    <a:pt x="1977" y="5474"/>
                  </a:lnTo>
                  <a:lnTo>
                    <a:pt x="1966" y="5458"/>
                  </a:lnTo>
                  <a:lnTo>
                    <a:pt x="1954" y="5442"/>
                  </a:lnTo>
                  <a:lnTo>
                    <a:pt x="1942" y="5427"/>
                  </a:lnTo>
                  <a:lnTo>
                    <a:pt x="1931" y="5411"/>
                  </a:lnTo>
                  <a:lnTo>
                    <a:pt x="1926" y="5403"/>
                  </a:lnTo>
                  <a:lnTo>
                    <a:pt x="1923" y="5394"/>
                  </a:lnTo>
                  <a:lnTo>
                    <a:pt x="1921" y="5385"/>
                  </a:lnTo>
                  <a:lnTo>
                    <a:pt x="1921" y="5375"/>
                  </a:lnTo>
                  <a:lnTo>
                    <a:pt x="1921" y="5360"/>
                  </a:lnTo>
                  <a:lnTo>
                    <a:pt x="1922" y="5344"/>
                  </a:lnTo>
                  <a:lnTo>
                    <a:pt x="1923" y="5328"/>
                  </a:lnTo>
                  <a:lnTo>
                    <a:pt x="1926" y="5313"/>
                  </a:lnTo>
                  <a:lnTo>
                    <a:pt x="1929" y="5297"/>
                  </a:lnTo>
                  <a:lnTo>
                    <a:pt x="1933" y="5282"/>
                  </a:lnTo>
                  <a:lnTo>
                    <a:pt x="1937" y="5269"/>
                  </a:lnTo>
                  <a:lnTo>
                    <a:pt x="1942" y="5256"/>
                  </a:lnTo>
                  <a:lnTo>
                    <a:pt x="1947" y="5245"/>
                  </a:lnTo>
                  <a:lnTo>
                    <a:pt x="1954" y="5233"/>
                  </a:lnTo>
                  <a:lnTo>
                    <a:pt x="1961" y="5224"/>
                  </a:lnTo>
                  <a:lnTo>
                    <a:pt x="1969" y="5216"/>
                  </a:lnTo>
                  <a:lnTo>
                    <a:pt x="1977" y="5209"/>
                  </a:lnTo>
                  <a:lnTo>
                    <a:pt x="1986" y="5205"/>
                  </a:lnTo>
                  <a:lnTo>
                    <a:pt x="1995" y="5201"/>
                  </a:lnTo>
                  <a:lnTo>
                    <a:pt x="2004" y="5201"/>
                  </a:lnTo>
                  <a:lnTo>
                    <a:pt x="2022" y="5201"/>
                  </a:lnTo>
                  <a:lnTo>
                    <a:pt x="2039" y="5201"/>
                  </a:lnTo>
                  <a:lnTo>
                    <a:pt x="2059" y="5201"/>
                  </a:lnTo>
                  <a:lnTo>
                    <a:pt x="2083" y="5201"/>
                  </a:lnTo>
                  <a:lnTo>
                    <a:pt x="2095" y="5200"/>
                  </a:lnTo>
                  <a:lnTo>
                    <a:pt x="2107" y="5196"/>
                  </a:lnTo>
                  <a:lnTo>
                    <a:pt x="2118" y="5192"/>
                  </a:lnTo>
                  <a:lnTo>
                    <a:pt x="2127" y="5185"/>
                  </a:lnTo>
                  <a:lnTo>
                    <a:pt x="2136" y="5177"/>
                  </a:lnTo>
                  <a:lnTo>
                    <a:pt x="2144" y="5168"/>
                  </a:lnTo>
                  <a:lnTo>
                    <a:pt x="2151" y="5158"/>
                  </a:lnTo>
                  <a:lnTo>
                    <a:pt x="2158" y="5149"/>
                  </a:lnTo>
                  <a:lnTo>
                    <a:pt x="2171" y="5130"/>
                  </a:lnTo>
                  <a:lnTo>
                    <a:pt x="2184" y="5114"/>
                  </a:lnTo>
                  <a:lnTo>
                    <a:pt x="2191" y="5108"/>
                  </a:lnTo>
                  <a:lnTo>
                    <a:pt x="2199" y="5102"/>
                  </a:lnTo>
                  <a:lnTo>
                    <a:pt x="2207" y="5100"/>
                  </a:lnTo>
                  <a:lnTo>
                    <a:pt x="2215" y="5098"/>
                  </a:lnTo>
                  <a:lnTo>
                    <a:pt x="2222" y="5098"/>
                  </a:lnTo>
                  <a:lnTo>
                    <a:pt x="2228" y="5100"/>
                  </a:lnTo>
                  <a:lnTo>
                    <a:pt x="2235" y="5102"/>
                  </a:lnTo>
                  <a:lnTo>
                    <a:pt x="2240" y="5105"/>
                  </a:lnTo>
                  <a:lnTo>
                    <a:pt x="2250" y="5112"/>
                  </a:lnTo>
                  <a:lnTo>
                    <a:pt x="2258" y="5121"/>
                  </a:lnTo>
                  <a:lnTo>
                    <a:pt x="2264" y="5132"/>
                  </a:lnTo>
                  <a:lnTo>
                    <a:pt x="2270" y="5144"/>
                  </a:lnTo>
                  <a:lnTo>
                    <a:pt x="2275" y="5157"/>
                  </a:lnTo>
                  <a:lnTo>
                    <a:pt x="2279" y="5170"/>
                  </a:lnTo>
                  <a:lnTo>
                    <a:pt x="2284" y="5184"/>
                  </a:lnTo>
                  <a:lnTo>
                    <a:pt x="2290" y="5197"/>
                  </a:lnTo>
                  <a:lnTo>
                    <a:pt x="2295" y="5209"/>
                  </a:lnTo>
                  <a:lnTo>
                    <a:pt x="2303" y="5220"/>
                  </a:lnTo>
                  <a:lnTo>
                    <a:pt x="2307" y="5225"/>
                  </a:lnTo>
                  <a:lnTo>
                    <a:pt x="2311" y="5229"/>
                  </a:lnTo>
                  <a:lnTo>
                    <a:pt x="2316" y="5233"/>
                  </a:lnTo>
                  <a:lnTo>
                    <a:pt x="2322" y="5237"/>
                  </a:lnTo>
                  <a:lnTo>
                    <a:pt x="2327" y="5240"/>
                  </a:lnTo>
                  <a:lnTo>
                    <a:pt x="2334" y="5241"/>
                  </a:lnTo>
                  <a:lnTo>
                    <a:pt x="2340" y="5242"/>
                  </a:lnTo>
                  <a:lnTo>
                    <a:pt x="2348" y="5242"/>
                  </a:lnTo>
                  <a:lnTo>
                    <a:pt x="2352" y="5242"/>
                  </a:lnTo>
                  <a:lnTo>
                    <a:pt x="2355" y="5241"/>
                  </a:lnTo>
                  <a:lnTo>
                    <a:pt x="2356" y="5237"/>
                  </a:lnTo>
                  <a:lnTo>
                    <a:pt x="2358" y="5234"/>
                  </a:lnTo>
                  <a:lnTo>
                    <a:pt x="2359" y="5224"/>
                  </a:lnTo>
                  <a:lnTo>
                    <a:pt x="2356" y="5212"/>
                  </a:lnTo>
                  <a:lnTo>
                    <a:pt x="2351" y="5182"/>
                  </a:lnTo>
                  <a:lnTo>
                    <a:pt x="2348" y="5153"/>
                  </a:lnTo>
                  <a:lnTo>
                    <a:pt x="2351" y="5128"/>
                  </a:lnTo>
                  <a:lnTo>
                    <a:pt x="2358" y="5090"/>
                  </a:lnTo>
                  <a:lnTo>
                    <a:pt x="2363" y="5072"/>
                  </a:lnTo>
                  <a:lnTo>
                    <a:pt x="2368" y="5056"/>
                  </a:lnTo>
                  <a:lnTo>
                    <a:pt x="2371" y="5049"/>
                  </a:lnTo>
                  <a:lnTo>
                    <a:pt x="2374" y="5044"/>
                  </a:lnTo>
                  <a:lnTo>
                    <a:pt x="2375" y="5040"/>
                  </a:lnTo>
                  <a:lnTo>
                    <a:pt x="2378" y="5038"/>
                  </a:lnTo>
                  <a:lnTo>
                    <a:pt x="2388" y="5036"/>
                  </a:lnTo>
                  <a:lnTo>
                    <a:pt x="2398" y="5037"/>
                  </a:lnTo>
                  <a:lnTo>
                    <a:pt x="2403" y="5036"/>
                  </a:lnTo>
                  <a:lnTo>
                    <a:pt x="2407" y="5034"/>
                  </a:lnTo>
                  <a:lnTo>
                    <a:pt x="2411" y="5032"/>
                  </a:lnTo>
                  <a:lnTo>
                    <a:pt x="2414" y="5026"/>
                  </a:lnTo>
                  <a:lnTo>
                    <a:pt x="2416" y="5010"/>
                  </a:lnTo>
                  <a:lnTo>
                    <a:pt x="2419" y="4997"/>
                  </a:lnTo>
                  <a:lnTo>
                    <a:pt x="2420" y="4990"/>
                  </a:lnTo>
                  <a:lnTo>
                    <a:pt x="2423" y="4985"/>
                  </a:lnTo>
                  <a:lnTo>
                    <a:pt x="2427" y="4978"/>
                  </a:lnTo>
                  <a:lnTo>
                    <a:pt x="2432" y="4972"/>
                  </a:lnTo>
                  <a:lnTo>
                    <a:pt x="2455" y="4948"/>
                  </a:lnTo>
                  <a:lnTo>
                    <a:pt x="2483" y="4922"/>
                  </a:lnTo>
                  <a:lnTo>
                    <a:pt x="2496" y="4908"/>
                  </a:lnTo>
                  <a:lnTo>
                    <a:pt x="2507" y="4894"/>
                  </a:lnTo>
                  <a:lnTo>
                    <a:pt x="2511" y="4886"/>
                  </a:lnTo>
                  <a:lnTo>
                    <a:pt x="2514" y="4878"/>
                  </a:lnTo>
                  <a:lnTo>
                    <a:pt x="2516" y="4872"/>
                  </a:lnTo>
                  <a:lnTo>
                    <a:pt x="2516" y="4864"/>
                  </a:lnTo>
                  <a:lnTo>
                    <a:pt x="2516" y="4857"/>
                  </a:lnTo>
                  <a:lnTo>
                    <a:pt x="2514" y="4853"/>
                  </a:lnTo>
                  <a:lnTo>
                    <a:pt x="2511" y="4849"/>
                  </a:lnTo>
                  <a:lnTo>
                    <a:pt x="2507" y="4846"/>
                  </a:lnTo>
                  <a:lnTo>
                    <a:pt x="2499" y="4841"/>
                  </a:lnTo>
                  <a:lnTo>
                    <a:pt x="2492" y="4833"/>
                  </a:lnTo>
                  <a:lnTo>
                    <a:pt x="2492" y="4828"/>
                  </a:lnTo>
                  <a:lnTo>
                    <a:pt x="2492" y="4809"/>
                  </a:lnTo>
                  <a:lnTo>
                    <a:pt x="2492" y="4800"/>
                  </a:lnTo>
                  <a:lnTo>
                    <a:pt x="2494" y="4792"/>
                  </a:lnTo>
                  <a:lnTo>
                    <a:pt x="2495" y="4788"/>
                  </a:lnTo>
                  <a:lnTo>
                    <a:pt x="2498" y="4785"/>
                  </a:lnTo>
                  <a:lnTo>
                    <a:pt x="2500" y="4781"/>
                  </a:lnTo>
                  <a:lnTo>
                    <a:pt x="2504" y="4779"/>
                  </a:lnTo>
                  <a:lnTo>
                    <a:pt x="2510" y="4771"/>
                  </a:lnTo>
                  <a:lnTo>
                    <a:pt x="2516" y="4764"/>
                  </a:lnTo>
                  <a:lnTo>
                    <a:pt x="2524" y="4757"/>
                  </a:lnTo>
                  <a:lnTo>
                    <a:pt x="2534" y="4752"/>
                  </a:lnTo>
                  <a:lnTo>
                    <a:pt x="2542" y="4748"/>
                  </a:lnTo>
                  <a:lnTo>
                    <a:pt x="2552" y="4745"/>
                  </a:lnTo>
                  <a:lnTo>
                    <a:pt x="2562" y="4744"/>
                  </a:lnTo>
                  <a:lnTo>
                    <a:pt x="2571" y="4743"/>
                  </a:lnTo>
                  <a:lnTo>
                    <a:pt x="2574" y="4744"/>
                  </a:lnTo>
                  <a:lnTo>
                    <a:pt x="2576" y="4744"/>
                  </a:lnTo>
                  <a:lnTo>
                    <a:pt x="2579" y="4745"/>
                  </a:lnTo>
                  <a:lnTo>
                    <a:pt x="2582" y="4748"/>
                  </a:lnTo>
                  <a:lnTo>
                    <a:pt x="2584" y="4753"/>
                  </a:lnTo>
                  <a:lnTo>
                    <a:pt x="2588" y="4760"/>
                  </a:lnTo>
                  <a:lnTo>
                    <a:pt x="2594" y="4776"/>
                  </a:lnTo>
                  <a:lnTo>
                    <a:pt x="2600" y="4790"/>
                  </a:lnTo>
                  <a:lnTo>
                    <a:pt x="2620" y="4802"/>
                  </a:lnTo>
                  <a:lnTo>
                    <a:pt x="2664" y="4828"/>
                  </a:lnTo>
                  <a:lnTo>
                    <a:pt x="2690" y="4841"/>
                  </a:lnTo>
                  <a:lnTo>
                    <a:pt x="2712" y="4852"/>
                  </a:lnTo>
                  <a:lnTo>
                    <a:pt x="2723" y="4857"/>
                  </a:lnTo>
                  <a:lnTo>
                    <a:pt x="2732" y="4860"/>
                  </a:lnTo>
                  <a:lnTo>
                    <a:pt x="2740" y="4862"/>
                  </a:lnTo>
                  <a:lnTo>
                    <a:pt x="2746" y="4864"/>
                  </a:lnTo>
                  <a:lnTo>
                    <a:pt x="2760" y="4862"/>
                  </a:lnTo>
                  <a:lnTo>
                    <a:pt x="2771" y="4860"/>
                  </a:lnTo>
                  <a:lnTo>
                    <a:pt x="2781" y="4854"/>
                  </a:lnTo>
                  <a:lnTo>
                    <a:pt x="2788" y="4849"/>
                  </a:lnTo>
                  <a:lnTo>
                    <a:pt x="2793" y="4842"/>
                  </a:lnTo>
                  <a:lnTo>
                    <a:pt x="2797" y="4836"/>
                  </a:lnTo>
                  <a:lnTo>
                    <a:pt x="2799" y="4828"/>
                  </a:lnTo>
                  <a:lnTo>
                    <a:pt x="2799" y="4821"/>
                  </a:lnTo>
                  <a:lnTo>
                    <a:pt x="2799" y="4817"/>
                  </a:lnTo>
                  <a:lnTo>
                    <a:pt x="2799" y="4806"/>
                  </a:lnTo>
                  <a:lnTo>
                    <a:pt x="2799" y="4793"/>
                  </a:lnTo>
                  <a:lnTo>
                    <a:pt x="2799" y="4779"/>
                  </a:lnTo>
                  <a:lnTo>
                    <a:pt x="2800" y="4771"/>
                  </a:lnTo>
                  <a:lnTo>
                    <a:pt x="2803" y="4763"/>
                  </a:lnTo>
                  <a:lnTo>
                    <a:pt x="2807" y="4756"/>
                  </a:lnTo>
                  <a:lnTo>
                    <a:pt x="2811" y="4749"/>
                  </a:lnTo>
                  <a:lnTo>
                    <a:pt x="2816" y="4744"/>
                  </a:lnTo>
                  <a:lnTo>
                    <a:pt x="2820" y="4737"/>
                  </a:lnTo>
                  <a:lnTo>
                    <a:pt x="2823" y="4732"/>
                  </a:lnTo>
                  <a:lnTo>
                    <a:pt x="2824" y="4725"/>
                  </a:lnTo>
                  <a:lnTo>
                    <a:pt x="2824" y="4715"/>
                  </a:lnTo>
                  <a:lnTo>
                    <a:pt x="2824" y="4695"/>
                  </a:lnTo>
                  <a:lnTo>
                    <a:pt x="2820" y="4688"/>
                  </a:lnTo>
                  <a:lnTo>
                    <a:pt x="2816" y="4681"/>
                  </a:lnTo>
                  <a:lnTo>
                    <a:pt x="2812" y="4676"/>
                  </a:lnTo>
                  <a:lnTo>
                    <a:pt x="2807" y="4669"/>
                  </a:lnTo>
                  <a:lnTo>
                    <a:pt x="2793" y="4659"/>
                  </a:lnTo>
                  <a:lnTo>
                    <a:pt x="2780" y="4648"/>
                  </a:lnTo>
                  <a:lnTo>
                    <a:pt x="2767" y="4639"/>
                  </a:lnTo>
                  <a:lnTo>
                    <a:pt x="2756" y="4629"/>
                  </a:lnTo>
                  <a:lnTo>
                    <a:pt x="2751" y="4624"/>
                  </a:lnTo>
                  <a:lnTo>
                    <a:pt x="2748" y="4620"/>
                  </a:lnTo>
                  <a:lnTo>
                    <a:pt x="2746" y="4615"/>
                  </a:lnTo>
                  <a:lnTo>
                    <a:pt x="2746" y="4611"/>
                  </a:lnTo>
                  <a:lnTo>
                    <a:pt x="2746" y="4601"/>
                  </a:lnTo>
                  <a:lnTo>
                    <a:pt x="2748" y="4592"/>
                  </a:lnTo>
                  <a:lnTo>
                    <a:pt x="2751" y="4584"/>
                  </a:lnTo>
                  <a:lnTo>
                    <a:pt x="2756" y="4577"/>
                  </a:lnTo>
                  <a:lnTo>
                    <a:pt x="2767" y="4565"/>
                  </a:lnTo>
                  <a:lnTo>
                    <a:pt x="2779" y="4555"/>
                  </a:lnTo>
                  <a:lnTo>
                    <a:pt x="2791" y="4543"/>
                  </a:lnTo>
                  <a:lnTo>
                    <a:pt x="2801" y="4532"/>
                  </a:lnTo>
                  <a:lnTo>
                    <a:pt x="2805" y="4525"/>
                  </a:lnTo>
                  <a:lnTo>
                    <a:pt x="2808" y="4519"/>
                  </a:lnTo>
                  <a:lnTo>
                    <a:pt x="2811" y="4511"/>
                  </a:lnTo>
                  <a:lnTo>
                    <a:pt x="2811" y="4503"/>
                  </a:lnTo>
                  <a:lnTo>
                    <a:pt x="2811" y="4492"/>
                  </a:lnTo>
                  <a:lnTo>
                    <a:pt x="2808" y="4481"/>
                  </a:lnTo>
                  <a:lnTo>
                    <a:pt x="2805" y="4473"/>
                  </a:lnTo>
                  <a:lnTo>
                    <a:pt x="2801" y="4464"/>
                  </a:lnTo>
                  <a:lnTo>
                    <a:pt x="2793" y="4449"/>
                  </a:lnTo>
                  <a:lnTo>
                    <a:pt x="2787" y="4436"/>
                  </a:lnTo>
                  <a:lnTo>
                    <a:pt x="2679" y="4436"/>
                  </a:lnTo>
                  <a:lnTo>
                    <a:pt x="2672" y="4427"/>
                  </a:lnTo>
                  <a:lnTo>
                    <a:pt x="2668" y="4415"/>
                  </a:lnTo>
                  <a:lnTo>
                    <a:pt x="2663" y="4400"/>
                  </a:lnTo>
                  <a:lnTo>
                    <a:pt x="2660" y="4384"/>
                  </a:lnTo>
                  <a:lnTo>
                    <a:pt x="2658" y="4365"/>
                  </a:lnTo>
                  <a:lnTo>
                    <a:pt x="2656" y="4347"/>
                  </a:lnTo>
                  <a:lnTo>
                    <a:pt x="2655" y="4328"/>
                  </a:lnTo>
                  <a:lnTo>
                    <a:pt x="2655" y="4309"/>
                  </a:lnTo>
                  <a:lnTo>
                    <a:pt x="2656" y="4289"/>
                  </a:lnTo>
                  <a:lnTo>
                    <a:pt x="2659" y="4273"/>
                  </a:lnTo>
                  <a:lnTo>
                    <a:pt x="2663" y="4261"/>
                  </a:lnTo>
                  <a:lnTo>
                    <a:pt x="2668" y="4251"/>
                  </a:lnTo>
                  <a:lnTo>
                    <a:pt x="2672" y="4240"/>
                  </a:lnTo>
                  <a:lnTo>
                    <a:pt x="2678" y="4229"/>
                  </a:lnTo>
                  <a:lnTo>
                    <a:pt x="2682" y="4217"/>
                  </a:lnTo>
                  <a:lnTo>
                    <a:pt x="2686" y="4202"/>
                  </a:lnTo>
                  <a:lnTo>
                    <a:pt x="2680" y="4200"/>
                  </a:lnTo>
                  <a:lnTo>
                    <a:pt x="2678" y="4200"/>
                  </a:lnTo>
                  <a:lnTo>
                    <a:pt x="2674" y="4199"/>
                  </a:lnTo>
                  <a:lnTo>
                    <a:pt x="2671" y="4196"/>
                  </a:lnTo>
                  <a:lnTo>
                    <a:pt x="2666" y="4188"/>
                  </a:lnTo>
                  <a:lnTo>
                    <a:pt x="2662" y="4178"/>
                  </a:lnTo>
                  <a:lnTo>
                    <a:pt x="2674" y="4170"/>
                  </a:lnTo>
                  <a:lnTo>
                    <a:pt x="2683" y="4163"/>
                  </a:lnTo>
                  <a:lnTo>
                    <a:pt x="2690" y="4155"/>
                  </a:lnTo>
                  <a:lnTo>
                    <a:pt x="2698" y="4146"/>
                  </a:lnTo>
                  <a:lnTo>
                    <a:pt x="2704" y="4138"/>
                  </a:lnTo>
                  <a:lnTo>
                    <a:pt x="2712" y="4128"/>
                  </a:lnTo>
                  <a:lnTo>
                    <a:pt x="2722" y="4120"/>
                  </a:lnTo>
                  <a:lnTo>
                    <a:pt x="2734" y="4111"/>
                  </a:lnTo>
                  <a:lnTo>
                    <a:pt x="2739" y="4103"/>
                  </a:lnTo>
                  <a:lnTo>
                    <a:pt x="2747" y="4094"/>
                  </a:lnTo>
                  <a:lnTo>
                    <a:pt x="2751" y="4090"/>
                  </a:lnTo>
                  <a:lnTo>
                    <a:pt x="2755" y="4084"/>
                  </a:lnTo>
                  <a:lnTo>
                    <a:pt x="2756" y="4076"/>
                  </a:lnTo>
                  <a:lnTo>
                    <a:pt x="2757" y="4068"/>
                  </a:lnTo>
                  <a:lnTo>
                    <a:pt x="2757" y="4062"/>
                  </a:lnTo>
                  <a:lnTo>
                    <a:pt x="2759" y="4054"/>
                  </a:lnTo>
                  <a:lnTo>
                    <a:pt x="2761" y="4047"/>
                  </a:lnTo>
                  <a:lnTo>
                    <a:pt x="2764" y="4040"/>
                  </a:lnTo>
                  <a:lnTo>
                    <a:pt x="2771" y="4028"/>
                  </a:lnTo>
                  <a:lnTo>
                    <a:pt x="2779" y="4016"/>
                  </a:lnTo>
                  <a:lnTo>
                    <a:pt x="2785" y="4004"/>
                  </a:lnTo>
                  <a:lnTo>
                    <a:pt x="2793" y="3991"/>
                  </a:lnTo>
                  <a:lnTo>
                    <a:pt x="2796" y="3984"/>
                  </a:lnTo>
                  <a:lnTo>
                    <a:pt x="2797" y="3978"/>
                  </a:lnTo>
                  <a:lnTo>
                    <a:pt x="2799" y="3968"/>
                  </a:lnTo>
                  <a:lnTo>
                    <a:pt x="2799" y="3960"/>
                  </a:lnTo>
                  <a:lnTo>
                    <a:pt x="2799" y="3954"/>
                  </a:lnTo>
                  <a:lnTo>
                    <a:pt x="2796" y="3948"/>
                  </a:lnTo>
                  <a:lnTo>
                    <a:pt x="2792" y="3943"/>
                  </a:lnTo>
                  <a:lnTo>
                    <a:pt x="2787" y="3938"/>
                  </a:lnTo>
                  <a:lnTo>
                    <a:pt x="2783" y="3932"/>
                  </a:lnTo>
                  <a:lnTo>
                    <a:pt x="2779" y="3924"/>
                  </a:lnTo>
                  <a:lnTo>
                    <a:pt x="2776" y="3916"/>
                  </a:lnTo>
                  <a:lnTo>
                    <a:pt x="2775" y="3906"/>
                  </a:lnTo>
                  <a:lnTo>
                    <a:pt x="2776" y="3899"/>
                  </a:lnTo>
                  <a:lnTo>
                    <a:pt x="2779" y="3892"/>
                  </a:lnTo>
                  <a:lnTo>
                    <a:pt x="2783" y="3886"/>
                  </a:lnTo>
                  <a:lnTo>
                    <a:pt x="2787" y="3878"/>
                  </a:lnTo>
                  <a:lnTo>
                    <a:pt x="2792" y="3871"/>
                  </a:lnTo>
                  <a:lnTo>
                    <a:pt x="2796" y="3863"/>
                  </a:lnTo>
                  <a:lnTo>
                    <a:pt x="2799" y="3855"/>
                  </a:lnTo>
                  <a:lnTo>
                    <a:pt x="2799" y="3846"/>
                  </a:lnTo>
                  <a:lnTo>
                    <a:pt x="2799" y="3835"/>
                  </a:lnTo>
                  <a:lnTo>
                    <a:pt x="2796" y="3826"/>
                  </a:lnTo>
                  <a:lnTo>
                    <a:pt x="2792" y="3818"/>
                  </a:lnTo>
                  <a:lnTo>
                    <a:pt x="2787" y="3810"/>
                  </a:lnTo>
                  <a:lnTo>
                    <a:pt x="2775" y="3796"/>
                  </a:lnTo>
                  <a:lnTo>
                    <a:pt x="2760" y="3784"/>
                  </a:lnTo>
                  <a:lnTo>
                    <a:pt x="2746" y="3772"/>
                  </a:lnTo>
                  <a:lnTo>
                    <a:pt x="2734" y="3759"/>
                  </a:lnTo>
                  <a:lnTo>
                    <a:pt x="2728" y="3751"/>
                  </a:lnTo>
                  <a:lnTo>
                    <a:pt x="2724" y="3742"/>
                  </a:lnTo>
                  <a:lnTo>
                    <a:pt x="2722" y="3731"/>
                  </a:lnTo>
                  <a:lnTo>
                    <a:pt x="2722" y="3719"/>
                  </a:lnTo>
                  <a:lnTo>
                    <a:pt x="2722" y="3712"/>
                  </a:lnTo>
                  <a:lnTo>
                    <a:pt x="2723" y="3704"/>
                  </a:lnTo>
                  <a:lnTo>
                    <a:pt x="2724" y="3699"/>
                  </a:lnTo>
                  <a:lnTo>
                    <a:pt x="2727" y="3692"/>
                  </a:lnTo>
                  <a:lnTo>
                    <a:pt x="2732" y="3683"/>
                  </a:lnTo>
                  <a:lnTo>
                    <a:pt x="2739" y="3674"/>
                  </a:lnTo>
                  <a:lnTo>
                    <a:pt x="2746" y="3666"/>
                  </a:lnTo>
                  <a:lnTo>
                    <a:pt x="2752" y="3658"/>
                  </a:lnTo>
                  <a:lnTo>
                    <a:pt x="2756" y="3650"/>
                  </a:lnTo>
                  <a:lnTo>
                    <a:pt x="2757" y="3640"/>
                  </a:lnTo>
                  <a:lnTo>
                    <a:pt x="2757" y="3635"/>
                  </a:lnTo>
                  <a:lnTo>
                    <a:pt x="2756" y="3631"/>
                  </a:lnTo>
                  <a:lnTo>
                    <a:pt x="2754" y="3626"/>
                  </a:lnTo>
                  <a:lnTo>
                    <a:pt x="2752" y="3622"/>
                  </a:lnTo>
                  <a:lnTo>
                    <a:pt x="2746" y="3614"/>
                  </a:lnTo>
                  <a:lnTo>
                    <a:pt x="2739" y="3605"/>
                  </a:lnTo>
                  <a:lnTo>
                    <a:pt x="2732" y="3595"/>
                  </a:lnTo>
                  <a:lnTo>
                    <a:pt x="2727" y="3583"/>
                  </a:lnTo>
                  <a:lnTo>
                    <a:pt x="2724" y="3577"/>
                  </a:lnTo>
                  <a:lnTo>
                    <a:pt x="2723" y="3569"/>
                  </a:lnTo>
                  <a:lnTo>
                    <a:pt x="2722" y="3561"/>
                  </a:lnTo>
                  <a:lnTo>
                    <a:pt x="2722" y="3551"/>
                  </a:lnTo>
                  <a:lnTo>
                    <a:pt x="2722" y="3543"/>
                  </a:lnTo>
                  <a:lnTo>
                    <a:pt x="2723" y="3535"/>
                  </a:lnTo>
                  <a:lnTo>
                    <a:pt x="2724" y="3529"/>
                  </a:lnTo>
                  <a:lnTo>
                    <a:pt x="2727" y="3522"/>
                  </a:lnTo>
                  <a:lnTo>
                    <a:pt x="2732" y="3511"/>
                  </a:lnTo>
                  <a:lnTo>
                    <a:pt x="2740" y="3503"/>
                  </a:lnTo>
                  <a:lnTo>
                    <a:pt x="2750" y="3497"/>
                  </a:lnTo>
                  <a:lnTo>
                    <a:pt x="2760" y="3490"/>
                  </a:lnTo>
                  <a:lnTo>
                    <a:pt x="2772" y="3486"/>
                  </a:lnTo>
                  <a:lnTo>
                    <a:pt x="2784" y="3482"/>
                  </a:lnTo>
                  <a:lnTo>
                    <a:pt x="2809" y="3474"/>
                  </a:lnTo>
                  <a:lnTo>
                    <a:pt x="2833" y="3465"/>
                  </a:lnTo>
                  <a:lnTo>
                    <a:pt x="2843" y="3458"/>
                  </a:lnTo>
                  <a:lnTo>
                    <a:pt x="2852" y="3451"/>
                  </a:lnTo>
                  <a:lnTo>
                    <a:pt x="2856" y="3446"/>
                  </a:lnTo>
                  <a:lnTo>
                    <a:pt x="2860" y="3442"/>
                  </a:lnTo>
                  <a:lnTo>
                    <a:pt x="2863" y="3437"/>
                  </a:lnTo>
                  <a:lnTo>
                    <a:pt x="2865" y="3430"/>
                  </a:lnTo>
                  <a:lnTo>
                    <a:pt x="2865" y="3406"/>
                  </a:lnTo>
                  <a:lnTo>
                    <a:pt x="2857" y="3406"/>
                  </a:lnTo>
                  <a:lnTo>
                    <a:pt x="2853" y="3406"/>
                  </a:lnTo>
                  <a:lnTo>
                    <a:pt x="2832" y="3409"/>
                  </a:lnTo>
                  <a:lnTo>
                    <a:pt x="2811" y="3411"/>
                  </a:lnTo>
                  <a:lnTo>
                    <a:pt x="2801" y="3411"/>
                  </a:lnTo>
                  <a:lnTo>
                    <a:pt x="2791" y="3411"/>
                  </a:lnTo>
                  <a:lnTo>
                    <a:pt x="2780" y="3410"/>
                  </a:lnTo>
                  <a:lnTo>
                    <a:pt x="2769" y="3406"/>
                  </a:lnTo>
                  <a:lnTo>
                    <a:pt x="2746" y="3398"/>
                  </a:lnTo>
                  <a:lnTo>
                    <a:pt x="2728" y="3390"/>
                  </a:lnTo>
                  <a:lnTo>
                    <a:pt x="2722" y="3387"/>
                  </a:lnTo>
                  <a:lnTo>
                    <a:pt x="2714" y="3385"/>
                  </a:lnTo>
                  <a:lnTo>
                    <a:pt x="2706" y="3383"/>
                  </a:lnTo>
                  <a:lnTo>
                    <a:pt x="2698" y="3382"/>
                  </a:lnTo>
                  <a:lnTo>
                    <a:pt x="2670" y="3383"/>
                  </a:lnTo>
                  <a:lnTo>
                    <a:pt x="2643" y="3387"/>
                  </a:lnTo>
                  <a:lnTo>
                    <a:pt x="2630" y="3387"/>
                  </a:lnTo>
                  <a:lnTo>
                    <a:pt x="2616" y="3387"/>
                  </a:lnTo>
                  <a:lnTo>
                    <a:pt x="2602" y="3386"/>
                  </a:lnTo>
                  <a:lnTo>
                    <a:pt x="2588" y="3382"/>
                  </a:lnTo>
                  <a:lnTo>
                    <a:pt x="2588" y="3327"/>
                  </a:lnTo>
                  <a:lnTo>
                    <a:pt x="2588" y="3299"/>
                  </a:lnTo>
                  <a:lnTo>
                    <a:pt x="2588" y="3279"/>
                  </a:lnTo>
                  <a:lnTo>
                    <a:pt x="2588" y="3243"/>
                  </a:lnTo>
                  <a:lnTo>
                    <a:pt x="2590" y="3234"/>
                  </a:lnTo>
                  <a:lnTo>
                    <a:pt x="2591" y="3225"/>
                  </a:lnTo>
                  <a:lnTo>
                    <a:pt x="2594" y="3217"/>
                  </a:lnTo>
                  <a:lnTo>
                    <a:pt x="2598" y="3209"/>
                  </a:lnTo>
                  <a:lnTo>
                    <a:pt x="2606" y="3194"/>
                  </a:lnTo>
                  <a:lnTo>
                    <a:pt x="2616" y="3181"/>
                  </a:lnTo>
                  <a:lnTo>
                    <a:pt x="2626" y="3169"/>
                  </a:lnTo>
                  <a:lnTo>
                    <a:pt x="2635" y="3157"/>
                  </a:lnTo>
                  <a:lnTo>
                    <a:pt x="2638" y="3151"/>
                  </a:lnTo>
                  <a:lnTo>
                    <a:pt x="2640" y="3146"/>
                  </a:lnTo>
                  <a:lnTo>
                    <a:pt x="2643" y="3141"/>
                  </a:lnTo>
                  <a:lnTo>
                    <a:pt x="2643" y="3135"/>
                  </a:lnTo>
                  <a:lnTo>
                    <a:pt x="2642" y="3121"/>
                  </a:lnTo>
                  <a:lnTo>
                    <a:pt x="2639" y="3107"/>
                  </a:lnTo>
                  <a:lnTo>
                    <a:pt x="2634" y="3094"/>
                  </a:lnTo>
                  <a:lnTo>
                    <a:pt x="2627" y="3082"/>
                  </a:lnTo>
                  <a:lnTo>
                    <a:pt x="2619" y="3070"/>
                  </a:lnTo>
                  <a:lnTo>
                    <a:pt x="2610" y="3058"/>
                  </a:lnTo>
                  <a:lnTo>
                    <a:pt x="2600" y="3047"/>
                  </a:lnTo>
                  <a:lnTo>
                    <a:pt x="2590" y="3035"/>
                  </a:lnTo>
                  <a:lnTo>
                    <a:pt x="2570" y="3013"/>
                  </a:lnTo>
                  <a:lnTo>
                    <a:pt x="2551" y="2990"/>
                  </a:lnTo>
                  <a:lnTo>
                    <a:pt x="2543" y="2977"/>
                  </a:lnTo>
                  <a:lnTo>
                    <a:pt x="2536" y="2965"/>
                  </a:lnTo>
                  <a:lnTo>
                    <a:pt x="2532" y="2952"/>
                  </a:lnTo>
                  <a:lnTo>
                    <a:pt x="2528" y="2937"/>
                  </a:lnTo>
                  <a:lnTo>
                    <a:pt x="2527" y="2929"/>
                  </a:lnTo>
                  <a:lnTo>
                    <a:pt x="2526" y="2921"/>
                  </a:lnTo>
                  <a:lnTo>
                    <a:pt x="2526" y="2914"/>
                  </a:lnTo>
                  <a:lnTo>
                    <a:pt x="2526" y="2908"/>
                  </a:lnTo>
                  <a:lnTo>
                    <a:pt x="2528" y="2893"/>
                  </a:lnTo>
                  <a:lnTo>
                    <a:pt x="2531" y="2881"/>
                  </a:lnTo>
                  <a:lnTo>
                    <a:pt x="2535" y="2868"/>
                  </a:lnTo>
                  <a:lnTo>
                    <a:pt x="2536" y="2854"/>
                  </a:lnTo>
                  <a:lnTo>
                    <a:pt x="2538" y="2848"/>
                  </a:lnTo>
                  <a:lnTo>
                    <a:pt x="2538" y="2842"/>
                  </a:lnTo>
                  <a:lnTo>
                    <a:pt x="2536" y="2836"/>
                  </a:lnTo>
                  <a:lnTo>
                    <a:pt x="2535" y="2829"/>
                  </a:lnTo>
                  <a:lnTo>
                    <a:pt x="2532" y="2824"/>
                  </a:lnTo>
                  <a:lnTo>
                    <a:pt x="2530" y="2818"/>
                  </a:lnTo>
                  <a:lnTo>
                    <a:pt x="2527" y="2814"/>
                  </a:lnTo>
                  <a:lnTo>
                    <a:pt x="2522" y="2810"/>
                  </a:lnTo>
                  <a:lnTo>
                    <a:pt x="2511" y="2804"/>
                  </a:lnTo>
                  <a:lnTo>
                    <a:pt x="2498" y="2798"/>
                  </a:lnTo>
                  <a:lnTo>
                    <a:pt x="2467" y="2792"/>
                  </a:lnTo>
                  <a:lnTo>
                    <a:pt x="2438" y="2786"/>
                  </a:lnTo>
                  <a:lnTo>
                    <a:pt x="2442" y="2776"/>
                  </a:lnTo>
                  <a:lnTo>
                    <a:pt x="2446" y="2766"/>
                  </a:lnTo>
                  <a:lnTo>
                    <a:pt x="2451" y="2758"/>
                  </a:lnTo>
                  <a:lnTo>
                    <a:pt x="2458" y="2752"/>
                  </a:lnTo>
                  <a:lnTo>
                    <a:pt x="2472" y="2740"/>
                  </a:lnTo>
                  <a:lnTo>
                    <a:pt x="2488" y="2729"/>
                  </a:lnTo>
                  <a:lnTo>
                    <a:pt x="2503" y="2718"/>
                  </a:lnTo>
                  <a:lnTo>
                    <a:pt x="2516" y="2706"/>
                  </a:lnTo>
                  <a:lnTo>
                    <a:pt x="2522" y="2700"/>
                  </a:lnTo>
                  <a:lnTo>
                    <a:pt x="2526" y="2692"/>
                  </a:lnTo>
                  <a:lnTo>
                    <a:pt x="2527" y="2682"/>
                  </a:lnTo>
                  <a:lnTo>
                    <a:pt x="2528" y="2672"/>
                  </a:lnTo>
                  <a:lnTo>
                    <a:pt x="2527" y="2633"/>
                  </a:lnTo>
                  <a:lnTo>
                    <a:pt x="2524" y="2596"/>
                  </a:lnTo>
                  <a:lnTo>
                    <a:pt x="2520" y="2558"/>
                  </a:lnTo>
                  <a:lnTo>
                    <a:pt x="2515" y="2522"/>
                  </a:lnTo>
                  <a:lnTo>
                    <a:pt x="2507" y="2485"/>
                  </a:lnTo>
                  <a:lnTo>
                    <a:pt x="2499" y="2449"/>
                  </a:lnTo>
                  <a:lnTo>
                    <a:pt x="2488" y="2415"/>
                  </a:lnTo>
                  <a:lnTo>
                    <a:pt x="2478" y="2380"/>
                  </a:lnTo>
                  <a:lnTo>
                    <a:pt x="2464" y="2345"/>
                  </a:lnTo>
                  <a:lnTo>
                    <a:pt x="2451" y="2312"/>
                  </a:lnTo>
                  <a:lnTo>
                    <a:pt x="2438" y="2279"/>
                  </a:lnTo>
                  <a:lnTo>
                    <a:pt x="2422" y="2247"/>
                  </a:lnTo>
                  <a:lnTo>
                    <a:pt x="2406" y="2215"/>
                  </a:lnTo>
                  <a:lnTo>
                    <a:pt x="2388" y="2184"/>
                  </a:lnTo>
                  <a:lnTo>
                    <a:pt x="2371" y="2153"/>
                  </a:lnTo>
                  <a:lnTo>
                    <a:pt x="2354" y="2124"/>
                  </a:lnTo>
                  <a:lnTo>
                    <a:pt x="2364" y="2119"/>
                  </a:lnTo>
                  <a:lnTo>
                    <a:pt x="2374" y="2112"/>
                  </a:lnTo>
                  <a:lnTo>
                    <a:pt x="2383" y="2104"/>
                  </a:lnTo>
                  <a:lnTo>
                    <a:pt x="2394" y="2096"/>
                  </a:lnTo>
                  <a:lnTo>
                    <a:pt x="2412" y="2076"/>
                  </a:lnTo>
                  <a:lnTo>
                    <a:pt x="2430" y="2056"/>
                  </a:lnTo>
                  <a:lnTo>
                    <a:pt x="2447" y="2036"/>
                  </a:lnTo>
                  <a:lnTo>
                    <a:pt x="2463" y="2019"/>
                  </a:lnTo>
                  <a:lnTo>
                    <a:pt x="2471" y="2012"/>
                  </a:lnTo>
                  <a:lnTo>
                    <a:pt x="2478" y="2005"/>
                  </a:lnTo>
                  <a:lnTo>
                    <a:pt x="2486" y="2000"/>
                  </a:lnTo>
                  <a:lnTo>
                    <a:pt x="2492" y="1997"/>
                  </a:lnTo>
                  <a:lnTo>
                    <a:pt x="2500" y="1995"/>
                  </a:lnTo>
                  <a:lnTo>
                    <a:pt x="2508" y="1993"/>
                  </a:lnTo>
                  <a:lnTo>
                    <a:pt x="2516" y="1992"/>
                  </a:lnTo>
                  <a:lnTo>
                    <a:pt x="2526" y="1992"/>
                  </a:lnTo>
                  <a:lnTo>
                    <a:pt x="2542" y="1992"/>
                  </a:lnTo>
                  <a:lnTo>
                    <a:pt x="2556" y="1992"/>
                  </a:lnTo>
                  <a:lnTo>
                    <a:pt x="2563" y="1992"/>
                  </a:lnTo>
                  <a:lnTo>
                    <a:pt x="2570" y="1991"/>
                  </a:lnTo>
                  <a:lnTo>
                    <a:pt x="2575" y="1988"/>
                  </a:lnTo>
                  <a:lnTo>
                    <a:pt x="2579" y="1985"/>
                  </a:lnTo>
                  <a:lnTo>
                    <a:pt x="2583" y="1980"/>
                  </a:lnTo>
                  <a:lnTo>
                    <a:pt x="2587" y="1973"/>
                  </a:lnTo>
                  <a:lnTo>
                    <a:pt x="2588" y="1965"/>
                  </a:lnTo>
                  <a:lnTo>
                    <a:pt x="2588" y="1955"/>
                  </a:lnTo>
                  <a:lnTo>
                    <a:pt x="2587" y="1944"/>
                  </a:lnTo>
                  <a:lnTo>
                    <a:pt x="2584" y="1935"/>
                  </a:lnTo>
                  <a:lnTo>
                    <a:pt x="2579" y="1925"/>
                  </a:lnTo>
                  <a:lnTo>
                    <a:pt x="2574" y="1916"/>
                  </a:lnTo>
                  <a:lnTo>
                    <a:pt x="2568" y="1907"/>
                  </a:lnTo>
                  <a:lnTo>
                    <a:pt x="2563" y="1897"/>
                  </a:lnTo>
                  <a:lnTo>
                    <a:pt x="2560" y="1888"/>
                  </a:lnTo>
                  <a:lnTo>
                    <a:pt x="2559" y="1877"/>
                  </a:lnTo>
                  <a:lnTo>
                    <a:pt x="2643" y="1660"/>
                  </a:lnTo>
                  <a:lnTo>
                    <a:pt x="2654" y="1652"/>
                  </a:lnTo>
                  <a:lnTo>
                    <a:pt x="2670" y="1643"/>
                  </a:lnTo>
                  <a:lnTo>
                    <a:pt x="2686" y="1635"/>
                  </a:lnTo>
                  <a:lnTo>
                    <a:pt x="2703" y="1626"/>
                  </a:lnTo>
                  <a:lnTo>
                    <a:pt x="2711" y="1620"/>
                  </a:lnTo>
                  <a:lnTo>
                    <a:pt x="2719" y="1615"/>
                  </a:lnTo>
                  <a:lnTo>
                    <a:pt x="2727" y="1608"/>
                  </a:lnTo>
                  <a:lnTo>
                    <a:pt x="2732" y="1602"/>
                  </a:lnTo>
                  <a:lnTo>
                    <a:pt x="2738" y="1594"/>
                  </a:lnTo>
                  <a:lnTo>
                    <a:pt x="2742" y="1584"/>
                  </a:lnTo>
                  <a:lnTo>
                    <a:pt x="2744" y="1575"/>
                  </a:lnTo>
                  <a:lnTo>
                    <a:pt x="2746" y="1564"/>
                  </a:lnTo>
                  <a:lnTo>
                    <a:pt x="2744" y="1555"/>
                  </a:lnTo>
                  <a:lnTo>
                    <a:pt x="2743" y="1548"/>
                  </a:lnTo>
                  <a:lnTo>
                    <a:pt x="2740" y="1540"/>
                  </a:lnTo>
                  <a:lnTo>
                    <a:pt x="2736" y="1535"/>
                  </a:lnTo>
                  <a:lnTo>
                    <a:pt x="2727" y="1524"/>
                  </a:lnTo>
                  <a:lnTo>
                    <a:pt x="2716" y="1516"/>
                  </a:lnTo>
                  <a:lnTo>
                    <a:pt x="2704" y="1508"/>
                  </a:lnTo>
                  <a:lnTo>
                    <a:pt x="2692" y="1502"/>
                  </a:lnTo>
                  <a:lnTo>
                    <a:pt x="2682" y="1494"/>
                  </a:lnTo>
                  <a:lnTo>
                    <a:pt x="2674" y="1486"/>
                  </a:lnTo>
                  <a:lnTo>
                    <a:pt x="2668" y="1476"/>
                  </a:lnTo>
                  <a:lnTo>
                    <a:pt x="2664" y="1467"/>
                  </a:lnTo>
                  <a:lnTo>
                    <a:pt x="2662" y="1458"/>
                  </a:lnTo>
                  <a:lnTo>
                    <a:pt x="2659" y="1448"/>
                  </a:lnTo>
                  <a:lnTo>
                    <a:pt x="2656" y="1428"/>
                  </a:lnTo>
                  <a:lnTo>
                    <a:pt x="2654" y="1408"/>
                  </a:lnTo>
                  <a:lnTo>
                    <a:pt x="2652" y="1388"/>
                  </a:lnTo>
                  <a:lnTo>
                    <a:pt x="2648" y="1370"/>
                  </a:lnTo>
                  <a:lnTo>
                    <a:pt x="2646" y="1360"/>
                  </a:lnTo>
                  <a:lnTo>
                    <a:pt x="2642" y="1351"/>
                  </a:lnTo>
                  <a:lnTo>
                    <a:pt x="2638" y="1343"/>
                  </a:lnTo>
                  <a:lnTo>
                    <a:pt x="2631" y="1335"/>
                  </a:lnTo>
                  <a:lnTo>
                    <a:pt x="2622" y="1324"/>
                  </a:lnTo>
                  <a:lnTo>
                    <a:pt x="2612" y="1315"/>
                  </a:lnTo>
                  <a:lnTo>
                    <a:pt x="2603" y="1306"/>
                  </a:lnTo>
                  <a:lnTo>
                    <a:pt x="2594" y="1298"/>
                  </a:lnTo>
                  <a:lnTo>
                    <a:pt x="2574" y="1282"/>
                  </a:lnTo>
                  <a:lnTo>
                    <a:pt x="2554" y="1267"/>
                  </a:lnTo>
                  <a:lnTo>
                    <a:pt x="2535" y="1253"/>
                  </a:lnTo>
                  <a:lnTo>
                    <a:pt x="2518" y="1235"/>
                  </a:lnTo>
                  <a:lnTo>
                    <a:pt x="2508" y="1226"/>
                  </a:lnTo>
                  <a:lnTo>
                    <a:pt x="2500" y="1215"/>
                  </a:lnTo>
                  <a:lnTo>
                    <a:pt x="2494" y="1203"/>
                  </a:lnTo>
                  <a:lnTo>
                    <a:pt x="2487" y="1191"/>
                  </a:lnTo>
                  <a:lnTo>
                    <a:pt x="2480" y="1179"/>
                  </a:lnTo>
                  <a:lnTo>
                    <a:pt x="2475" y="1169"/>
                  </a:lnTo>
                  <a:lnTo>
                    <a:pt x="2472" y="1159"/>
                  </a:lnTo>
                  <a:lnTo>
                    <a:pt x="2470" y="1150"/>
                  </a:lnTo>
                  <a:lnTo>
                    <a:pt x="2464" y="1133"/>
                  </a:lnTo>
                  <a:lnTo>
                    <a:pt x="2460" y="1117"/>
                  </a:lnTo>
                  <a:lnTo>
                    <a:pt x="2458" y="1110"/>
                  </a:lnTo>
                  <a:lnTo>
                    <a:pt x="2455" y="1103"/>
                  </a:lnTo>
                  <a:lnTo>
                    <a:pt x="2451" y="1097"/>
                  </a:lnTo>
                  <a:lnTo>
                    <a:pt x="2446" y="1091"/>
                  </a:lnTo>
                  <a:lnTo>
                    <a:pt x="2439" y="1085"/>
                  </a:lnTo>
                  <a:lnTo>
                    <a:pt x="2431" y="1079"/>
                  </a:lnTo>
                  <a:lnTo>
                    <a:pt x="2420" y="1075"/>
                  </a:lnTo>
                  <a:lnTo>
                    <a:pt x="2408" y="1070"/>
                  </a:lnTo>
                  <a:lnTo>
                    <a:pt x="2418" y="1043"/>
                  </a:lnTo>
                  <a:lnTo>
                    <a:pt x="2427" y="1022"/>
                  </a:lnTo>
                  <a:lnTo>
                    <a:pt x="2432" y="1013"/>
                  </a:lnTo>
                  <a:lnTo>
                    <a:pt x="2435" y="1003"/>
                  </a:lnTo>
                  <a:lnTo>
                    <a:pt x="2438" y="995"/>
                  </a:lnTo>
                  <a:lnTo>
                    <a:pt x="2438" y="986"/>
                  </a:lnTo>
                  <a:lnTo>
                    <a:pt x="2440" y="974"/>
                  </a:lnTo>
                  <a:lnTo>
                    <a:pt x="2444" y="961"/>
                  </a:lnTo>
                  <a:lnTo>
                    <a:pt x="2447" y="953"/>
                  </a:lnTo>
                  <a:lnTo>
                    <a:pt x="2448" y="943"/>
                  </a:lnTo>
                  <a:lnTo>
                    <a:pt x="2450" y="930"/>
                  </a:lnTo>
                  <a:lnTo>
                    <a:pt x="2450" y="914"/>
                  </a:lnTo>
                  <a:lnTo>
                    <a:pt x="2432" y="914"/>
                  </a:lnTo>
                  <a:lnTo>
                    <a:pt x="2423" y="909"/>
                  </a:lnTo>
                  <a:lnTo>
                    <a:pt x="2414" y="903"/>
                  </a:lnTo>
                  <a:lnTo>
                    <a:pt x="2403" y="898"/>
                  </a:lnTo>
                  <a:lnTo>
                    <a:pt x="2390" y="890"/>
                  </a:lnTo>
                  <a:lnTo>
                    <a:pt x="2374" y="895"/>
                  </a:lnTo>
                  <a:lnTo>
                    <a:pt x="2360" y="899"/>
                  </a:lnTo>
                  <a:lnTo>
                    <a:pt x="2350" y="905"/>
                  </a:lnTo>
                  <a:lnTo>
                    <a:pt x="2340" y="910"/>
                  </a:lnTo>
                  <a:lnTo>
                    <a:pt x="2332" y="915"/>
                  </a:lnTo>
                  <a:lnTo>
                    <a:pt x="2327" y="919"/>
                  </a:lnTo>
                  <a:lnTo>
                    <a:pt x="2323" y="925"/>
                  </a:lnTo>
                  <a:lnTo>
                    <a:pt x="2320" y="930"/>
                  </a:lnTo>
                  <a:lnTo>
                    <a:pt x="2319" y="935"/>
                  </a:lnTo>
                  <a:lnTo>
                    <a:pt x="2319" y="939"/>
                  </a:lnTo>
                  <a:lnTo>
                    <a:pt x="2320" y="945"/>
                  </a:lnTo>
                  <a:lnTo>
                    <a:pt x="2323" y="950"/>
                  </a:lnTo>
                  <a:lnTo>
                    <a:pt x="2330" y="959"/>
                  </a:lnTo>
                  <a:lnTo>
                    <a:pt x="2339" y="969"/>
                  </a:lnTo>
                  <a:lnTo>
                    <a:pt x="2360" y="987"/>
                  </a:lnTo>
                  <a:lnTo>
                    <a:pt x="2380" y="1003"/>
                  </a:lnTo>
                  <a:lnTo>
                    <a:pt x="2383" y="1009"/>
                  </a:lnTo>
                  <a:lnTo>
                    <a:pt x="2386" y="1013"/>
                  </a:lnTo>
                  <a:lnTo>
                    <a:pt x="2387" y="1015"/>
                  </a:lnTo>
                  <a:lnTo>
                    <a:pt x="2388" y="1019"/>
                  </a:lnTo>
                  <a:lnTo>
                    <a:pt x="2388" y="1023"/>
                  </a:lnTo>
                  <a:lnTo>
                    <a:pt x="2386" y="1027"/>
                  </a:lnTo>
                  <a:lnTo>
                    <a:pt x="2383" y="1031"/>
                  </a:lnTo>
                  <a:lnTo>
                    <a:pt x="2378" y="1034"/>
                  </a:lnTo>
                  <a:lnTo>
                    <a:pt x="2372" y="1046"/>
                  </a:lnTo>
                  <a:lnTo>
                    <a:pt x="2366" y="1058"/>
                  </a:lnTo>
                  <a:lnTo>
                    <a:pt x="2359" y="1069"/>
                  </a:lnTo>
                  <a:lnTo>
                    <a:pt x="2351" y="1079"/>
                  </a:lnTo>
                  <a:lnTo>
                    <a:pt x="2336" y="1098"/>
                  </a:lnTo>
                  <a:lnTo>
                    <a:pt x="2319" y="1115"/>
                  </a:lnTo>
                  <a:lnTo>
                    <a:pt x="2300" y="1130"/>
                  </a:lnTo>
                  <a:lnTo>
                    <a:pt x="2282" y="1143"/>
                  </a:lnTo>
                  <a:lnTo>
                    <a:pt x="2263" y="1157"/>
                  </a:lnTo>
                  <a:lnTo>
                    <a:pt x="2243" y="1169"/>
                  </a:lnTo>
                  <a:lnTo>
                    <a:pt x="2204" y="1190"/>
                  </a:lnTo>
                  <a:lnTo>
                    <a:pt x="2168" y="1210"/>
                  </a:lnTo>
                  <a:lnTo>
                    <a:pt x="2152" y="1221"/>
                  </a:lnTo>
                  <a:lnTo>
                    <a:pt x="2138" y="1233"/>
                  </a:lnTo>
                  <a:lnTo>
                    <a:pt x="2124" y="1245"/>
                  </a:lnTo>
                  <a:lnTo>
                    <a:pt x="2112" y="1257"/>
                  </a:lnTo>
                  <a:lnTo>
                    <a:pt x="2114" y="1243"/>
                  </a:lnTo>
                  <a:lnTo>
                    <a:pt x="2116" y="1227"/>
                  </a:lnTo>
                  <a:lnTo>
                    <a:pt x="2120" y="1211"/>
                  </a:lnTo>
                  <a:lnTo>
                    <a:pt x="2127" y="1194"/>
                  </a:lnTo>
                  <a:lnTo>
                    <a:pt x="2135" y="1177"/>
                  </a:lnTo>
                  <a:lnTo>
                    <a:pt x="2144" y="1157"/>
                  </a:lnTo>
                  <a:lnTo>
                    <a:pt x="2155" y="1137"/>
                  </a:lnTo>
                  <a:lnTo>
                    <a:pt x="2167" y="1117"/>
                  </a:lnTo>
                  <a:lnTo>
                    <a:pt x="2224" y="1026"/>
                  </a:lnTo>
                  <a:lnTo>
                    <a:pt x="2291" y="926"/>
                  </a:lnTo>
                  <a:lnTo>
                    <a:pt x="2326" y="873"/>
                  </a:lnTo>
                  <a:lnTo>
                    <a:pt x="2359" y="819"/>
                  </a:lnTo>
                  <a:lnTo>
                    <a:pt x="2374" y="791"/>
                  </a:lnTo>
                  <a:lnTo>
                    <a:pt x="2390" y="763"/>
                  </a:lnTo>
                  <a:lnTo>
                    <a:pt x="2403" y="737"/>
                  </a:lnTo>
                  <a:lnTo>
                    <a:pt x="2416" y="709"/>
                  </a:lnTo>
                  <a:lnTo>
                    <a:pt x="2430" y="681"/>
                  </a:lnTo>
                  <a:lnTo>
                    <a:pt x="2440" y="653"/>
                  </a:lnTo>
                  <a:lnTo>
                    <a:pt x="2450" y="625"/>
                  </a:lnTo>
                  <a:lnTo>
                    <a:pt x="2459" y="597"/>
                  </a:lnTo>
                  <a:lnTo>
                    <a:pt x="2466" y="569"/>
                  </a:lnTo>
                  <a:lnTo>
                    <a:pt x="2470" y="541"/>
                  </a:lnTo>
                  <a:lnTo>
                    <a:pt x="2474" y="513"/>
                  </a:lnTo>
                  <a:lnTo>
                    <a:pt x="2474" y="486"/>
                  </a:lnTo>
                  <a:lnTo>
                    <a:pt x="2474" y="476"/>
                  </a:lnTo>
                  <a:lnTo>
                    <a:pt x="2472" y="465"/>
                  </a:lnTo>
                  <a:lnTo>
                    <a:pt x="2470" y="454"/>
                  </a:lnTo>
                  <a:lnTo>
                    <a:pt x="2466" y="442"/>
                  </a:lnTo>
                  <a:lnTo>
                    <a:pt x="2456" y="418"/>
                  </a:lnTo>
                  <a:lnTo>
                    <a:pt x="2444" y="393"/>
                  </a:lnTo>
                  <a:lnTo>
                    <a:pt x="2430" y="368"/>
                  </a:lnTo>
                  <a:lnTo>
                    <a:pt x="2412" y="341"/>
                  </a:lnTo>
                  <a:lnTo>
                    <a:pt x="2392" y="316"/>
                  </a:lnTo>
                  <a:lnTo>
                    <a:pt x="2371" y="292"/>
                  </a:lnTo>
                  <a:lnTo>
                    <a:pt x="2348" y="269"/>
                  </a:lnTo>
                  <a:lnTo>
                    <a:pt x="2326" y="248"/>
                  </a:lnTo>
                  <a:lnTo>
                    <a:pt x="2302" y="229"/>
                  </a:lnTo>
                  <a:lnTo>
                    <a:pt x="2279" y="212"/>
                  </a:lnTo>
                  <a:lnTo>
                    <a:pt x="2267" y="205"/>
                  </a:lnTo>
                  <a:lnTo>
                    <a:pt x="2255" y="198"/>
                  </a:lnTo>
                  <a:lnTo>
                    <a:pt x="2244" y="193"/>
                  </a:lnTo>
                  <a:lnTo>
                    <a:pt x="2232" y="188"/>
                  </a:lnTo>
                  <a:lnTo>
                    <a:pt x="2222" y="184"/>
                  </a:lnTo>
                  <a:lnTo>
                    <a:pt x="2211" y="181"/>
                  </a:lnTo>
                  <a:lnTo>
                    <a:pt x="2200" y="180"/>
                  </a:lnTo>
                  <a:lnTo>
                    <a:pt x="2191" y="180"/>
                  </a:lnTo>
                  <a:lnTo>
                    <a:pt x="2159" y="180"/>
                  </a:lnTo>
                  <a:lnTo>
                    <a:pt x="2119" y="182"/>
                  </a:lnTo>
                  <a:lnTo>
                    <a:pt x="2099" y="185"/>
                  </a:lnTo>
                  <a:lnTo>
                    <a:pt x="2079" y="189"/>
                  </a:lnTo>
                  <a:lnTo>
                    <a:pt x="2070" y="192"/>
                  </a:lnTo>
                  <a:lnTo>
                    <a:pt x="2062" y="196"/>
                  </a:lnTo>
                  <a:lnTo>
                    <a:pt x="2054" y="198"/>
                  </a:lnTo>
                  <a:lnTo>
                    <a:pt x="2047" y="204"/>
                  </a:lnTo>
                  <a:lnTo>
                    <a:pt x="2044" y="222"/>
                  </a:lnTo>
                  <a:lnTo>
                    <a:pt x="2040" y="238"/>
                  </a:lnTo>
                  <a:lnTo>
                    <a:pt x="2036" y="252"/>
                  </a:lnTo>
                  <a:lnTo>
                    <a:pt x="2031" y="264"/>
                  </a:lnTo>
                  <a:lnTo>
                    <a:pt x="2024" y="272"/>
                  </a:lnTo>
                  <a:lnTo>
                    <a:pt x="2019" y="280"/>
                  </a:lnTo>
                  <a:lnTo>
                    <a:pt x="2011" y="285"/>
                  </a:lnTo>
                  <a:lnTo>
                    <a:pt x="2004" y="289"/>
                  </a:lnTo>
                  <a:lnTo>
                    <a:pt x="1996" y="292"/>
                  </a:lnTo>
                  <a:lnTo>
                    <a:pt x="1990" y="293"/>
                  </a:lnTo>
                  <a:lnTo>
                    <a:pt x="1982" y="294"/>
                  </a:lnTo>
                  <a:lnTo>
                    <a:pt x="1974" y="294"/>
                  </a:lnTo>
                  <a:lnTo>
                    <a:pt x="1959" y="294"/>
                  </a:lnTo>
                  <a:lnTo>
                    <a:pt x="1945" y="293"/>
                  </a:lnTo>
                  <a:lnTo>
                    <a:pt x="1942" y="293"/>
                  </a:lnTo>
                  <a:lnTo>
                    <a:pt x="1941" y="292"/>
                  </a:lnTo>
                  <a:lnTo>
                    <a:pt x="1941" y="289"/>
                  </a:lnTo>
                  <a:lnTo>
                    <a:pt x="1941" y="285"/>
                  </a:lnTo>
                  <a:lnTo>
                    <a:pt x="1946" y="276"/>
                  </a:lnTo>
                  <a:lnTo>
                    <a:pt x="1953" y="264"/>
                  </a:lnTo>
                  <a:lnTo>
                    <a:pt x="1961" y="249"/>
                  </a:lnTo>
                  <a:lnTo>
                    <a:pt x="1969" y="233"/>
                  </a:lnTo>
                  <a:lnTo>
                    <a:pt x="1975" y="217"/>
                  </a:lnTo>
                  <a:lnTo>
                    <a:pt x="1979" y="201"/>
                  </a:lnTo>
                  <a:lnTo>
                    <a:pt x="1981" y="193"/>
                  </a:lnTo>
                  <a:lnTo>
                    <a:pt x="1981" y="185"/>
                  </a:lnTo>
                  <a:lnTo>
                    <a:pt x="1979" y="178"/>
                  </a:lnTo>
                  <a:lnTo>
                    <a:pt x="1978" y="170"/>
                  </a:lnTo>
                  <a:lnTo>
                    <a:pt x="1974" y="165"/>
                  </a:lnTo>
                  <a:lnTo>
                    <a:pt x="1969" y="158"/>
                  </a:lnTo>
                  <a:lnTo>
                    <a:pt x="1961" y="153"/>
                  </a:lnTo>
                  <a:lnTo>
                    <a:pt x="1953" y="149"/>
                  </a:lnTo>
                  <a:lnTo>
                    <a:pt x="1941" y="145"/>
                  </a:lnTo>
                  <a:lnTo>
                    <a:pt x="1927" y="142"/>
                  </a:lnTo>
                  <a:lnTo>
                    <a:pt x="1913" y="141"/>
                  </a:lnTo>
                  <a:lnTo>
                    <a:pt x="1894" y="140"/>
                  </a:lnTo>
                  <a:lnTo>
                    <a:pt x="1873" y="140"/>
                  </a:lnTo>
                  <a:lnTo>
                    <a:pt x="1850" y="141"/>
                  </a:lnTo>
                  <a:lnTo>
                    <a:pt x="1823" y="145"/>
                  </a:lnTo>
                  <a:lnTo>
                    <a:pt x="1794" y="149"/>
                  </a:lnTo>
                  <a:lnTo>
                    <a:pt x="1791" y="146"/>
                  </a:lnTo>
                  <a:lnTo>
                    <a:pt x="1790" y="145"/>
                  </a:lnTo>
                  <a:lnTo>
                    <a:pt x="1789" y="142"/>
                  </a:lnTo>
                  <a:lnTo>
                    <a:pt x="1789" y="140"/>
                  </a:lnTo>
                  <a:lnTo>
                    <a:pt x="1793" y="136"/>
                  </a:lnTo>
                  <a:lnTo>
                    <a:pt x="1799" y="132"/>
                  </a:lnTo>
                  <a:lnTo>
                    <a:pt x="1817" y="122"/>
                  </a:lnTo>
                  <a:lnTo>
                    <a:pt x="1838" y="111"/>
                  </a:lnTo>
                  <a:lnTo>
                    <a:pt x="1847" y="104"/>
                  </a:lnTo>
                  <a:lnTo>
                    <a:pt x="1855" y="96"/>
                  </a:lnTo>
                  <a:lnTo>
                    <a:pt x="1859" y="92"/>
                  </a:lnTo>
                  <a:lnTo>
                    <a:pt x="1862" y="87"/>
                  </a:lnTo>
                  <a:lnTo>
                    <a:pt x="1863" y="83"/>
                  </a:lnTo>
                  <a:lnTo>
                    <a:pt x="1865" y="77"/>
                  </a:lnTo>
                  <a:lnTo>
                    <a:pt x="1866" y="72"/>
                  </a:lnTo>
                  <a:lnTo>
                    <a:pt x="1865" y="65"/>
                  </a:lnTo>
                  <a:lnTo>
                    <a:pt x="1863" y="60"/>
                  </a:lnTo>
                  <a:lnTo>
                    <a:pt x="1861" y="53"/>
                  </a:lnTo>
                  <a:lnTo>
                    <a:pt x="1857" y="47"/>
                  </a:lnTo>
                  <a:lnTo>
                    <a:pt x="1851" y="39"/>
                  </a:lnTo>
                  <a:lnTo>
                    <a:pt x="1845" y="31"/>
                  </a:lnTo>
                  <a:lnTo>
                    <a:pt x="1837" y="23"/>
                  </a:lnTo>
                  <a:lnTo>
                    <a:pt x="1822" y="16"/>
                  </a:lnTo>
                  <a:lnTo>
                    <a:pt x="1809" y="12"/>
                  </a:lnTo>
                  <a:lnTo>
                    <a:pt x="1795" y="8"/>
                  </a:lnTo>
                  <a:lnTo>
                    <a:pt x="1783" y="4"/>
                  </a:lnTo>
                  <a:lnTo>
                    <a:pt x="1771" y="3"/>
                  </a:lnTo>
                  <a:lnTo>
                    <a:pt x="1761" y="1"/>
                  </a:lnTo>
                  <a:lnTo>
                    <a:pt x="1751" y="0"/>
                  </a:lnTo>
                  <a:lnTo>
                    <a:pt x="1743" y="1"/>
                  </a:lnTo>
                  <a:lnTo>
                    <a:pt x="1734" y="3"/>
                  </a:lnTo>
                  <a:lnTo>
                    <a:pt x="1727" y="4"/>
                  </a:lnTo>
                  <a:lnTo>
                    <a:pt x="1721" y="7"/>
                  </a:lnTo>
                  <a:lnTo>
                    <a:pt x="1715" y="11"/>
                  </a:lnTo>
                  <a:lnTo>
                    <a:pt x="1711" y="13"/>
                  </a:lnTo>
                  <a:lnTo>
                    <a:pt x="1707" y="19"/>
                  </a:lnTo>
                  <a:lnTo>
                    <a:pt x="1705" y="24"/>
                  </a:lnTo>
                  <a:lnTo>
                    <a:pt x="1703" y="29"/>
                  </a:lnTo>
                  <a:lnTo>
                    <a:pt x="1697" y="36"/>
                  </a:lnTo>
                  <a:lnTo>
                    <a:pt x="1690" y="45"/>
                  </a:lnTo>
                  <a:lnTo>
                    <a:pt x="1683" y="55"/>
                  </a:lnTo>
                  <a:lnTo>
                    <a:pt x="1677" y="65"/>
                  </a:lnTo>
                  <a:lnTo>
                    <a:pt x="1665" y="89"/>
                  </a:lnTo>
                  <a:lnTo>
                    <a:pt x="1651" y="115"/>
                  </a:lnTo>
                  <a:lnTo>
                    <a:pt x="1638" y="141"/>
                  </a:lnTo>
                  <a:lnTo>
                    <a:pt x="1625" y="166"/>
                  </a:lnTo>
                  <a:lnTo>
                    <a:pt x="1610" y="189"/>
                  </a:lnTo>
                  <a:lnTo>
                    <a:pt x="1595" y="209"/>
                  </a:lnTo>
                  <a:lnTo>
                    <a:pt x="1591" y="214"/>
                  </a:lnTo>
                  <a:lnTo>
                    <a:pt x="1589" y="220"/>
                  </a:lnTo>
                  <a:lnTo>
                    <a:pt x="1587" y="225"/>
                  </a:lnTo>
                  <a:lnTo>
                    <a:pt x="1586" y="230"/>
                  </a:lnTo>
                  <a:lnTo>
                    <a:pt x="1586" y="241"/>
                  </a:lnTo>
                  <a:lnTo>
                    <a:pt x="1589" y="253"/>
                  </a:lnTo>
                  <a:lnTo>
                    <a:pt x="1597" y="276"/>
                  </a:lnTo>
                  <a:lnTo>
                    <a:pt x="1606" y="300"/>
                  </a:lnTo>
                  <a:lnTo>
                    <a:pt x="1609" y="312"/>
                  </a:lnTo>
                  <a:lnTo>
                    <a:pt x="1611" y="324"/>
                  </a:lnTo>
                  <a:lnTo>
                    <a:pt x="1611" y="329"/>
                  </a:lnTo>
                  <a:lnTo>
                    <a:pt x="1610" y="334"/>
                  </a:lnTo>
                  <a:lnTo>
                    <a:pt x="1609" y="341"/>
                  </a:lnTo>
                  <a:lnTo>
                    <a:pt x="1607" y="346"/>
                  </a:lnTo>
                  <a:lnTo>
                    <a:pt x="1605" y="352"/>
                  </a:lnTo>
                  <a:lnTo>
                    <a:pt x="1601" y="358"/>
                  </a:lnTo>
                  <a:lnTo>
                    <a:pt x="1595" y="364"/>
                  </a:lnTo>
                  <a:lnTo>
                    <a:pt x="1590" y="369"/>
                  </a:lnTo>
                  <a:lnTo>
                    <a:pt x="1582" y="374"/>
                  </a:lnTo>
                  <a:lnTo>
                    <a:pt x="1574" y="380"/>
                  </a:lnTo>
                  <a:lnTo>
                    <a:pt x="1565" y="385"/>
                  </a:lnTo>
                  <a:lnTo>
                    <a:pt x="1553" y="390"/>
                  </a:lnTo>
                  <a:lnTo>
                    <a:pt x="1546" y="388"/>
                  </a:lnTo>
                  <a:lnTo>
                    <a:pt x="1529" y="384"/>
                  </a:lnTo>
                  <a:lnTo>
                    <a:pt x="1518" y="382"/>
                  </a:lnTo>
                  <a:lnTo>
                    <a:pt x="1506" y="381"/>
                  </a:lnTo>
                  <a:lnTo>
                    <a:pt x="1495" y="381"/>
                  </a:lnTo>
                  <a:lnTo>
                    <a:pt x="1486" y="381"/>
                  </a:lnTo>
                  <a:lnTo>
                    <a:pt x="1482" y="382"/>
                  </a:lnTo>
                  <a:lnTo>
                    <a:pt x="1478" y="385"/>
                  </a:lnTo>
                  <a:lnTo>
                    <a:pt x="1475" y="386"/>
                  </a:lnTo>
                  <a:lnTo>
                    <a:pt x="1473" y="389"/>
                  </a:lnTo>
                  <a:lnTo>
                    <a:pt x="1471" y="393"/>
                  </a:lnTo>
                  <a:lnTo>
                    <a:pt x="1471" y="397"/>
                  </a:lnTo>
                  <a:lnTo>
                    <a:pt x="1473" y="402"/>
                  </a:lnTo>
                  <a:lnTo>
                    <a:pt x="1474" y="408"/>
                  </a:lnTo>
                  <a:lnTo>
                    <a:pt x="1477" y="414"/>
                  </a:lnTo>
                  <a:lnTo>
                    <a:pt x="1482" y="421"/>
                  </a:lnTo>
                  <a:lnTo>
                    <a:pt x="1487" y="430"/>
                  </a:lnTo>
                  <a:lnTo>
                    <a:pt x="1495" y="438"/>
                  </a:lnTo>
                  <a:lnTo>
                    <a:pt x="1514" y="461"/>
                  </a:lnTo>
                  <a:lnTo>
                    <a:pt x="1541" y="486"/>
                  </a:lnTo>
                  <a:lnTo>
                    <a:pt x="1519" y="477"/>
                  </a:lnTo>
                  <a:lnTo>
                    <a:pt x="1502" y="470"/>
                  </a:lnTo>
                  <a:lnTo>
                    <a:pt x="1487" y="468"/>
                  </a:lnTo>
                  <a:lnTo>
                    <a:pt x="1478" y="466"/>
                  </a:lnTo>
                  <a:lnTo>
                    <a:pt x="1463" y="466"/>
                  </a:lnTo>
                  <a:lnTo>
                    <a:pt x="1450" y="468"/>
                  </a:lnTo>
                  <a:lnTo>
                    <a:pt x="1437" y="484"/>
                  </a:lnTo>
                  <a:lnTo>
                    <a:pt x="1407" y="516"/>
                  </a:lnTo>
                  <a:lnTo>
                    <a:pt x="1391" y="533"/>
                  </a:lnTo>
                  <a:lnTo>
                    <a:pt x="1374" y="548"/>
                  </a:lnTo>
                  <a:lnTo>
                    <a:pt x="1365" y="553"/>
                  </a:lnTo>
                  <a:lnTo>
                    <a:pt x="1357" y="557"/>
                  </a:lnTo>
                  <a:lnTo>
                    <a:pt x="1349" y="558"/>
                  </a:lnTo>
                  <a:lnTo>
                    <a:pt x="1342" y="558"/>
                  </a:lnTo>
                  <a:lnTo>
                    <a:pt x="1339" y="558"/>
                  </a:lnTo>
                  <a:lnTo>
                    <a:pt x="1337" y="557"/>
                  </a:lnTo>
                  <a:lnTo>
                    <a:pt x="1335" y="554"/>
                  </a:lnTo>
                  <a:lnTo>
                    <a:pt x="1334" y="553"/>
                  </a:lnTo>
                  <a:lnTo>
                    <a:pt x="1334" y="546"/>
                  </a:lnTo>
                  <a:lnTo>
                    <a:pt x="1335" y="540"/>
                  </a:lnTo>
                  <a:lnTo>
                    <a:pt x="1342" y="524"/>
                  </a:lnTo>
                  <a:lnTo>
                    <a:pt x="1350" y="505"/>
                  </a:lnTo>
                  <a:lnTo>
                    <a:pt x="1354" y="496"/>
                  </a:lnTo>
                  <a:lnTo>
                    <a:pt x="1358" y="488"/>
                  </a:lnTo>
                  <a:lnTo>
                    <a:pt x="1359" y="478"/>
                  </a:lnTo>
                  <a:lnTo>
                    <a:pt x="1359" y="472"/>
                  </a:lnTo>
                  <a:lnTo>
                    <a:pt x="1359" y="468"/>
                  </a:lnTo>
                  <a:lnTo>
                    <a:pt x="1358" y="465"/>
                  </a:lnTo>
                  <a:lnTo>
                    <a:pt x="1357" y="462"/>
                  </a:lnTo>
                  <a:lnTo>
                    <a:pt x="1354" y="461"/>
                  </a:lnTo>
                  <a:lnTo>
                    <a:pt x="1351" y="458"/>
                  </a:lnTo>
                  <a:lnTo>
                    <a:pt x="1347" y="457"/>
                  </a:lnTo>
                  <a:lnTo>
                    <a:pt x="1342" y="457"/>
                  </a:lnTo>
                  <a:lnTo>
                    <a:pt x="1337" y="456"/>
                  </a:lnTo>
                  <a:lnTo>
                    <a:pt x="1322" y="468"/>
                  </a:lnTo>
                  <a:lnTo>
                    <a:pt x="1309" y="477"/>
                  </a:lnTo>
                  <a:lnTo>
                    <a:pt x="1295" y="486"/>
                  </a:lnTo>
                  <a:lnTo>
                    <a:pt x="1282" y="493"/>
                  </a:lnTo>
                  <a:lnTo>
                    <a:pt x="1270" y="498"/>
                  </a:lnTo>
                  <a:lnTo>
                    <a:pt x="1259" y="504"/>
                  </a:lnTo>
                  <a:lnTo>
                    <a:pt x="1249" y="506"/>
                  </a:lnTo>
                  <a:lnTo>
                    <a:pt x="1238" y="509"/>
                  </a:lnTo>
                  <a:lnTo>
                    <a:pt x="1198" y="517"/>
                  </a:lnTo>
                  <a:lnTo>
                    <a:pt x="1162" y="522"/>
                  </a:lnTo>
                  <a:lnTo>
                    <a:pt x="1142" y="524"/>
                  </a:lnTo>
                  <a:lnTo>
                    <a:pt x="1128" y="525"/>
                  </a:lnTo>
                  <a:lnTo>
                    <a:pt x="1118" y="528"/>
                  </a:lnTo>
                  <a:lnTo>
                    <a:pt x="1112" y="532"/>
                  </a:lnTo>
                  <a:lnTo>
                    <a:pt x="1110" y="533"/>
                  </a:lnTo>
                  <a:lnTo>
                    <a:pt x="1110" y="536"/>
                  </a:lnTo>
                  <a:lnTo>
                    <a:pt x="1110" y="538"/>
                  </a:lnTo>
                  <a:lnTo>
                    <a:pt x="1110" y="541"/>
                  </a:lnTo>
                  <a:lnTo>
                    <a:pt x="1113" y="548"/>
                  </a:lnTo>
                  <a:lnTo>
                    <a:pt x="1117" y="553"/>
                  </a:lnTo>
                  <a:lnTo>
                    <a:pt x="1128" y="566"/>
                  </a:lnTo>
                  <a:lnTo>
                    <a:pt x="1137" y="581"/>
                  </a:lnTo>
                  <a:lnTo>
                    <a:pt x="1140" y="588"/>
                  </a:lnTo>
                  <a:lnTo>
                    <a:pt x="1140" y="594"/>
                  </a:lnTo>
                  <a:lnTo>
                    <a:pt x="1140" y="598"/>
                  </a:lnTo>
                  <a:lnTo>
                    <a:pt x="1137" y="601"/>
                  </a:lnTo>
                  <a:lnTo>
                    <a:pt x="1136" y="604"/>
                  </a:lnTo>
                  <a:lnTo>
                    <a:pt x="1132" y="606"/>
                  </a:lnTo>
                  <a:lnTo>
                    <a:pt x="1125" y="612"/>
                  </a:lnTo>
                  <a:lnTo>
                    <a:pt x="1117" y="616"/>
                  </a:lnTo>
                  <a:lnTo>
                    <a:pt x="1106" y="618"/>
                  </a:lnTo>
                  <a:lnTo>
                    <a:pt x="1096" y="622"/>
                  </a:lnTo>
                  <a:lnTo>
                    <a:pt x="1069" y="629"/>
                  </a:lnTo>
                  <a:lnTo>
                    <a:pt x="1041" y="637"/>
                  </a:lnTo>
                  <a:lnTo>
                    <a:pt x="1010" y="645"/>
                  </a:lnTo>
                  <a:lnTo>
                    <a:pt x="980" y="656"/>
                  </a:lnTo>
                  <a:lnTo>
                    <a:pt x="965" y="662"/>
                  </a:lnTo>
                  <a:lnTo>
                    <a:pt x="952" y="669"/>
                  </a:lnTo>
                  <a:lnTo>
                    <a:pt x="938" y="677"/>
                  </a:lnTo>
                  <a:lnTo>
                    <a:pt x="926" y="685"/>
                  </a:lnTo>
                  <a:lnTo>
                    <a:pt x="906" y="698"/>
                  </a:lnTo>
                  <a:lnTo>
                    <a:pt x="888" y="713"/>
                  </a:lnTo>
                  <a:lnTo>
                    <a:pt x="870" y="726"/>
                  </a:lnTo>
                  <a:lnTo>
                    <a:pt x="854" y="741"/>
                  </a:lnTo>
                  <a:lnTo>
                    <a:pt x="822" y="769"/>
                  </a:lnTo>
                  <a:lnTo>
                    <a:pt x="796" y="797"/>
                  </a:lnTo>
                  <a:lnTo>
                    <a:pt x="769" y="826"/>
                  </a:lnTo>
                  <a:lnTo>
                    <a:pt x="746" y="855"/>
                  </a:lnTo>
                  <a:lnTo>
                    <a:pt x="725" y="885"/>
                  </a:lnTo>
                  <a:lnTo>
                    <a:pt x="704" y="914"/>
                  </a:lnTo>
                  <a:lnTo>
                    <a:pt x="700" y="921"/>
                  </a:lnTo>
                  <a:lnTo>
                    <a:pt x="696" y="930"/>
                  </a:lnTo>
                  <a:lnTo>
                    <a:pt x="694" y="939"/>
                  </a:lnTo>
                  <a:lnTo>
                    <a:pt x="693" y="950"/>
                  </a:lnTo>
                  <a:lnTo>
                    <a:pt x="694" y="962"/>
                  </a:lnTo>
                  <a:lnTo>
                    <a:pt x="696" y="974"/>
                  </a:lnTo>
                  <a:lnTo>
                    <a:pt x="698" y="986"/>
                  </a:lnTo>
                  <a:lnTo>
                    <a:pt x="701" y="999"/>
                  </a:lnTo>
                  <a:lnTo>
                    <a:pt x="709" y="1026"/>
                  </a:lnTo>
                  <a:lnTo>
                    <a:pt x="720" y="1054"/>
                  </a:lnTo>
                  <a:lnTo>
                    <a:pt x="729" y="1081"/>
                  </a:lnTo>
                  <a:lnTo>
                    <a:pt x="740" y="1106"/>
                  </a:lnTo>
                  <a:lnTo>
                    <a:pt x="748" y="1129"/>
                  </a:lnTo>
                  <a:lnTo>
                    <a:pt x="753" y="1147"/>
                  </a:lnTo>
                  <a:lnTo>
                    <a:pt x="756" y="1155"/>
                  </a:lnTo>
                  <a:lnTo>
                    <a:pt x="756" y="1162"/>
                  </a:lnTo>
                  <a:lnTo>
                    <a:pt x="756" y="1167"/>
                  </a:lnTo>
                  <a:lnTo>
                    <a:pt x="754" y="1170"/>
                  </a:lnTo>
                  <a:lnTo>
                    <a:pt x="750" y="1173"/>
                  </a:lnTo>
                  <a:lnTo>
                    <a:pt x="746" y="1173"/>
                  </a:lnTo>
                  <a:lnTo>
                    <a:pt x="740" y="1171"/>
                  </a:lnTo>
                  <a:lnTo>
                    <a:pt x="732" y="1167"/>
                  </a:lnTo>
                  <a:lnTo>
                    <a:pt x="722" y="1162"/>
                  </a:lnTo>
                  <a:lnTo>
                    <a:pt x="710" y="1154"/>
                  </a:lnTo>
                  <a:lnTo>
                    <a:pt x="696" y="1143"/>
                  </a:lnTo>
                  <a:lnTo>
                    <a:pt x="680" y="1130"/>
                  </a:lnTo>
                  <a:lnTo>
                    <a:pt x="649" y="1137"/>
                  </a:lnTo>
                  <a:lnTo>
                    <a:pt x="621" y="1142"/>
                  </a:lnTo>
                  <a:lnTo>
                    <a:pt x="594" y="1146"/>
                  </a:lnTo>
                  <a:lnTo>
                    <a:pt x="570" y="1149"/>
                  </a:lnTo>
                  <a:lnTo>
                    <a:pt x="526" y="1153"/>
                  </a:lnTo>
                  <a:lnTo>
                    <a:pt x="486" y="1153"/>
                  </a:lnTo>
                  <a:lnTo>
                    <a:pt x="451" y="1153"/>
                  </a:lnTo>
                  <a:lnTo>
                    <a:pt x="415" y="1151"/>
                  </a:lnTo>
                  <a:lnTo>
                    <a:pt x="380" y="1150"/>
                  </a:lnTo>
                  <a:lnTo>
                    <a:pt x="343" y="1149"/>
                  </a:lnTo>
                  <a:lnTo>
                    <a:pt x="317" y="1150"/>
                  </a:lnTo>
                  <a:lnTo>
                    <a:pt x="295" y="1151"/>
                  </a:lnTo>
                  <a:lnTo>
                    <a:pt x="273" y="1155"/>
                  </a:lnTo>
                  <a:lnTo>
                    <a:pt x="256" y="1161"/>
                  </a:lnTo>
                  <a:lnTo>
                    <a:pt x="241" y="1166"/>
                  </a:lnTo>
                  <a:lnTo>
                    <a:pt x="229" y="1175"/>
                  </a:lnTo>
                  <a:lnTo>
                    <a:pt x="224" y="1179"/>
                  </a:lnTo>
                  <a:lnTo>
                    <a:pt x="220" y="1185"/>
                  </a:lnTo>
                  <a:lnTo>
                    <a:pt x="216" y="1190"/>
                  </a:lnTo>
                  <a:lnTo>
                    <a:pt x="213" y="1195"/>
                  </a:lnTo>
                  <a:lnTo>
                    <a:pt x="211" y="1202"/>
                  </a:lnTo>
                  <a:lnTo>
                    <a:pt x="209" y="1207"/>
                  </a:lnTo>
                  <a:lnTo>
                    <a:pt x="208" y="1215"/>
                  </a:lnTo>
                  <a:lnTo>
                    <a:pt x="207" y="1222"/>
                  </a:lnTo>
                  <a:lnTo>
                    <a:pt x="208" y="1238"/>
                  </a:lnTo>
                  <a:lnTo>
                    <a:pt x="211" y="1255"/>
                  </a:lnTo>
                  <a:lnTo>
                    <a:pt x="216" y="1274"/>
                  </a:lnTo>
                  <a:lnTo>
                    <a:pt x="224" y="1295"/>
                  </a:lnTo>
                  <a:lnTo>
                    <a:pt x="233" y="1318"/>
                  </a:lnTo>
                  <a:lnTo>
                    <a:pt x="247" y="1342"/>
                  </a:lnTo>
                  <a:lnTo>
                    <a:pt x="249" y="1350"/>
                  </a:lnTo>
                  <a:lnTo>
                    <a:pt x="251" y="1359"/>
                  </a:lnTo>
                  <a:lnTo>
                    <a:pt x="249" y="1371"/>
                  </a:lnTo>
                  <a:lnTo>
                    <a:pt x="247" y="1382"/>
                  </a:lnTo>
                  <a:lnTo>
                    <a:pt x="240" y="1408"/>
                  </a:lnTo>
                  <a:lnTo>
                    <a:pt x="235" y="1435"/>
                  </a:lnTo>
                  <a:lnTo>
                    <a:pt x="233" y="1450"/>
                  </a:lnTo>
                  <a:lnTo>
                    <a:pt x="233" y="1463"/>
                  </a:lnTo>
                  <a:lnTo>
                    <a:pt x="235" y="1476"/>
                  </a:lnTo>
                  <a:lnTo>
                    <a:pt x="240" y="1490"/>
                  </a:lnTo>
                  <a:lnTo>
                    <a:pt x="243" y="1495"/>
                  </a:lnTo>
                  <a:lnTo>
                    <a:pt x="248" y="1502"/>
                  </a:lnTo>
                  <a:lnTo>
                    <a:pt x="253" y="1508"/>
                  </a:lnTo>
                  <a:lnTo>
                    <a:pt x="259" y="1514"/>
                  </a:lnTo>
                  <a:lnTo>
                    <a:pt x="267" y="1519"/>
                  </a:lnTo>
                  <a:lnTo>
                    <a:pt x="275" y="1524"/>
                  </a:lnTo>
                  <a:lnTo>
                    <a:pt x="284" y="1530"/>
                  </a:lnTo>
                  <a:lnTo>
                    <a:pt x="295" y="1534"/>
                  </a:lnTo>
                  <a:lnTo>
                    <a:pt x="299" y="1531"/>
                  </a:lnTo>
                  <a:lnTo>
                    <a:pt x="301" y="1530"/>
                  </a:lnTo>
                  <a:lnTo>
                    <a:pt x="305" y="1530"/>
                  </a:lnTo>
                  <a:lnTo>
                    <a:pt x="308" y="1531"/>
                  </a:lnTo>
                  <a:lnTo>
                    <a:pt x="313" y="1534"/>
                  </a:lnTo>
                  <a:lnTo>
                    <a:pt x="317" y="1540"/>
                  </a:lnTo>
                  <a:lnTo>
                    <a:pt x="325" y="1559"/>
                  </a:lnTo>
                  <a:lnTo>
                    <a:pt x="332" y="1582"/>
                  </a:lnTo>
                  <a:lnTo>
                    <a:pt x="335" y="1592"/>
                  </a:lnTo>
                  <a:lnTo>
                    <a:pt x="339" y="1603"/>
                  </a:lnTo>
                  <a:lnTo>
                    <a:pt x="341" y="1614"/>
                  </a:lnTo>
                  <a:lnTo>
                    <a:pt x="347" y="1622"/>
                  </a:lnTo>
                  <a:lnTo>
                    <a:pt x="349" y="1624"/>
                  </a:lnTo>
                  <a:lnTo>
                    <a:pt x="352" y="1627"/>
                  </a:lnTo>
                  <a:lnTo>
                    <a:pt x="355" y="1628"/>
                  </a:lnTo>
                  <a:lnTo>
                    <a:pt x="357" y="1630"/>
                  </a:lnTo>
                  <a:lnTo>
                    <a:pt x="361" y="1630"/>
                  </a:lnTo>
                  <a:lnTo>
                    <a:pt x="364" y="1628"/>
                  </a:lnTo>
                  <a:lnTo>
                    <a:pt x="368" y="1627"/>
                  </a:lnTo>
                  <a:lnTo>
                    <a:pt x="373" y="1624"/>
                  </a:lnTo>
                  <a:lnTo>
                    <a:pt x="392" y="1650"/>
                  </a:lnTo>
                  <a:lnTo>
                    <a:pt x="407" y="1672"/>
                  </a:lnTo>
                  <a:lnTo>
                    <a:pt x="412" y="1683"/>
                  </a:lnTo>
                  <a:lnTo>
                    <a:pt x="417" y="1694"/>
                  </a:lnTo>
                  <a:lnTo>
                    <a:pt x="420" y="1703"/>
                  </a:lnTo>
                  <a:lnTo>
                    <a:pt x="421" y="1714"/>
                  </a:lnTo>
                  <a:lnTo>
                    <a:pt x="421" y="1724"/>
                  </a:lnTo>
                  <a:lnTo>
                    <a:pt x="420" y="1735"/>
                  </a:lnTo>
                  <a:lnTo>
                    <a:pt x="416" y="1747"/>
                  </a:lnTo>
                  <a:lnTo>
                    <a:pt x="411" y="1759"/>
                  </a:lnTo>
                  <a:lnTo>
                    <a:pt x="404" y="1772"/>
                  </a:lnTo>
                  <a:lnTo>
                    <a:pt x="393" y="1786"/>
                  </a:lnTo>
                  <a:lnTo>
                    <a:pt x="381" y="1800"/>
                  </a:lnTo>
                  <a:lnTo>
                    <a:pt x="367" y="1816"/>
                  </a:lnTo>
                  <a:lnTo>
                    <a:pt x="377" y="1842"/>
                  </a:lnTo>
                  <a:lnTo>
                    <a:pt x="397" y="1897"/>
                  </a:lnTo>
                  <a:lnTo>
                    <a:pt x="408" y="1929"/>
                  </a:lnTo>
                  <a:lnTo>
                    <a:pt x="415" y="1961"/>
                  </a:lnTo>
                  <a:lnTo>
                    <a:pt x="417" y="1976"/>
                  </a:lnTo>
                  <a:lnTo>
                    <a:pt x="419" y="1989"/>
                  </a:lnTo>
                  <a:lnTo>
                    <a:pt x="417" y="2000"/>
                  </a:lnTo>
                  <a:lnTo>
                    <a:pt x="415" y="2009"/>
                  </a:lnTo>
                  <a:lnTo>
                    <a:pt x="401" y="2033"/>
                  </a:lnTo>
                  <a:lnTo>
                    <a:pt x="389" y="2053"/>
                  </a:lnTo>
                  <a:lnTo>
                    <a:pt x="379" y="2069"/>
                  </a:lnTo>
                  <a:lnTo>
                    <a:pt x="369" y="2081"/>
                  </a:lnTo>
                  <a:lnTo>
                    <a:pt x="361" y="2091"/>
                  </a:lnTo>
                  <a:lnTo>
                    <a:pt x="355" y="2097"/>
                  </a:lnTo>
                  <a:lnTo>
                    <a:pt x="349" y="2101"/>
                  </a:lnTo>
                  <a:lnTo>
                    <a:pt x="344" y="2103"/>
                  </a:lnTo>
                  <a:lnTo>
                    <a:pt x="340" y="2101"/>
                  </a:lnTo>
                  <a:lnTo>
                    <a:pt x="336" y="2099"/>
                  </a:lnTo>
                  <a:lnTo>
                    <a:pt x="333" y="2095"/>
                  </a:lnTo>
                  <a:lnTo>
                    <a:pt x="331" y="2089"/>
                  </a:lnTo>
                  <a:lnTo>
                    <a:pt x="325" y="2077"/>
                  </a:lnTo>
                  <a:lnTo>
                    <a:pt x="319" y="2064"/>
                  </a:lnTo>
                  <a:lnTo>
                    <a:pt x="335" y="2025"/>
                  </a:lnTo>
                  <a:lnTo>
                    <a:pt x="347" y="1992"/>
                  </a:lnTo>
                  <a:lnTo>
                    <a:pt x="355" y="1961"/>
                  </a:lnTo>
                  <a:lnTo>
                    <a:pt x="360" y="1936"/>
                  </a:lnTo>
                  <a:lnTo>
                    <a:pt x="363" y="1915"/>
                  </a:lnTo>
                  <a:lnTo>
                    <a:pt x="361" y="1897"/>
                  </a:lnTo>
                  <a:lnTo>
                    <a:pt x="360" y="1891"/>
                  </a:lnTo>
                  <a:lnTo>
                    <a:pt x="359" y="1885"/>
                  </a:lnTo>
                  <a:lnTo>
                    <a:pt x="356" y="1881"/>
                  </a:lnTo>
                  <a:lnTo>
                    <a:pt x="353" y="1877"/>
                  </a:lnTo>
                  <a:lnTo>
                    <a:pt x="349" y="1876"/>
                  </a:lnTo>
                  <a:lnTo>
                    <a:pt x="347" y="1876"/>
                  </a:lnTo>
                  <a:lnTo>
                    <a:pt x="343" y="1876"/>
                  </a:lnTo>
                  <a:lnTo>
                    <a:pt x="337" y="1879"/>
                  </a:lnTo>
                  <a:lnTo>
                    <a:pt x="333" y="1883"/>
                  </a:lnTo>
                  <a:lnTo>
                    <a:pt x="328" y="1888"/>
                  </a:lnTo>
                  <a:lnTo>
                    <a:pt x="323" y="1893"/>
                  </a:lnTo>
                  <a:lnTo>
                    <a:pt x="317" y="1901"/>
                  </a:lnTo>
                  <a:lnTo>
                    <a:pt x="305" y="1923"/>
                  </a:lnTo>
                  <a:lnTo>
                    <a:pt x="293" y="1949"/>
                  </a:lnTo>
                  <a:lnTo>
                    <a:pt x="283" y="1981"/>
                  </a:lnTo>
                  <a:lnTo>
                    <a:pt x="271" y="2021"/>
                  </a:lnTo>
                  <a:lnTo>
                    <a:pt x="272" y="2003"/>
                  </a:lnTo>
                  <a:lnTo>
                    <a:pt x="276" y="1973"/>
                  </a:lnTo>
                  <a:lnTo>
                    <a:pt x="283" y="1939"/>
                  </a:lnTo>
                  <a:lnTo>
                    <a:pt x="292" y="1901"/>
                  </a:lnTo>
                  <a:lnTo>
                    <a:pt x="301" y="1863"/>
                  </a:lnTo>
                  <a:lnTo>
                    <a:pt x="311" y="1828"/>
                  </a:lnTo>
                  <a:lnTo>
                    <a:pt x="316" y="1814"/>
                  </a:lnTo>
                  <a:lnTo>
                    <a:pt x="321" y="1800"/>
                  </a:lnTo>
                  <a:lnTo>
                    <a:pt x="327" y="1790"/>
                  </a:lnTo>
                  <a:lnTo>
                    <a:pt x="331" y="1780"/>
                  </a:lnTo>
                  <a:lnTo>
                    <a:pt x="351" y="1744"/>
                  </a:lnTo>
                  <a:lnTo>
                    <a:pt x="365" y="1716"/>
                  </a:lnTo>
                  <a:lnTo>
                    <a:pt x="369" y="1704"/>
                  </a:lnTo>
                  <a:lnTo>
                    <a:pt x="373" y="1695"/>
                  </a:lnTo>
                  <a:lnTo>
                    <a:pt x="375" y="1687"/>
                  </a:lnTo>
                  <a:lnTo>
                    <a:pt x="376" y="1679"/>
                  </a:lnTo>
                  <a:lnTo>
                    <a:pt x="376" y="1674"/>
                  </a:lnTo>
                  <a:lnTo>
                    <a:pt x="375" y="1670"/>
                  </a:lnTo>
                  <a:lnTo>
                    <a:pt x="372" y="1666"/>
                  </a:lnTo>
                  <a:lnTo>
                    <a:pt x="369" y="1663"/>
                  </a:lnTo>
                  <a:lnTo>
                    <a:pt x="365" y="1662"/>
                  </a:lnTo>
                  <a:lnTo>
                    <a:pt x="360" y="1662"/>
                  </a:lnTo>
                  <a:lnTo>
                    <a:pt x="356" y="1660"/>
                  </a:lnTo>
                  <a:lnTo>
                    <a:pt x="349" y="1662"/>
                  </a:lnTo>
                  <a:lnTo>
                    <a:pt x="323" y="1664"/>
                  </a:lnTo>
                  <a:lnTo>
                    <a:pt x="292" y="1667"/>
                  </a:lnTo>
                  <a:lnTo>
                    <a:pt x="285" y="1666"/>
                  </a:lnTo>
                  <a:lnTo>
                    <a:pt x="279" y="1664"/>
                  </a:lnTo>
                  <a:lnTo>
                    <a:pt x="272" y="1663"/>
                  </a:lnTo>
                  <a:lnTo>
                    <a:pt x="265" y="1659"/>
                  </a:lnTo>
                  <a:lnTo>
                    <a:pt x="260" y="1655"/>
                  </a:lnTo>
                  <a:lnTo>
                    <a:pt x="255" y="1651"/>
                  </a:lnTo>
                  <a:lnTo>
                    <a:pt x="251" y="1644"/>
                  </a:lnTo>
                  <a:lnTo>
                    <a:pt x="247" y="1636"/>
                  </a:lnTo>
                  <a:lnTo>
                    <a:pt x="239" y="1619"/>
                  </a:lnTo>
                  <a:lnTo>
                    <a:pt x="231" y="1604"/>
                  </a:lnTo>
                  <a:lnTo>
                    <a:pt x="223" y="1591"/>
                  </a:lnTo>
                  <a:lnTo>
                    <a:pt x="215" y="1579"/>
                  </a:lnTo>
                  <a:lnTo>
                    <a:pt x="199" y="1559"/>
                  </a:lnTo>
                  <a:lnTo>
                    <a:pt x="181" y="1542"/>
                  </a:lnTo>
                  <a:lnTo>
                    <a:pt x="163" y="1524"/>
                  </a:lnTo>
                  <a:lnTo>
                    <a:pt x="141" y="1506"/>
                  </a:lnTo>
                  <a:lnTo>
                    <a:pt x="117" y="1483"/>
                  </a:lnTo>
                  <a:lnTo>
                    <a:pt x="89" y="1455"/>
                  </a:lnTo>
                  <a:lnTo>
                    <a:pt x="89" y="1458"/>
                  </a:lnTo>
                  <a:lnTo>
                    <a:pt x="88" y="1460"/>
                  </a:lnTo>
                  <a:lnTo>
                    <a:pt x="85" y="1462"/>
                  </a:lnTo>
                  <a:lnTo>
                    <a:pt x="81" y="1464"/>
                  </a:lnTo>
                  <a:lnTo>
                    <a:pt x="72" y="1467"/>
                  </a:lnTo>
                  <a:lnTo>
                    <a:pt x="60" y="1467"/>
                  </a:lnTo>
                  <a:lnTo>
                    <a:pt x="56" y="1474"/>
                  </a:lnTo>
                  <a:lnTo>
                    <a:pt x="53" y="1479"/>
                  </a:lnTo>
                  <a:lnTo>
                    <a:pt x="52" y="1484"/>
                  </a:lnTo>
                  <a:lnTo>
                    <a:pt x="52" y="1488"/>
                  </a:lnTo>
                  <a:lnTo>
                    <a:pt x="53" y="1498"/>
                  </a:lnTo>
                  <a:lnTo>
                    <a:pt x="53" y="1510"/>
                  </a:lnTo>
                  <a:lnTo>
                    <a:pt x="55" y="1522"/>
                  </a:lnTo>
                  <a:lnTo>
                    <a:pt x="59" y="1531"/>
                  </a:lnTo>
                  <a:lnTo>
                    <a:pt x="64" y="1538"/>
                  </a:lnTo>
                  <a:lnTo>
                    <a:pt x="71" y="1544"/>
                  </a:lnTo>
                  <a:lnTo>
                    <a:pt x="79" y="1550"/>
                  </a:lnTo>
                  <a:lnTo>
                    <a:pt x="88" y="1554"/>
                  </a:lnTo>
                  <a:lnTo>
                    <a:pt x="99" y="1558"/>
                  </a:lnTo>
                  <a:lnTo>
                    <a:pt x="108" y="1562"/>
                  </a:lnTo>
                  <a:lnTo>
                    <a:pt x="119" y="1566"/>
                  </a:lnTo>
                  <a:lnTo>
                    <a:pt x="129" y="1570"/>
                  </a:lnTo>
                  <a:lnTo>
                    <a:pt x="139" y="1575"/>
                  </a:lnTo>
                  <a:lnTo>
                    <a:pt x="148" y="1580"/>
                  </a:lnTo>
                  <a:lnTo>
                    <a:pt x="155" y="1587"/>
                  </a:lnTo>
                  <a:lnTo>
                    <a:pt x="161" y="1595"/>
                  </a:lnTo>
                  <a:lnTo>
                    <a:pt x="165" y="1606"/>
                  </a:lnTo>
                  <a:lnTo>
                    <a:pt x="168" y="1618"/>
                  </a:lnTo>
                  <a:lnTo>
                    <a:pt x="169" y="1636"/>
                  </a:lnTo>
                  <a:lnTo>
                    <a:pt x="168" y="1652"/>
                  </a:lnTo>
                  <a:lnTo>
                    <a:pt x="165" y="1664"/>
                  </a:lnTo>
                  <a:lnTo>
                    <a:pt x="160" y="1674"/>
                  </a:lnTo>
                  <a:lnTo>
                    <a:pt x="153" y="1682"/>
                  </a:lnTo>
                  <a:lnTo>
                    <a:pt x="147" y="1688"/>
                  </a:lnTo>
                  <a:lnTo>
                    <a:pt x="139" y="1692"/>
                  </a:lnTo>
                  <a:lnTo>
                    <a:pt x="131" y="1696"/>
                  </a:lnTo>
                  <a:lnTo>
                    <a:pt x="113" y="1703"/>
                  </a:lnTo>
                  <a:lnTo>
                    <a:pt x="99" y="1710"/>
                  </a:lnTo>
                  <a:lnTo>
                    <a:pt x="92" y="1715"/>
                  </a:lnTo>
                  <a:lnTo>
                    <a:pt x="88" y="1720"/>
                  </a:lnTo>
                  <a:lnTo>
                    <a:pt x="85" y="1728"/>
                  </a:lnTo>
                  <a:lnTo>
                    <a:pt x="84" y="1739"/>
                  </a:lnTo>
                  <a:lnTo>
                    <a:pt x="85" y="1748"/>
                  </a:lnTo>
                  <a:lnTo>
                    <a:pt x="88" y="1758"/>
                  </a:lnTo>
                  <a:lnTo>
                    <a:pt x="92" y="1767"/>
                  </a:lnTo>
                  <a:lnTo>
                    <a:pt x="97" y="1776"/>
                  </a:lnTo>
                  <a:lnTo>
                    <a:pt x="111" y="1794"/>
                  </a:lnTo>
                  <a:lnTo>
                    <a:pt x="125" y="1814"/>
                  </a:lnTo>
                  <a:lnTo>
                    <a:pt x="133" y="1823"/>
                  </a:lnTo>
                  <a:lnTo>
                    <a:pt x="141" y="1834"/>
                  </a:lnTo>
                  <a:lnTo>
                    <a:pt x="148" y="1846"/>
                  </a:lnTo>
                  <a:lnTo>
                    <a:pt x="155" y="1858"/>
                  </a:lnTo>
                  <a:lnTo>
                    <a:pt x="160" y="1871"/>
                  </a:lnTo>
                  <a:lnTo>
                    <a:pt x="164" y="1885"/>
                  </a:lnTo>
                  <a:lnTo>
                    <a:pt x="167" y="1901"/>
                  </a:lnTo>
                  <a:lnTo>
                    <a:pt x="168" y="1919"/>
                  </a:lnTo>
                  <a:lnTo>
                    <a:pt x="168" y="1933"/>
                  </a:lnTo>
                  <a:lnTo>
                    <a:pt x="167" y="1945"/>
                  </a:lnTo>
                  <a:lnTo>
                    <a:pt x="164" y="1957"/>
                  </a:lnTo>
                  <a:lnTo>
                    <a:pt x="161" y="1968"/>
                  </a:lnTo>
                  <a:lnTo>
                    <a:pt x="157" y="1977"/>
                  </a:lnTo>
                  <a:lnTo>
                    <a:pt x="152" y="1987"/>
                  </a:lnTo>
                  <a:lnTo>
                    <a:pt x="148" y="1995"/>
                  </a:lnTo>
                  <a:lnTo>
                    <a:pt x="141" y="2001"/>
                  </a:lnTo>
                  <a:lnTo>
                    <a:pt x="129" y="2015"/>
                  </a:lnTo>
                  <a:lnTo>
                    <a:pt x="115" y="2024"/>
                  </a:lnTo>
                  <a:lnTo>
                    <a:pt x="100" y="2033"/>
                  </a:lnTo>
                  <a:lnTo>
                    <a:pt x="84" y="2041"/>
                  </a:lnTo>
                  <a:lnTo>
                    <a:pt x="68" y="2051"/>
                  </a:lnTo>
                  <a:lnTo>
                    <a:pt x="53" y="2059"/>
                  </a:lnTo>
                  <a:lnTo>
                    <a:pt x="39" y="2069"/>
                  </a:lnTo>
                  <a:lnTo>
                    <a:pt x="25" y="2081"/>
                  </a:lnTo>
                  <a:lnTo>
                    <a:pt x="20" y="2088"/>
                  </a:lnTo>
                  <a:lnTo>
                    <a:pt x="15" y="2095"/>
                  </a:lnTo>
                  <a:lnTo>
                    <a:pt x="11" y="2104"/>
                  </a:lnTo>
                  <a:lnTo>
                    <a:pt x="7" y="2113"/>
                  </a:lnTo>
                  <a:lnTo>
                    <a:pt x="4" y="2123"/>
                  </a:lnTo>
                  <a:lnTo>
                    <a:pt x="1" y="2135"/>
                  </a:lnTo>
                  <a:lnTo>
                    <a:pt x="0" y="2147"/>
                  </a:lnTo>
                  <a:lnTo>
                    <a:pt x="0" y="2160"/>
                  </a:lnTo>
                  <a:lnTo>
                    <a:pt x="0" y="2172"/>
                  </a:lnTo>
                  <a:lnTo>
                    <a:pt x="4" y="2184"/>
                  </a:lnTo>
                  <a:lnTo>
                    <a:pt x="9" y="2197"/>
                  </a:lnTo>
                  <a:lnTo>
                    <a:pt x="17" y="2211"/>
                  </a:lnTo>
                  <a:lnTo>
                    <a:pt x="27" y="2224"/>
                  </a:lnTo>
                  <a:lnTo>
                    <a:pt x="37" y="2237"/>
                  </a:lnTo>
                  <a:lnTo>
                    <a:pt x="48" y="2251"/>
                  </a:lnTo>
                  <a:lnTo>
                    <a:pt x="61" y="2264"/>
                  </a:lnTo>
                  <a:lnTo>
                    <a:pt x="75" y="2276"/>
                  </a:lnTo>
                  <a:lnTo>
                    <a:pt x="88" y="2287"/>
                  </a:lnTo>
                  <a:lnTo>
                    <a:pt x="103" y="2297"/>
                  </a:lnTo>
                  <a:lnTo>
                    <a:pt x="116" y="2305"/>
                  </a:lnTo>
                  <a:lnTo>
                    <a:pt x="131" y="2313"/>
                  </a:lnTo>
                  <a:lnTo>
                    <a:pt x="144" y="2319"/>
                  </a:lnTo>
                  <a:lnTo>
                    <a:pt x="156" y="2321"/>
                  </a:lnTo>
                  <a:lnTo>
                    <a:pt x="168" y="2323"/>
                  </a:lnTo>
                  <a:lnTo>
                    <a:pt x="180" y="2323"/>
                  </a:lnTo>
                  <a:lnTo>
                    <a:pt x="188" y="2321"/>
                  </a:lnTo>
                  <a:lnTo>
                    <a:pt x="195" y="2319"/>
                  </a:lnTo>
                  <a:lnTo>
                    <a:pt x="199" y="2317"/>
                  </a:lnTo>
                  <a:lnTo>
                    <a:pt x="203" y="2316"/>
                  </a:lnTo>
                  <a:lnTo>
                    <a:pt x="207" y="2315"/>
                  </a:lnTo>
                  <a:lnTo>
                    <a:pt x="211" y="2315"/>
                  </a:lnTo>
                  <a:lnTo>
                    <a:pt x="216" y="2316"/>
                  </a:lnTo>
                  <a:lnTo>
                    <a:pt x="227" y="2329"/>
                  </a:lnTo>
                  <a:lnTo>
                    <a:pt x="239" y="2340"/>
                  </a:lnTo>
                  <a:lnTo>
                    <a:pt x="252" y="2352"/>
                  </a:lnTo>
                  <a:lnTo>
                    <a:pt x="264" y="2364"/>
                  </a:lnTo>
                  <a:lnTo>
                    <a:pt x="271" y="2369"/>
                  </a:lnTo>
                  <a:lnTo>
                    <a:pt x="276" y="2377"/>
                  </a:lnTo>
                  <a:lnTo>
                    <a:pt x="281" y="2384"/>
                  </a:lnTo>
                  <a:lnTo>
                    <a:pt x="285" y="2393"/>
                  </a:lnTo>
                  <a:lnTo>
                    <a:pt x="289" y="2403"/>
                  </a:lnTo>
                  <a:lnTo>
                    <a:pt x="292" y="2413"/>
                  </a:lnTo>
                  <a:lnTo>
                    <a:pt x="293" y="2424"/>
                  </a:lnTo>
                  <a:lnTo>
                    <a:pt x="295" y="2437"/>
                  </a:lnTo>
                  <a:lnTo>
                    <a:pt x="295" y="2449"/>
                  </a:lnTo>
                  <a:lnTo>
                    <a:pt x="295" y="2461"/>
                  </a:lnTo>
                  <a:lnTo>
                    <a:pt x="293" y="2470"/>
                  </a:lnTo>
                  <a:lnTo>
                    <a:pt x="291" y="2480"/>
                  </a:lnTo>
                  <a:lnTo>
                    <a:pt x="287" y="2488"/>
                  </a:lnTo>
                  <a:lnTo>
                    <a:pt x="281" y="2496"/>
                  </a:lnTo>
                  <a:lnTo>
                    <a:pt x="275" y="2502"/>
                  </a:lnTo>
                  <a:lnTo>
                    <a:pt x="264" y="2509"/>
                  </a:lnTo>
                  <a:lnTo>
                    <a:pt x="271" y="2540"/>
                  </a:lnTo>
                  <a:lnTo>
                    <a:pt x="276" y="2557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60" name="Freeform 45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4930775" y="3333750"/>
              <a:ext cx="1208088" cy="1235075"/>
            </a:xfrm>
            <a:custGeom>
              <a:avLst/>
              <a:gdLst/>
              <a:ahLst/>
              <a:cxnLst>
                <a:cxn ang="0">
                  <a:pos x="1236" y="135"/>
                </a:cxn>
                <a:cxn ang="0">
                  <a:pos x="1330" y="305"/>
                </a:cxn>
                <a:cxn ang="0">
                  <a:pos x="1437" y="417"/>
                </a:cxn>
                <a:cxn ang="0">
                  <a:pos x="1516" y="633"/>
                </a:cxn>
                <a:cxn ang="0">
                  <a:pos x="1560" y="1014"/>
                </a:cxn>
                <a:cxn ang="0">
                  <a:pos x="1644" y="1186"/>
                </a:cxn>
                <a:cxn ang="0">
                  <a:pos x="1862" y="1019"/>
                </a:cxn>
                <a:cxn ang="0">
                  <a:pos x="1997" y="1063"/>
                </a:cxn>
                <a:cxn ang="0">
                  <a:pos x="2133" y="708"/>
                </a:cxn>
                <a:cxn ang="0">
                  <a:pos x="2301" y="602"/>
                </a:cxn>
                <a:cxn ang="0">
                  <a:pos x="2449" y="750"/>
                </a:cxn>
                <a:cxn ang="0">
                  <a:pos x="2627" y="722"/>
                </a:cxn>
                <a:cxn ang="0">
                  <a:pos x="2819" y="951"/>
                </a:cxn>
                <a:cxn ang="0">
                  <a:pos x="2620" y="1019"/>
                </a:cxn>
                <a:cxn ang="0">
                  <a:pos x="2740" y="1253"/>
                </a:cxn>
                <a:cxn ang="0">
                  <a:pos x="2679" y="1416"/>
                </a:cxn>
                <a:cxn ang="0">
                  <a:pos x="2559" y="1355"/>
                </a:cxn>
                <a:cxn ang="0">
                  <a:pos x="2379" y="1552"/>
                </a:cxn>
                <a:cxn ang="0">
                  <a:pos x="2278" y="1616"/>
                </a:cxn>
                <a:cxn ang="0">
                  <a:pos x="2154" y="1598"/>
                </a:cxn>
                <a:cxn ang="0">
                  <a:pos x="1987" y="1578"/>
                </a:cxn>
                <a:cxn ang="0">
                  <a:pos x="1837" y="1674"/>
                </a:cxn>
                <a:cxn ang="0">
                  <a:pos x="1773" y="1770"/>
                </a:cxn>
                <a:cxn ang="0">
                  <a:pos x="1688" y="1895"/>
                </a:cxn>
                <a:cxn ang="0">
                  <a:pos x="1733" y="2131"/>
                </a:cxn>
                <a:cxn ang="0">
                  <a:pos x="1826" y="2313"/>
                </a:cxn>
                <a:cxn ang="0">
                  <a:pos x="1680" y="2802"/>
                </a:cxn>
                <a:cxn ang="0">
                  <a:pos x="1528" y="3022"/>
                </a:cxn>
                <a:cxn ang="0">
                  <a:pos x="1385" y="3173"/>
                </a:cxn>
                <a:cxn ang="0">
                  <a:pos x="1308" y="3305"/>
                </a:cxn>
                <a:cxn ang="0">
                  <a:pos x="1257" y="3225"/>
                </a:cxn>
                <a:cxn ang="0">
                  <a:pos x="1085" y="3106"/>
                </a:cxn>
                <a:cxn ang="0">
                  <a:pos x="923" y="3038"/>
                </a:cxn>
                <a:cxn ang="0">
                  <a:pos x="713" y="2926"/>
                </a:cxn>
                <a:cxn ang="0">
                  <a:pos x="623" y="2872"/>
                </a:cxn>
                <a:cxn ang="0">
                  <a:pos x="456" y="2944"/>
                </a:cxn>
                <a:cxn ang="0">
                  <a:pos x="218" y="2820"/>
                </a:cxn>
                <a:cxn ang="0">
                  <a:pos x="74" y="2764"/>
                </a:cxn>
                <a:cxn ang="0">
                  <a:pos x="56" y="2628"/>
                </a:cxn>
                <a:cxn ang="0">
                  <a:pos x="139" y="2540"/>
                </a:cxn>
                <a:cxn ang="0">
                  <a:pos x="139" y="2364"/>
                </a:cxn>
                <a:cxn ang="0">
                  <a:pos x="204" y="2204"/>
                </a:cxn>
                <a:cxn ang="0">
                  <a:pos x="215" y="2036"/>
                </a:cxn>
                <a:cxn ang="0">
                  <a:pos x="222" y="1818"/>
                </a:cxn>
                <a:cxn ang="0">
                  <a:pos x="419" y="1743"/>
                </a:cxn>
                <a:cxn ang="0">
                  <a:pos x="545" y="1778"/>
                </a:cxn>
                <a:cxn ang="0">
                  <a:pos x="617" y="1806"/>
                </a:cxn>
                <a:cxn ang="0">
                  <a:pos x="677" y="1604"/>
                </a:cxn>
                <a:cxn ang="0">
                  <a:pos x="768" y="1440"/>
                </a:cxn>
                <a:cxn ang="0">
                  <a:pos x="835" y="1338"/>
                </a:cxn>
                <a:cxn ang="0">
                  <a:pos x="1032" y="1454"/>
                </a:cxn>
                <a:cxn ang="0">
                  <a:pos x="1084" y="1326"/>
                </a:cxn>
                <a:cxn ang="0">
                  <a:pos x="1009" y="1186"/>
                </a:cxn>
                <a:cxn ang="0">
                  <a:pos x="940" y="1030"/>
                </a:cxn>
                <a:cxn ang="0">
                  <a:pos x="941" y="794"/>
                </a:cxn>
                <a:cxn ang="0">
                  <a:pos x="1016" y="678"/>
                </a:cxn>
                <a:cxn ang="0">
                  <a:pos x="1053" y="537"/>
                </a:cxn>
                <a:cxn ang="0">
                  <a:pos x="1048" y="404"/>
                </a:cxn>
                <a:cxn ang="0">
                  <a:pos x="1017" y="244"/>
                </a:cxn>
                <a:cxn ang="0">
                  <a:pos x="988" y="116"/>
                </a:cxn>
                <a:cxn ang="0">
                  <a:pos x="1132" y="8"/>
                </a:cxn>
              </a:cxnLst>
              <a:rect l="0" t="0" r="r" b="b"/>
              <a:pathLst>
                <a:path w="2819" h="3306">
                  <a:moveTo>
                    <a:pt x="1174" y="12"/>
                  </a:moveTo>
                  <a:lnTo>
                    <a:pt x="1184" y="17"/>
                  </a:lnTo>
                  <a:lnTo>
                    <a:pt x="1188" y="21"/>
                  </a:lnTo>
                  <a:lnTo>
                    <a:pt x="1188" y="27"/>
                  </a:lnTo>
                  <a:lnTo>
                    <a:pt x="1186" y="43"/>
                  </a:lnTo>
                  <a:lnTo>
                    <a:pt x="1186" y="55"/>
                  </a:lnTo>
                  <a:lnTo>
                    <a:pt x="1182" y="65"/>
                  </a:lnTo>
                  <a:lnTo>
                    <a:pt x="1178" y="73"/>
                  </a:lnTo>
                  <a:lnTo>
                    <a:pt x="1174" y="81"/>
                  </a:lnTo>
                  <a:lnTo>
                    <a:pt x="1169" y="88"/>
                  </a:lnTo>
                  <a:lnTo>
                    <a:pt x="1164" y="96"/>
                  </a:lnTo>
                  <a:lnTo>
                    <a:pt x="1160" y="104"/>
                  </a:lnTo>
                  <a:lnTo>
                    <a:pt x="1157" y="115"/>
                  </a:lnTo>
                  <a:lnTo>
                    <a:pt x="1186" y="120"/>
                  </a:lnTo>
                  <a:lnTo>
                    <a:pt x="1213" y="127"/>
                  </a:lnTo>
                  <a:lnTo>
                    <a:pt x="1224" y="131"/>
                  </a:lnTo>
                  <a:lnTo>
                    <a:pt x="1236" y="135"/>
                  </a:lnTo>
                  <a:lnTo>
                    <a:pt x="1245" y="140"/>
                  </a:lnTo>
                  <a:lnTo>
                    <a:pt x="1254" y="145"/>
                  </a:lnTo>
                  <a:lnTo>
                    <a:pt x="1264" y="152"/>
                  </a:lnTo>
                  <a:lnTo>
                    <a:pt x="1272" y="159"/>
                  </a:lnTo>
                  <a:lnTo>
                    <a:pt x="1278" y="167"/>
                  </a:lnTo>
                  <a:lnTo>
                    <a:pt x="1285" y="175"/>
                  </a:lnTo>
                  <a:lnTo>
                    <a:pt x="1292" y="184"/>
                  </a:lnTo>
                  <a:lnTo>
                    <a:pt x="1297" y="195"/>
                  </a:lnTo>
                  <a:lnTo>
                    <a:pt x="1302" y="205"/>
                  </a:lnTo>
                  <a:lnTo>
                    <a:pt x="1308" y="217"/>
                  </a:lnTo>
                  <a:lnTo>
                    <a:pt x="1313" y="226"/>
                  </a:lnTo>
                  <a:lnTo>
                    <a:pt x="1317" y="234"/>
                  </a:lnTo>
                  <a:lnTo>
                    <a:pt x="1320" y="244"/>
                  </a:lnTo>
                  <a:lnTo>
                    <a:pt x="1322" y="252"/>
                  </a:lnTo>
                  <a:lnTo>
                    <a:pt x="1326" y="269"/>
                  </a:lnTo>
                  <a:lnTo>
                    <a:pt x="1329" y="286"/>
                  </a:lnTo>
                  <a:lnTo>
                    <a:pt x="1330" y="305"/>
                  </a:lnTo>
                  <a:lnTo>
                    <a:pt x="1334" y="322"/>
                  </a:lnTo>
                  <a:lnTo>
                    <a:pt x="1337" y="332"/>
                  </a:lnTo>
                  <a:lnTo>
                    <a:pt x="1340" y="342"/>
                  </a:lnTo>
                  <a:lnTo>
                    <a:pt x="1344" y="352"/>
                  </a:lnTo>
                  <a:lnTo>
                    <a:pt x="1349" y="361"/>
                  </a:lnTo>
                  <a:lnTo>
                    <a:pt x="1353" y="366"/>
                  </a:lnTo>
                  <a:lnTo>
                    <a:pt x="1358" y="372"/>
                  </a:lnTo>
                  <a:lnTo>
                    <a:pt x="1365" y="374"/>
                  </a:lnTo>
                  <a:lnTo>
                    <a:pt x="1372" y="378"/>
                  </a:lnTo>
                  <a:lnTo>
                    <a:pt x="1386" y="384"/>
                  </a:lnTo>
                  <a:lnTo>
                    <a:pt x="1401" y="389"/>
                  </a:lnTo>
                  <a:lnTo>
                    <a:pt x="1409" y="392"/>
                  </a:lnTo>
                  <a:lnTo>
                    <a:pt x="1416" y="396"/>
                  </a:lnTo>
                  <a:lnTo>
                    <a:pt x="1422" y="400"/>
                  </a:lnTo>
                  <a:lnTo>
                    <a:pt x="1428" y="404"/>
                  </a:lnTo>
                  <a:lnTo>
                    <a:pt x="1433" y="409"/>
                  </a:lnTo>
                  <a:lnTo>
                    <a:pt x="1437" y="417"/>
                  </a:lnTo>
                  <a:lnTo>
                    <a:pt x="1438" y="425"/>
                  </a:lnTo>
                  <a:lnTo>
                    <a:pt x="1440" y="434"/>
                  </a:lnTo>
                  <a:lnTo>
                    <a:pt x="1440" y="462"/>
                  </a:lnTo>
                  <a:lnTo>
                    <a:pt x="1440" y="481"/>
                  </a:lnTo>
                  <a:lnTo>
                    <a:pt x="1440" y="492"/>
                  </a:lnTo>
                  <a:lnTo>
                    <a:pt x="1440" y="500"/>
                  </a:lnTo>
                  <a:lnTo>
                    <a:pt x="1441" y="516"/>
                  </a:lnTo>
                  <a:lnTo>
                    <a:pt x="1442" y="530"/>
                  </a:lnTo>
                  <a:lnTo>
                    <a:pt x="1446" y="544"/>
                  </a:lnTo>
                  <a:lnTo>
                    <a:pt x="1450" y="557"/>
                  </a:lnTo>
                  <a:lnTo>
                    <a:pt x="1457" y="569"/>
                  </a:lnTo>
                  <a:lnTo>
                    <a:pt x="1464" y="581"/>
                  </a:lnTo>
                  <a:lnTo>
                    <a:pt x="1472" y="593"/>
                  </a:lnTo>
                  <a:lnTo>
                    <a:pt x="1481" y="604"/>
                  </a:lnTo>
                  <a:lnTo>
                    <a:pt x="1492" y="613"/>
                  </a:lnTo>
                  <a:lnTo>
                    <a:pt x="1504" y="624"/>
                  </a:lnTo>
                  <a:lnTo>
                    <a:pt x="1516" y="633"/>
                  </a:lnTo>
                  <a:lnTo>
                    <a:pt x="1529" y="641"/>
                  </a:lnTo>
                  <a:lnTo>
                    <a:pt x="1558" y="658"/>
                  </a:lnTo>
                  <a:lnTo>
                    <a:pt x="1590" y="674"/>
                  </a:lnTo>
                  <a:lnTo>
                    <a:pt x="1588" y="692"/>
                  </a:lnTo>
                  <a:lnTo>
                    <a:pt x="1584" y="708"/>
                  </a:lnTo>
                  <a:lnTo>
                    <a:pt x="1578" y="724"/>
                  </a:lnTo>
                  <a:lnTo>
                    <a:pt x="1573" y="738"/>
                  </a:lnTo>
                  <a:lnTo>
                    <a:pt x="1568" y="754"/>
                  </a:lnTo>
                  <a:lnTo>
                    <a:pt x="1564" y="770"/>
                  </a:lnTo>
                  <a:lnTo>
                    <a:pt x="1561" y="788"/>
                  </a:lnTo>
                  <a:lnTo>
                    <a:pt x="1560" y="807"/>
                  </a:lnTo>
                  <a:lnTo>
                    <a:pt x="1560" y="849"/>
                  </a:lnTo>
                  <a:lnTo>
                    <a:pt x="1560" y="886"/>
                  </a:lnTo>
                  <a:lnTo>
                    <a:pt x="1560" y="919"/>
                  </a:lnTo>
                  <a:lnTo>
                    <a:pt x="1560" y="951"/>
                  </a:lnTo>
                  <a:lnTo>
                    <a:pt x="1560" y="982"/>
                  </a:lnTo>
                  <a:lnTo>
                    <a:pt x="1560" y="1014"/>
                  </a:lnTo>
                  <a:lnTo>
                    <a:pt x="1560" y="1050"/>
                  </a:lnTo>
                  <a:lnTo>
                    <a:pt x="1560" y="1090"/>
                  </a:lnTo>
                  <a:lnTo>
                    <a:pt x="1561" y="1106"/>
                  </a:lnTo>
                  <a:lnTo>
                    <a:pt x="1561" y="1123"/>
                  </a:lnTo>
                  <a:lnTo>
                    <a:pt x="1562" y="1131"/>
                  </a:lnTo>
                  <a:lnTo>
                    <a:pt x="1564" y="1139"/>
                  </a:lnTo>
                  <a:lnTo>
                    <a:pt x="1566" y="1147"/>
                  </a:lnTo>
                  <a:lnTo>
                    <a:pt x="1569" y="1154"/>
                  </a:lnTo>
                  <a:lnTo>
                    <a:pt x="1573" y="1161"/>
                  </a:lnTo>
                  <a:lnTo>
                    <a:pt x="1578" y="1167"/>
                  </a:lnTo>
                  <a:lnTo>
                    <a:pt x="1584" y="1173"/>
                  </a:lnTo>
                  <a:lnTo>
                    <a:pt x="1590" y="1178"/>
                  </a:lnTo>
                  <a:lnTo>
                    <a:pt x="1600" y="1181"/>
                  </a:lnTo>
                  <a:lnTo>
                    <a:pt x="1609" y="1185"/>
                  </a:lnTo>
                  <a:lnTo>
                    <a:pt x="1620" y="1186"/>
                  </a:lnTo>
                  <a:lnTo>
                    <a:pt x="1633" y="1186"/>
                  </a:lnTo>
                  <a:lnTo>
                    <a:pt x="1644" y="1186"/>
                  </a:lnTo>
                  <a:lnTo>
                    <a:pt x="1656" y="1185"/>
                  </a:lnTo>
                  <a:lnTo>
                    <a:pt x="1666" y="1182"/>
                  </a:lnTo>
                  <a:lnTo>
                    <a:pt x="1676" y="1179"/>
                  </a:lnTo>
                  <a:lnTo>
                    <a:pt x="1686" y="1175"/>
                  </a:lnTo>
                  <a:lnTo>
                    <a:pt x="1696" y="1170"/>
                  </a:lnTo>
                  <a:lnTo>
                    <a:pt x="1704" y="1165"/>
                  </a:lnTo>
                  <a:lnTo>
                    <a:pt x="1713" y="1159"/>
                  </a:lnTo>
                  <a:lnTo>
                    <a:pt x="1729" y="1146"/>
                  </a:lnTo>
                  <a:lnTo>
                    <a:pt x="1745" y="1131"/>
                  </a:lnTo>
                  <a:lnTo>
                    <a:pt x="1760" y="1115"/>
                  </a:lnTo>
                  <a:lnTo>
                    <a:pt x="1774" y="1099"/>
                  </a:lnTo>
                  <a:lnTo>
                    <a:pt x="1787" y="1083"/>
                  </a:lnTo>
                  <a:lnTo>
                    <a:pt x="1802" y="1067"/>
                  </a:lnTo>
                  <a:lnTo>
                    <a:pt x="1815" y="1053"/>
                  </a:lnTo>
                  <a:lnTo>
                    <a:pt x="1830" y="1039"/>
                  </a:lnTo>
                  <a:lnTo>
                    <a:pt x="1846" y="1027"/>
                  </a:lnTo>
                  <a:lnTo>
                    <a:pt x="1862" y="1019"/>
                  </a:lnTo>
                  <a:lnTo>
                    <a:pt x="1870" y="1017"/>
                  </a:lnTo>
                  <a:lnTo>
                    <a:pt x="1879" y="1014"/>
                  </a:lnTo>
                  <a:lnTo>
                    <a:pt x="1887" y="1013"/>
                  </a:lnTo>
                  <a:lnTo>
                    <a:pt x="1897" y="1011"/>
                  </a:lnTo>
                  <a:lnTo>
                    <a:pt x="1903" y="1013"/>
                  </a:lnTo>
                  <a:lnTo>
                    <a:pt x="1907" y="1014"/>
                  </a:lnTo>
                  <a:lnTo>
                    <a:pt x="1913" y="1018"/>
                  </a:lnTo>
                  <a:lnTo>
                    <a:pt x="1918" y="1022"/>
                  </a:lnTo>
                  <a:lnTo>
                    <a:pt x="1927" y="1033"/>
                  </a:lnTo>
                  <a:lnTo>
                    <a:pt x="1937" y="1045"/>
                  </a:lnTo>
                  <a:lnTo>
                    <a:pt x="1947" y="1057"/>
                  </a:lnTo>
                  <a:lnTo>
                    <a:pt x="1959" y="1067"/>
                  </a:lnTo>
                  <a:lnTo>
                    <a:pt x="1967" y="1071"/>
                  </a:lnTo>
                  <a:lnTo>
                    <a:pt x="1975" y="1075"/>
                  </a:lnTo>
                  <a:lnTo>
                    <a:pt x="1983" y="1077"/>
                  </a:lnTo>
                  <a:lnTo>
                    <a:pt x="1994" y="1078"/>
                  </a:lnTo>
                  <a:lnTo>
                    <a:pt x="1997" y="1063"/>
                  </a:lnTo>
                  <a:lnTo>
                    <a:pt x="2001" y="1049"/>
                  </a:lnTo>
                  <a:lnTo>
                    <a:pt x="2006" y="1034"/>
                  </a:lnTo>
                  <a:lnTo>
                    <a:pt x="2013" y="1021"/>
                  </a:lnTo>
                  <a:lnTo>
                    <a:pt x="2029" y="997"/>
                  </a:lnTo>
                  <a:lnTo>
                    <a:pt x="2046" y="971"/>
                  </a:lnTo>
                  <a:lnTo>
                    <a:pt x="2065" y="947"/>
                  </a:lnTo>
                  <a:lnTo>
                    <a:pt x="2082" y="921"/>
                  </a:lnTo>
                  <a:lnTo>
                    <a:pt x="2090" y="907"/>
                  </a:lnTo>
                  <a:lnTo>
                    <a:pt x="2097" y="893"/>
                  </a:lnTo>
                  <a:lnTo>
                    <a:pt x="2103" y="878"/>
                  </a:lnTo>
                  <a:lnTo>
                    <a:pt x="2109" y="861"/>
                  </a:lnTo>
                  <a:lnTo>
                    <a:pt x="2115" y="831"/>
                  </a:lnTo>
                  <a:lnTo>
                    <a:pt x="2121" y="803"/>
                  </a:lnTo>
                  <a:lnTo>
                    <a:pt x="2123" y="777"/>
                  </a:lnTo>
                  <a:lnTo>
                    <a:pt x="2127" y="753"/>
                  </a:lnTo>
                  <a:lnTo>
                    <a:pt x="2130" y="729"/>
                  </a:lnTo>
                  <a:lnTo>
                    <a:pt x="2133" y="708"/>
                  </a:lnTo>
                  <a:lnTo>
                    <a:pt x="2137" y="689"/>
                  </a:lnTo>
                  <a:lnTo>
                    <a:pt x="2142" y="670"/>
                  </a:lnTo>
                  <a:lnTo>
                    <a:pt x="2145" y="662"/>
                  </a:lnTo>
                  <a:lnTo>
                    <a:pt x="2149" y="656"/>
                  </a:lnTo>
                  <a:lnTo>
                    <a:pt x="2153" y="648"/>
                  </a:lnTo>
                  <a:lnTo>
                    <a:pt x="2158" y="641"/>
                  </a:lnTo>
                  <a:lnTo>
                    <a:pt x="2163" y="636"/>
                  </a:lnTo>
                  <a:lnTo>
                    <a:pt x="2170" y="630"/>
                  </a:lnTo>
                  <a:lnTo>
                    <a:pt x="2177" y="625"/>
                  </a:lnTo>
                  <a:lnTo>
                    <a:pt x="2185" y="620"/>
                  </a:lnTo>
                  <a:lnTo>
                    <a:pt x="2194" y="616"/>
                  </a:lnTo>
                  <a:lnTo>
                    <a:pt x="2205" y="613"/>
                  </a:lnTo>
                  <a:lnTo>
                    <a:pt x="2215" y="609"/>
                  </a:lnTo>
                  <a:lnTo>
                    <a:pt x="2227" y="606"/>
                  </a:lnTo>
                  <a:lnTo>
                    <a:pt x="2255" y="604"/>
                  </a:lnTo>
                  <a:lnTo>
                    <a:pt x="2289" y="602"/>
                  </a:lnTo>
                  <a:lnTo>
                    <a:pt x="2301" y="602"/>
                  </a:lnTo>
                  <a:lnTo>
                    <a:pt x="2311" y="604"/>
                  </a:lnTo>
                  <a:lnTo>
                    <a:pt x="2322" y="606"/>
                  </a:lnTo>
                  <a:lnTo>
                    <a:pt x="2331" y="609"/>
                  </a:lnTo>
                  <a:lnTo>
                    <a:pt x="2339" y="613"/>
                  </a:lnTo>
                  <a:lnTo>
                    <a:pt x="2347" y="617"/>
                  </a:lnTo>
                  <a:lnTo>
                    <a:pt x="2355" y="622"/>
                  </a:lnTo>
                  <a:lnTo>
                    <a:pt x="2362" y="628"/>
                  </a:lnTo>
                  <a:lnTo>
                    <a:pt x="2374" y="640"/>
                  </a:lnTo>
                  <a:lnTo>
                    <a:pt x="2383" y="654"/>
                  </a:lnTo>
                  <a:lnTo>
                    <a:pt x="2393" y="669"/>
                  </a:lnTo>
                  <a:lnTo>
                    <a:pt x="2401" y="684"/>
                  </a:lnTo>
                  <a:lnTo>
                    <a:pt x="2409" y="698"/>
                  </a:lnTo>
                  <a:lnTo>
                    <a:pt x="2418" y="713"/>
                  </a:lnTo>
                  <a:lnTo>
                    <a:pt x="2427" y="728"/>
                  </a:lnTo>
                  <a:lnTo>
                    <a:pt x="2437" y="740"/>
                  </a:lnTo>
                  <a:lnTo>
                    <a:pt x="2443" y="745"/>
                  </a:lnTo>
                  <a:lnTo>
                    <a:pt x="2449" y="750"/>
                  </a:lnTo>
                  <a:lnTo>
                    <a:pt x="2455" y="754"/>
                  </a:lnTo>
                  <a:lnTo>
                    <a:pt x="2463" y="758"/>
                  </a:lnTo>
                  <a:lnTo>
                    <a:pt x="2471" y="761"/>
                  </a:lnTo>
                  <a:lnTo>
                    <a:pt x="2479" y="764"/>
                  </a:lnTo>
                  <a:lnTo>
                    <a:pt x="2490" y="765"/>
                  </a:lnTo>
                  <a:lnTo>
                    <a:pt x="2499" y="765"/>
                  </a:lnTo>
                  <a:lnTo>
                    <a:pt x="2514" y="764"/>
                  </a:lnTo>
                  <a:lnTo>
                    <a:pt x="2525" y="762"/>
                  </a:lnTo>
                  <a:lnTo>
                    <a:pt x="2534" y="757"/>
                  </a:lnTo>
                  <a:lnTo>
                    <a:pt x="2540" y="752"/>
                  </a:lnTo>
                  <a:lnTo>
                    <a:pt x="2544" y="744"/>
                  </a:lnTo>
                  <a:lnTo>
                    <a:pt x="2548" y="734"/>
                  </a:lnTo>
                  <a:lnTo>
                    <a:pt x="2551" y="724"/>
                  </a:lnTo>
                  <a:lnTo>
                    <a:pt x="2554" y="710"/>
                  </a:lnTo>
                  <a:lnTo>
                    <a:pt x="2614" y="710"/>
                  </a:lnTo>
                  <a:lnTo>
                    <a:pt x="2622" y="717"/>
                  </a:lnTo>
                  <a:lnTo>
                    <a:pt x="2627" y="722"/>
                  </a:lnTo>
                  <a:lnTo>
                    <a:pt x="2632" y="729"/>
                  </a:lnTo>
                  <a:lnTo>
                    <a:pt x="2638" y="734"/>
                  </a:lnTo>
                  <a:lnTo>
                    <a:pt x="2644" y="748"/>
                  </a:lnTo>
                  <a:lnTo>
                    <a:pt x="2650" y="762"/>
                  </a:lnTo>
                  <a:lnTo>
                    <a:pt x="2658" y="794"/>
                  </a:lnTo>
                  <a:lnTo>
                    <a:pt x="2668" y="831"/>
                  </a:lnTo>
                  <a:lnTo>
                    <a:pt x="2672" y="839"/>
                  </a:lnTo>
                  <a:lnTo>
                    <a:pt x="2678" y="846"/>
                  </a:lnTo>
                  <a:lnTo>
                    <a:pt x="2684" y="854"/>
                  </a:lnTo>
                  <a:lnTo>
                    <a:pt x="2691" y="862"/>
                  </a:lnTo>
                  <a:lnTo>
                    <a:pt x="2708" y="875"/>
                  </a:lnTo>
                  <a:lnTo>
                    <a:pt x="2727" y="890"/>
                  </a:lnTo>
                  <a:lnTo>
                    <a:pt x="2746" y="903"/>
                  </a:lnTo>
                  <a:lnTo>
                    <a:pt x="2764" y="915"/>
                  </a:lnTo>
                  <a:lnTo>
                    <a:pt x="2782" y="927"/>
                  </a:lnTo>
                  <a:lnTo>
                    <a:pt x="2795" y="939"/>
                  </a:lnTo>
                  <a:lnTo>
                    <a:pt x="2819" y="951"/>
                  </a:lnTo>
                  <a:lnTo>
                    <a:pt x="2799" y="969"/>
                  </a:lnTo>
                  <a:lnTo>
                    <a:pt x="2780" y="985"/>
                  </a:lnTo>
                  <a:lnTo>
                    <a:pt x="2771" y="991"/>
                  </a:lnTo>
                  <a:lnTo>
                    <a:pt x="2762" y="995"/>
                  </a:lnTo>
                  <a:lnTo>
                    <a:pt x="2748" y="998"/>
                  </a:lnTo>
                  <a:lnTo>
                    <a:pt x="2734" y="999"/>
                  </a:lnTo>
                  <a:lnTo>
                    <a:pt x="2715" y="999"/>
                  </a:lnTo>
                  <a:lnTo>
                    <a:pt x="2696" y="999"/>
                  </a:lnTo>
                  <a:lnTo>
                    <a:pt x="2678" y="999"/>
                  </a:lnTo>
                  <a:lnTo>
                    <a:pt x="2662" y="999"/>
                  </a:lnTo>
                  <a:lnTo>
                    <a:pt x="2652" y="1001"/>
                  </a:lnTo>
                  <a:lnTo>
                    <a:pt x="2639" y="1003"/>
                  </a:lnTo>
                  <a:lnTo>
                    <a:pt x="2631" y="1006"/>
                  </a:lnTo>
                  <a:lnTo>
                    <a:pt x="2626" y="1010"/>
                  </a:lnTo>
                  <a:lnTo>
                    <a:pt x="2623" y="1013"/>
                  </a:lnTo>
                  <a:lnTo>
                    <a:pt x="2622" y="1015"/>
                  </a:lnTo>
                  <a:lnTo>
                    <a:pt x="2620" y="1019"/>
                  </a:lnTo>
                  <a:lnTo>
                    <a:pt x="2620" y="1023"/>
                  </a:lnTo>
                  <a:lnTo>
                    <a:pt x="2620" y="1058"/>
                  </a:lnTo>
                  <a:lnTo>
                    <a:pt x="2620" y="1101"/>
                  </a:lnTo>
                  <a:lnTo>
                    <a:pt x="2620" y="1146"/>
                  </a:lnTo>
                  <a:lnTo>
                    <a:pt x="2620" y="1186"/>
                  </a:lnTo>
                  <a:lnTo>
                    <a:pt x="2620" y="1195"/>
                  </a:lnTo>
                  <a:lnTo>
                    <a:pt x="2623" y="1202"/>
                  </a:lnTo>
                  <a:lnTo>
                    <a:pt x="2626" y="1210"/>
                  </a:lnTo>
                  <a:lnTo>
                    <a:pt x="2631" y="1215"/>
                  </a:lnTo>
                  <a:lnTo>
                    <a:pt x="2636" y="1221"/>
                  </a:lnTo>
                  <a:lnTo>
                    <a:pt x="2643" y="1226"/>
                  </a:lnTo>
                  <a:lnTo>
                    <a:pt x="2651" y="1230"/>
                  </a:lnTo>
                  <a:lnTo>
                    <a:pt x="2660" y="1233"/>
                  </a:lnTo>
                  <a:lnTo>
                    <a:pt x="2679" y="1239"/>
                  </a:lnTo>
                  <a:lnTo>
                    <a:pt x="2699" y="1245"/>
                  </a:lnTo>
                  <a:lnTo>
                    <a:pt x="2719" y="1249"/>
                  </a:lnTo>
                  <a:lnTo>
                    <a:pt x="2740" y="1253"/>
                  </a:lnTo>
                  <a:lnTo>
                    <a:pt x="2735" y="1263"/>
                  </a:lnTo>
                  <a:lnTo>
                    <a:pt x="2730" y="1271"/>
                  </a:lnTo>
                  <a:lnTo>
                    <a:pt x="2727" y="1275"/>
                  </a:lnTo>
                  <a:lnTo>
                    <a:pt x="2724" y="1281"/>
                  </a:lnTo>
                  <a:lnTo>
                    <a:pt x="2723" y="1287"/>
                  </a:lnTo>
                  <a:lnTo>
                    <a:pt x="2722" y="1295"/>
                  </a:lnTo>
                  <a:lnTo>
                    <a:pt x="2724" y="1307"/>
                  </a:lnTo>
                  <a:lnTo>
                    <a:pt x="2730" y="1323"/>
                  </a:lnTo>
                  <a:lnTo>
                    <a:pt x="2735" y="1339"/>
                  </a:lnTo>
                  <a:lnTo>
                    <a:pt x="2740" y="1355"/>
                  </a:lnTo>
                  <a:lnTo>
                    <a:pt x="2732" y="1358"/>
                  </a:lnTo>
                  <a:lnTo>
                    <a:pt x="2726" y="1363"/>
                  </a:lnTo>
                  <a:lnTo>
                    <a:pt x="2719" y="1369"/>
                  </a:lnTo>
                  <a:lnTo>
                    <a:pt x="2712" y="1375"/>
                  </a:lnTo>
                  <a:lnTo>
                    <a:pt x="2699" y="1391"/>
                  </a:lnTo>
                  <a:lnTo>
                    <a:pt x="2686" y="1407"/>
                  </a:lnTo>
                  <a:lnTo>
                    <a:pt x="2679" y="1416"/>
                  </a:lnTo>
                  <a:lnTo>
                    <a:pt x="2672" y="1424"/>
                  </a:lnTo>
                  <a:lnTo>
                    <a:pt x="2664" y="1431"/>
                  </a:lnTo>
                  <a:lnTo>
                    <a:pt x="2655" y="1438"/>
                  </a:lnTo>
                  <a:lnTo>
                    <a:pt x="2647" y="1443"/>
                  </a:lnTo>
                  <a:lnTo>
                    <a:pt x="2636" y="1447"/>
                  </a:lnTo>
                  <a:lnTo>
                    <a:pt x="2626" y="1450"/>
                  </a:lnTo>
                  <a:lnTo>
                    <a:pt x="2614" y="1451"/>
                  </a:lnTo>
                  <a:lnTo>
                    <a:pt x="2602" y="1450"/>
                  </a:lnTo>
                  <a:lnTo>
                    <a:pt x="2591" y="1447"/>
                  </a:lnTo>
                  <a:lnTo>
                    <a:pt x="2583" y="1443"/>
                  </a:lnTo>
                  <a:lnTo>
                    <a:pt x="2575" y="1439"/>
                  </a:lnTo>
                  <a:lnTo>
                    <a:pt x="2568" y="1435"/>
                  </a:lnTo>
                  <a:lnTo>
                    <a:pt x="2560" y="1431"/>
                  </a:lnTo>
                  <a:lnTo>
                    <a:pt x="2552" y="1428"/>
                  </a:lnTo>
                  <a:lnTo>
                    <a:pt x="2542" y="1427"/>
                  </a:lnTo>
                  <a:lnTo>
                    <a:pt x="2559" y="1384"/>
                  </a:lnTo>
                  <a:lnTo>
                    <a:pt x="2559" y="1355"/>
                  </a:lnTo>
                  <a:lnTo>
                    <a:pt x="2548" y="1354"/>
                  </a:lnTo>
                  <a:lnTo>
                    <a:pt x="2538" y="1355"/>
                  </a:lnTo>
                  <a:lnTo>
                    <a:pt x="2527" y="1357"/>
                  </a:lnTo>
                  <a:lnTo>
                    <a:pt x="2519" y="1359"/>
                  </a:lnTo>
                  <a:lnTo>
                    <a:pt x="2510" y="1363"/>
                  </a:lnTo>
                  <a:lnTo>
                    <a:pt x="2502" y="1367"/>
                  </a:lnTo>
                  <a:lnTo>
                    <a:pt x="2495" y="1373"/>
                  </a:lnTo>
                  <a:lnTo>
                    <a:pt x="2489" y="1378"/>
                  </a:lnTo>
                  <a:lnTo>
                    <a:pt x="2475" y="1391"/>
                  </a:lnTo>
                  <a:lnTo>
                    <a:pt x="2465" y="1407"/>
                  </a:lnTo>
                  <a:lnTo>
                    <a:pt x="2455" y="1424"/>
                  </a:lnTo>
                  <a:lnTo>
                    <a:pt x="2446" y="1442"/>
                  </a:lnTo>
                  <a:lnTo>
                    <a:pt x="2429" y="1480"/>
                  </a:lnTo>
                  <a:lnTo>
                    <a:pt x="2410" y="1516"/>
                  </a:lnTo>
                  <a:lnTo>
                    <a:pt x="2399" y="1532"/>
                  </a:lnTo>
                  <a:lnTo>
                    <a:pt x="2386" y="1546"/>
                  </a:lnTo>
                  <a:lnTo>
                    <a:pt x="2379" y="1552"/>
                  </a:lnTo>
                  <a:lnTo>
                    <a:pt x="2371" y="1558"/>
                  </a:lnTo>
                  <a:lnTo>
                    <a:pt x="2363" y="1562"/>
                  </a:lnTo>
                  <a:lnTo>
                    <a:pt x="2355" y="1566"/>
                  </a:lnTo>
                  <a:lnTo>
                    <a:pt x="2351" y="1570"/>
                  </a:lnTo>
                  <a:lnTo>
                    <a:pt x="2349" y="1578"/>
                  </a:lnTo>
                  <a:lnTo>
                    <a:pt x="2346" y="1587"/>
                  </a:lnTo>
                  <a:lnTo>
                    <a:pt x="2342" y="1598"/>
                  </a:lnTo>
                  <a:lnTo>
                    <a:pt x="2338" y="1608"/>
                  </a:lnTo>
                  <a:lnTo>
                    <a:pt x="2330" y="1618"/>
                  </a:lnTo>
                  <a:lnTo>
                    <a:pt x="2326" y="1620"/>
                  </a:lnTo>
                  <a:lnTo>
                    <a:pt x="2321" y="1623"/>
                  </a:lnTo>
                  <a:lnTo>
                    <a:pt x="2314" y="1626"/>
                  </a:lnTo>
                  <a:lnTo>
                    <a:pt x="2307" y="1626"/>
                  </a:lnTo>
                  <a:lnTo>
                    <a:pt x="2299" y="1626"/>
                  </a:lnTo>
                  <a:lnTo>
                    <a:pt x="2293" y="1623"/>
                  </a:lnTo>
                  <a:lnTo>
                    <a:pt x="2285" y="1620"/>
                  </a:lnTo>
                  <a:lnTo>
                    <a:pt x="2278" y="1616"/>
                  </a:lnTo>
                  <a:lnTo>
                    <a:pt x="2266" y="1611"/>
                  </a:lnTo>
                  <a:lnTo>
                    <a:pt x="2259" y="1608"/>
                  </a:lnTo>
                  <a:lnTo>
                    <a:pt x="2250" y="1608"/>
                  </a:lnTo>
                  <a:lnTo>
                    <a:pt x="2242" y="1611"/>
                  </a:lnTo>
                  <a:lnTo>
                    <a:pt x="2235" y="1614"/>
                  </a:lnTo>
                  <a:lnTo>
                    <a:pt x="2229" y="1616"/>
                  </a:lnTo>
                  <a:lnTo>
                    <a:pt x="2222" y="1620"/>
                  </a:lnTo>
                  <a:lnTo>
                    <a:pt x="2214" y="1623"/>
                  </a:lnTo>
                  <a:lnTo>
                    <a:pt x="2207" y="1626"/>
                  </a:lnTo>
                  <a:lnTo>
                    <a:pt x="2198" y="1626"/>
                  </a:lnTo>
                  <a:lnTo>
                    <a:pt x="2191" y="1626"/>
                  </a:lnTo>
                  <a:lnTo>
                    <a:pt x="2185" y="1624"/>
                  </a:lnTo>
                  <a:lnTo>
                    <a:pt x="2179" y="1623"/>
                  </a:lnTo>
                  <a:lnTo>
                    <a:pt x="2174" y="1620"/>
                  </a:lnTo>
                  <a:lnTo>
                    <a:pt x="2166" y="1614"/>
                  </a:lnTo>
                  <a:lnTo>
                    <a:pt x="2159" y="1606"/>
                  </a:lnTo>
                  <a:lnTo>
                    <a:pt x="2154" y="1598"/>
                  </a:lnTo>
                  <a:lnTo>
                    <a:pt x="2150" y="1590"/>
                  </a:lnTo>
                  <a:lnTo>
                    <a:pt x="2145" y="1583"/>
                  </a:lnTo>
                  <a:lnTo>
                    <a:pt x="2138" y="1578"/>
                  </a:lnTo>
                  <a:lnTo>
                    <a:pt x="2130" y="1586"/>
                  </a:lnTo>
                  <a:lnTo>
                    <a:pt x="2122" y="1594"/>
                  </a:lnTo>
                  <a:lnTo>
                    <a:pt x="2111" y="1600"/>
                  </a:lnTo>
                  <a:lnTo>
                    <a:pt x="2099" y="1604"/>
                  </a:lnTo>
                  <a:lnTo>
                    <a:pt x="2087" y="1608"/>
                  </a:lnTo>
                  <a:lnTo>
                    <a:pt x="2075" y="1611"/>
                  </a:lnTo>
                  <a:lnTo>
                    <a:pt x="2062" y="1614"/>
                  </a:lnTo>
                  <a:lnTo>
                    <a:pt x="2047" y="1614"/>
                  </a:lnTo>
                  <a:lnTo>
                    <a:pt x="2041" y="1612"/>
                  </a:lnTo>
                  <a:lnTo>
                    <a:pt x="2031" y="1608"/>
                  </a:lnTo>
                  <a:lnTo>
                    <a:pt x="2022" y="1603"/>
                  </a:lnTo>
                  <a:lnTo>
                    <a:pt x="2013" y="1596"/>
                  </a:lnTo>
                  <a:lnTo>
                    <a:pt x="1997" y="1583"/>
                  </a:lnTo>
                  <a:lnTo>
                    <a:pt x="1987" y="1578"/>
                  </a:lnTo>
                  <a:lnTo>
                    <a:pt x="1983" y="1580"/>
                  </a:lnTo>
                  <a:lnTo>
                    <a:pt x="1979" y="1584"/>
                  </a:lnTo>
                  <a:lnTo>
                    <a:pt x="1977" y="1590"/>
                  </a:lnTo>
                  <a:lnTo>
                    <a:pt x="1974" y="1596"/>
                  </a:lnTo>
                  <a:lnTo>
                    <a:pt x="1971" y="1610"/>
                  </a:lnTo>
                  <a:lnTo>
                    <a:pt x="1969" y="1626"/>
                  </a:lnTo>
                  <a:lnTo>
                    <a:pt x="1966" y="1654"/>
                  </a:lnTo>
                  <a:lnTo>
                    <a:pt x="1963" y="1668"/>
                  </a:lnTo>
                  <a:lnTo>
                    <a:pt x="1953" y="1671"/>
                  </a:lnTo>
                  <a:lnTo>
                    <a:pt x="1943" y="1674"/>
                  </a:lnTo>
                  <a:lnTo>
                    <a:pt x="1933" y="1675"/>
                  </a:lnTo>
                  <a:lnTo>
                    <a:pt x="1922" y="1675"/>
                  </a:lnTo>
                  <a:lnTo>
                    <a:pt x="1901" y="1675"/>
                  </a:lnTo>
                  <a:lnTo>
                    <a:pt x="1879" y="1674"/>
                  </a:lnTo>
                  <a:lnTo>
                    <a:pt x="1861" y="1674"/>
                  </a:lnTo>
                  <a:lnTo>
                    <a:pt x="1845" y="1674"/>
                  </a:lnTo>
                  <a:lnTo>
                    <a:pt x="1837" y="1674"/>
                  </a:lnTo>
                  <a:lnTo>
                    <a:pt x="1830" y="1675"/>
                  </a:lnTo>
                  <a:lnTo>
                    <a:pt x="1823" y="1678"/>
                  </a:lnTo>
                  <a:lnTo>
                    <a:pt x="1819" y="1680"/>
                  </a:lnTo>
                  <a:lnTo>
                    <a:pt x="1813" y="1684"/>
                  </a:lnTo>
                  <a:lnTo>
                    <a:pt x="1809" y="1690"/>
                  </a:lnTo>
                  <a:lnTo>
                    <a:pt x="1805" y="1694"/>
                  </a:lnTo>
                  <a:lnTo>
                    <a:pt x="1802" y="1699"/>
                  </a:lnTo>
                  <a:lnTo>
                    <a:pt x="1799" y="1710"/>
                  </a:lnTo>
                  <a:lnTo>
                    <a:pt x="1799" y="1719"/>
                  </a:lnTo>
                  <a:lnTo>
                    <a:pt x="1799" y="1730"/>
                  </a:lnTo>
                  <a:lnTo>
                    <a:pt x="1798" y="1739"/>
                  </a:lnTo>
                  <a:lnTo>
                    <a:pt x="1798" y="1744"/>
                  </a:lnTo>
                  <a:lnTo>
                    <a:pt x="1795" y="1750"/>
                  </a:lnTo>
                  <a:lnTo>
                    <a:pt x="1793" y="1754"/>
                  </a:lnTo>
                  <a:lnTo>
                    <a:pt x="1789" y="1759"/>
                  </a:lnTo>
                  <a:lnTo>
                    <a:pt x="1782" y="1764"/>
                  </a:lnTo>
                  <a:lnTo>
                    <a:pt x="1773" y="1770"/>
                  </a:lnTo>
                  <a:lnTo>
                    <a:pt x="1765" y="1775"/>
                  </a:lnTo>
                  <a:lnTo>
                    <a:pt x="1756" y="1779"/>
                  </a:lnTo>
                  <a:lnTo>
                    <a:pt x="1736" y="1786"/>
                  </a:lnTo>
                  <a:lnTo>
                    <a:pt x="1716" y="1794"/>
                  </a:lnTo>
                  <a:lnTo>
                    <a:pt x="1706" y="1798"/>
                  </a:lnTo>
                  <a:lnTo>
                    <a:pt x="1697" y="1802"/>
                  </a:lnTo>
                  <a:lnTo>
                    <a:pt x="1689" y="1808"/>
                  </a:lnTo>
                  <a:lnTo>
                    <a:pt x="1682" y="1815"/>
                  </a:lnTo>
                  <a:lnTo>
                    <a:pt x="1677" y="1822"/>
                  </a:lnTo>
                  <a:lnTo>
                    <a:pt x="1673" y="1831"/>
                  </a:lnTo>
                  <a:lnTo>
                    <a:pt x="1669" y="1842"/>
                  </a:lnTo>
                  <a:lnTo>
                    <a:pt x="1669" y="1855"/>
                  </a:lnTo>
                  <a:lnTo>
                    <a:pt x="1669" y="1863"/>
                  </a:lnTo>
                  <a:lnTo>
                    <a:pt x="1672" y="1872"/>
                  </a:lnTo>
                  <a:lnTo>
                    <a:pt x="1676" y="1880"/>
                  </a:lnTo>
                  <a:lnTo>
                    <a:pt x="1681" y="1888"/>
                  </a:lnTo>
                  <a:lnTo>
                    <a:pt x="1688" y="1895"/>
                  </a:lnTo>
                  <a:lnTo>
                    <a:pt x="1694" y="1902"/>
                  </a:lnTo>
                  <a:lnTo>
                    <a:pt x="1702" y="1908"/>
                  </a:lnTo>
                  <a:lnTo>
                    <a:pt x="1710" y="1914"/>
                  </a:lnTo>
                  <a:lnTo>
                    <a:pt x="1745" y="1935"/>
                  </a:lnTo>
                  <a:lnTo>
                    <a:pt x="1772" y="1951"/>
                  </a:lnTo>
                  <a:lnTo>
                    <a:pt x="1758" y="1963"/>
                  </a:lnTo>
                  <a:lnTo>
                    <a:pt x="1748" y="1973"/>
                  </a:lnTo>
                  <a:lnTo>
                    <a:pt x="1738" y="1987"/>
                  </a:lnTo>
                  <a:lnTo>
                    <a:pt x="1730" y="1999"/>
                  </a:lnTo>
                  <a:lnTo>
                    <a:pt x="1725" y="2013"/>
                  </a:lnTo>
                  <a:lnTo>
                    <a:pt x="1720" y="2029"/>
                  </a:lnTo>
                  <a:lnTo>
                    <a:pt x="1718" y="2047"/>
                  </a:lnTo>
                  <a:lnTo>
                    <a:pt x="1717" y="2065"/>
                  </a:lnTo>
                  <a:lnTo>
                    <a:pt x="1718" y="2081"/>
                  </a:lnTo>
                  <a:lnTo>
                    <a:pt x="1721" y="2099"/>
                  </a:lnTo>
                  <a:lnTo>
                    <a:pt x="1726" y="2115"/>
                  </a:lnTo>
                  <a:lnTo>
                    <a:pt x="1733" y="2131"/>
                  </a:lnTo>
                  <a:lnTo>
                    <a:pt x="1741" y="2145"/>
                  </a:lnTo>
                  <a:lnTo>
                    <a:pt x="1750" y="2157"/>
                  </a:lnTo>
                  <a:lnTo>
                    <a:pt x="1754" y="2163"/>
                  </a:lnTo>
                  <a:lnTo>
                    <a:pt x="1760" y="2168"/>
                  </a:lnTo>
                  <a:lnTo>
                    <a:pt x="1765" y="2171"/>
                  </a:lnTo>
                  <a:lnTo>
                    <a:pt x="1772" y="2173"/>
                  </a:lnTo>
                  <a:lnTo>
                    <a:pt x="1778" y="2196"/>
                  </a:lnTo>
                  <a:lnTo>
                    <a:pt x="1783" y="2219"/>
                  </a:lnTo>
                  <a:lnTo>
                    <a:pt x="1786" y="2240"/>
                  </a:lnTo>
                  <a:lnTo>
                    <a:pt x="1790" y="2260"/>
                  </a:lnTo>
                  <a:lnTo>
                    <a:pt x="1793" y="2269"/>
                  </a:lnTo>
                  <a:lnTo>
                    <a:pt x="1795" y="2277"/>
                  </a:lnTo>
                  <a:lnTo>
                    <a:pt x="1799" y="2287"/>
                  </a:lnTo>
                  <a:lnTo>
                    <a:pt x="1805" y="2295"/>
                  </a:lnTo>
                  <a:lnTo>
                    <a:pt x="1810" y="2301"/>
                  </a:lnTo>
                  <a:lnTo>
                    <a:pt x="1818" y="2308"/>
                  </a:lnTo>
                  <a:lnTo>
                    <a:pt x="1826" y="2313"/>
                  </a:lnTo>
                  <a:lnTo>
                    <a:pt x="1837" y="2319"/>
                  </a:lnTo>
                  <a:lnTo>
                    <a:pt x="1829" y="2363"/>
                  </a:lnTo>
                  <a:lnTo>
                    <a:pt x="1819" y="2415"/>
                  </a:lnTo>
                  <a:lnTo>
                    <a:pt x="1811" y="2468"/>
                  </a:lnTo>
                  <a:lnTo>
                    <a:pt x="1803" y="2520"/>
                  </a:lnTo>
                  <a:lnTo>
                    <a:pt x="1798" y="2566"/>
                  </a:lnTo>
                  <a:lnTo>
                    <a:pt x="1793" y="2605"/>
                  </a:lnTo>
                  <a:lnTo>
                    <a:pt x="1790" y="2632"/>
                  </a:lnTo>
                  <a:lnTo>
                    <a:pt x="1789" y="2644"/>
                  </a:lnTo>
                  <a:lnTo>
                    <a:pt x="1786" y="2650"/>
                  </a:lnTo>
                  <a:lnTo>
                    <a:pt x="1777" y="2668"/>
                  </a:lnTo>
                  <a:lnTo>
                    <a:pt x="1764" y="2690"/>
                  </a:lnTo>
                  <a:lnTo>
                    <a:pt x="1745" y="2718"/>
                  </a:lnTo>
                  <a:lnTo>
                    <a:pt x="1725" y="2748"/>
                  </a:lnTo>
                  <a:lnTo>
                    <a:pt x="1702" y="2776"/>
                  </a:lnTo>
                  <a:lnTo>
                    <a:pt x="1692" y="2790"/>
                  </a:lnTo>
                  <a:lnTo>
                    <a:pt x="1680" y="2802"/>
                  </a:lnTo>
                  <a:lnTo>
                    <a:pt x="1668" y="2814"/>
                  </a:lnTo>
                  <a:lnTo>
                    <a:pt x="1657" y="2824"/>
                  </a:lnTo>
                  <a:lnTo>
                    <a:pt x="1630" y="2845"/>
                  </a:lnTo>
                  <a:lnTo>
                    <a:pt x="1608" y="2866"/>
                  </a:lnTo>
                  <a:lnTo>
                    <a:pt x="1597" y="2877"/>
                  </a:lnTo>
                  <a:lnTo>
                    <a:pt x="1586" y="2888"/>
                  </a:lnTo>
                  <a:lnTo>
                    <a:pt x="1577" y="2900"/>
                  </a:lnTo>
                  <a:lnTo>
                    <a:pt x="1569" y="2910"/>
                  </a:lnTo>
                  <a:lnTo>
                    <a:pt x="1561" y="2922"/>
                  </a:lnTo>
                  <a:lnTo>
                    <a:pt x="1554" y="2934"/>
                  </a:lnTo>
                  <a:lnTo>
                    <a:pt x="1548" y="2946"/>
                  </a:lnTo>
                  <a:lnTo>
                    <a:pt x="1542" y="2958"/>
                  </a:lnTo>
                  <a:lnTo>
                    <a:pt x="1538" y="2972"/>
                  </a:lnTo>
                  <a:lnTo>
                    <a:pt x="1534" y="2984"/>
                  </a:lnTo>
                  <a:lnTo>
                    <a:pt x="1532" y="2997"/>
                  </a:lnTo>
                  <a:lnTo>
                    <a:pt x="1530" y="3010"/>
                  </a:lnTo>
                  <a:lnTo>
                    <a:pt x="1528" y="3022"/>
                  </a:lnTo>
                  <a:lnTo>
                    <a:pt x="1525" y="3033"/>
                  </a:lnTo>
                  <a:lnTo>
                    <a:pt x="1522" y="3042"/>
                  </a:lnTo>
                  <a:lnTo>
                    <a:pt x="1518" y="3052"/>
                  </a:lnTo>
                  <a:lnTo>
                    <a:pt x="1510" y="3068"/>
                  </a:lnTo>
                  <a:lnTo>
                    <a:pt x="1500" y="3080"/>
                  </a:lnTo>
                  <a:lnTo>
                    <a:pt x="1489" y="3092"/>
                  </a:lnTo>
                  <a:lnTo>
                    <a:pt x="1477" y="3101"/>
                  </a:lnTo>
                  <a:lnTo>
                    <a:pt x="1464" y="3108"/>
                  </a:lnTo>
                  <a:lnTo>
                    <a:pt x="1452" y="3114"/>
                  </a:lnTo>
                  <a:lnTo>
                    <a:pt x="1426" y="3126"/>
                  </a:lnTo>
                  <a:lnTo>
                    <a:pt x="1405" y="3138"/>
                  </a:lnTo>
                  <a:lnTo>
                    <a:pt x="1397" y="3145"/>
                  </a:lnTo>
                  <a:lnTo>
                    <a:pt x="1392" y="3153"/>
                  </a:lnTo>
                  <a:lnTo>
                    <a:pt x="1389" y="3157"/>
                  </a:lnTo>
                  <a:lnTo>
                    <a:pt x="1386" y="3162"/>
                  </a:lnTo>
                  <a:lnTo>
                    <a:pt x="1386" y="3167"/>
                  </a:lnTo>
                  <a:lnTo>
                    <a:pt x="1385" y="3173"/>
                  </a:lnTo>
                  <a:lnTo>
                    <a:pt x="1386" y="3182"/>
                  </a:lnTo>
                  <a:lnTo>
                    <a:pt x="1388" y="3189"/>
                  </a:lnTo>
                  <a:lnTo>
                    <a:pt x="1389" y="3197"/>
                  </a:lnTo>
                  <a:lnTo>
                    <a:pt x="1392" y="3203"/>
                  </a:lnTo>
                  <a:lnTo>
                    <a:pt x="1396" y="3217"/>
                  </a:lnTo>
                  <a:lnTo>
                    <a:pt x="1397" y="3234"/>
                  </a:lnTo>
                  <a:lnTo>
                    <a:pt x="1373" y="3249"/>
                  </a:lnTo>
                  <a:lnTo>
                    <a:pt x="1346" y="3261"/>
                  </a:lnTo>
                  <a:lnTo>
                    <a:pt x="1341" y="3265"/>
                  </a:lnTo>
                  <a:lnTo>
                    <a:pt x="1334" y="3267"/>
                  </a:lnTo>
                  <a:lnTo>
                    <a:pt x="1329" y="3273"/>
                  </a:lnTo>
                  <a:lnTo>
                    <a:pt x="1325" y="3278"/>
                  </a:lnTo>
                  <a:lnTo>
                    <a:pt x="1321" y="3283"/>
                  </a:lnTo>
                  <a:lnTo>
                    <a:pt x="1317" y="3290"/>
                  </a:lnTo>
                  <a:lnTo>
                    <a:pt x="1314" y="3297"/>
                  </a:lnTo>
                  <a:lnTo>
                    <a:pt x="1313" y="3306"/>
                  </a:lnTo>
                  <a:lnTo>
                    <a:pt x="1308" y="3305"/>
                  </a:lnTo>
                  <a:lnTo>
                    <a:pt x="1302" y="3303"/>
                  </a:lnTo>
                  <a:lnTo>
                    <a:pt x="1300" y="3301"/>
                  </a:lnTo>
                  <a:lnTo>
                    <a:pt x="1297" y="3299"/>
                  </a:lnTo>
                  <a:lnTo>
                    <a:pt x="1294" y="3294"/>
                  </a:lnTo>
                  <a:lnTo>
                    <a:pt x="1294" y="3289"/>
                  </a:lnTo>
                  <a:lnTo>
                    <a:pt x="1296" y="3282"/>
                  </a:lnTo>
                  <a:lnTo>
                    <a:pt x="1296" y="3274"/>
                  </a:lnTo>
                  <a:lnTo>
                    <a:pt x="1296" y="3270"/>
                  </a:lnTo>
                  <a:lnTo>
                    <a:pt x="1294" y="3266"/>
                  </a:lnTo>
                  <a:lnTo>
                    <a:pt x="1292" y="3262"/>
                  </a:lnTo>
                  <a:lnTo>
                    <a:pt x="1289" y="3258"/>
                  </a:lnTo>
                  <a:lnTo>
                    <a:pt x="1281" y="3242"/>
                  </a:lnTo>
                  <a:lnTo>
                    <a:pt x="1273" y="3233"/>
                  </a:lnTo>
                  <a:lnTo>
                    <a:pt x="1269" y="3229"/>
                  </a:lnTo>
                  <a:lnTo>
                    <a:pt x="1265" y="3227"/>
                  </a:lnTo>
                  <a:lnTo>
                    <a:pt x="1261" y="3225"/>
                  </a:lnTo>
                  <a:lnTo>
                    <a:pt x="1257" y="3225"/>
                  </a:lnTo>
                  <a:lnTo>
                    <a:pt x="1237" y="3225"/>
                  </a:lnTo>
                  <a:lnTo>
                    <a:pt x="1210" y="3227"/>
                  </a:lnTo>
                  <a:lnTo>
                    <a:pt x="1205" y="3227"/>
                  </a:lnTo>
                  <a:lnTo>
                    <a:pt x="1198" y="3226"/>
                  </a:lnTo>
                  <a:lnTo>
                    <a:pt x="1194" y="3223"/>
                  </a:lnTo>
                  <a:lnTo>
                    <a:pt x="1190" y="3221"/>
                  </a:lnTo>
                  <a:lnTo>
                    <a:pt x="1182" y="3214"/>
                  </a:lnTo>
                  <a:lnTo>
                    <a:pt x="1178" y="3206"/>
                  </a:lnTo>
                  <a:lnTo>
                    <a:pt x="1170" y="3186"/>
                  </a:lnTo>
                  <a:lnTo>
                    <a:pt x="1162" y="3167"/>
                  </a:lnTo>
                  <a:lnTo>
                    <a:pt x="1157" y="3158"/>
                  </a:lnTo>
                  <a:lnTo>
                    <a:pt x="1150" y="3150"/>
                  </a:lnTo>
                  <a:lnTo>
                    <a:pt x="1142" y="3142"/>
                  </a:lnTo>
                  <a:lnTo>
                    <a:pt x="1136" y="3135"/>
                  </a:lnTo>
                  <a:lnTo>
                    <a:pt x="1120" y="3125"/>
                  </a:lnTo>
                  <a:lnTo>
                    <a:pt x="1102" y="3116"/>
                  </a:lnTo>
                  <a:lnTo>
                    <a:pt x="1085" y="3106"/>
                  </a:lnTo>
                  <a:lnTo>
                    <a:pt x="1069" y="3096"/>
                  </a:lnTo>
                  <a:lnTo>
                    <a:pt x="1062" y="3090"/>
                  </a:lnTo>
                  <a:lnTo>
                    <a:pt x="1054" y="3082"/>
                  </a:lnTo>
                  <a:lnTo>
                    <a:pt x="1048" y="3074"/>
                  </a:lnTo>
                  <a:lnTo>
                    <a:pt x="1042" y="3065"/>
                  </a:lnTo>
                  <a:lnTo>
                    <a:pt x="1034" y="3069"/>
                  </a:lnTo>
                  <a:lnTo>
                    <a:pt x="1026" y="3070"/>
                  </a:lnTo>
                  <a:lnTo>
                    <a:pt x="1020" y="3070"/>
                  </a:lnTo>
                  <a:lnTo>
                    <a:pt x="1013" y="3069"/>
                  </a:lnTo>
                  <a:lnTo>
                    <a:pt x="1004" y="3066"/>
                  </a:lnTo>
                  <a:lnTo>
                    <a:pt x="995" y="3065"/>
                  </a:lnTo>
                  <a:lnTo>
                    <a:pt x="983" y="3065"/>
                  </a:lnTo>
                  <a:lnTo>
                    <a:pt x="972" y="3062"/>
                  </a:lnTo>
                  <a:lnTo>
                    <a:pt x="963" y="3061"/>
                  </a:lnTo>
                  <a:lnTo>
                    <a:pt x="953" y="3057"/>
                  </a:lnTo>
                  <a:lnTo>
                    <a:pt x="937" y="3049"/>
                  </a:lnTo>
                  <a:lnTo>
                    <a:pt x="923" y="3038"/>
                  </a:lnTo>
                  <a:lnTo>
                    <a:pt x="907" y="3026"/>
                  </a:lnTo>
                  <a:lnTo>
                    <a:pt x="891" y="3014"/>
                  </a:lnTo>
                  <a:lnTo>
                    <a:pt x="883" y="3009"/>
                  </a:lnTo>
                  <a:lnTo>
                    <a:pt x="872" y="3002"/>
                  </a:lnTo>
                  <a:lnTo>
                    <a:pt x="861" y="2997"/>
                  </a:lnTo>
                  <a:lnTo>
                    <a:pt x="849" y="2993"/>
                  </a:lnTo>
                  <a:lnTo>
                    <a:pt x="813" y="2982"/>
                  </a:lnTo>
                  <a:lnTo>
                    <a:pt x="780" y="2976"/>
                  </a:lnTo>
                  <a:lnTo>
                    <a:pt x="764" y="2970"/>
                  </a:lnTo>
                  <a:lnTo>
                    <a:pt x="749" y="2965"/>
                  </a:lnTo>
                  <a:lnTo>
                    <a:pt x="741" y="2961"/>
                  </a:lnTo>
                  <a:lnTo>
                    <a:pt x="736" y="2956"/>
                  </a:lnTo>
                  <a:lnTo>
                    <a:pt x="729" y="2950"/>
                  </a:lnTo>
                  <a:lnTo>
                    <a:pt x="723" y="2945"/>
                  </a:lnTo>
                  <a:lnTo>
                    <a:pt x="719" y="2940"/>
                  </a:lnTo>
                  <a:lnTo>
                    <a:pt x="716" y="2933"/>
                  </a:lnTo>
                  <a:lnTo>
                    <a:pt x="713" y="2926"/>
                  </a:lnTo>
                  <a:lnTo>
                    <a:pt x="712" y="2920"/>
                  </a:lnTo>
                  <a:lnTo>
                    <a:pt x="708" y="2904"/>
                  </a:lnTo>
                  <a:lnTo>
                    <a:pt x="705" y="2888"/>
                  </a:lnTo>
                  <a:lnTo>
                    <a:pt x="703" y="2880"/>
                  </a:lnTo>
                  <a:lnTo>
                    <a:pt x="701" y="2872"/>
                  </a:lnTo>
                  <a:lnTo>
                    <a:pt x="699" y="2865"/>
                  </a:lnTo>
                  <a:lnTo>
                    <a:pt x="695" y="2860"/>
                  </a:lnTo>
                  <a:lnTo>
                    <a:pt x="689" y="2854"/>
                  </a:lnTo>
                  <a:lnTo>
                    <a:pt x="684" y="2852"/>
                  </a:lnTo>
                  <a:lnTo>
                    <a:pt x="677" y="2849"/>
                  </a:lnTo>
                  <a:lnTo>
                    <a:pt x="669" y="2848"/>
                  </a:lnTo>
                  <a:lnTo>
                    <a:pt x="660" y="2849"/>
                  </a:lnTo>
                  <a:lnTo>
                    <a:pt x="651" y="2852"/>
                  </a:lnTo>
                  <a:lnTo>
                    <a:pt x="643" y="2854"/>
                  </a:lnTo>
                  <a:lnTo>
                    <a:pt x="635" y="2860"/>
                  </a:lnTo>
                  <a:lnTo>
                    <a:pt x="629" y="2865"/>
                  </a:lnTo>
                  <a:lnTo>
                    <a:pt x="623" y="2872"/>
                  </a:lnTo>
                  <a:lnTo>
                    <a:pt x="617" y="2878"/>
                  </a:lnTo>
                  <a:lnTo>
                    <a:pt x="612" y="2886"/>
                  </a:lnTo>
                  <a:lnTo>
                    <a:pt x="593" y="2922"/>
                  </a:lnTo>
                  <a:lnTo>
                    <a:pt x="572" y="2957"/>
                  </a:lnTo>
                  <a:lnTo>
                    <a:pt x="564" y="2956"/>
                  </a:lnTo>
                  <a:lnTo>
                    <a:pt x="553" y="2956"/>
                  </a:lnTo>
                  <a:lnTo>
                    <a:pt x="544" y="2953"/>
                  </a:lnTo>
                  <a:lnTo>
                    <a:pt x="535" y="2950"/>
                  </a:lnTo>
                  <a:lnTo>
                    <a:pt x="527" y="2946"/>
                  </a:lnTo>
                  <a:lnTo>
                    <a:pt x="519" y="2941"/>
                  </a:lnTo>
                  <a:lnTo>
                    <a:pt x="512" y="2934"/>
                  </a:lnTo>
                  <a:lnTo>
                    <a:pt x="507" y="2926"/>
                  </a:lnTo>
                  <a:lnTo>
                    <a:pt x="491" y="2932"/>
                  </a:lnTo>
                  <a:lnTo>
                    <a:pt x="479" y="2938"/>
                  </a:lnTo>
                  <a:lnTo>
                    <a:pt x="472" y="2941"/>
                  </a:lnTo>
                  <a:lnTo>
                    <a:pt x="465" y="2942"/>
                  </a:lnTo>
                  <a:lnTo>
                    <a:pt x="456" y="2944"/>
                  </a:lnTo>
                  <a:lnTo>
                    <a:pt x="447" y="2945"/>
                  </a:lnTo>
                  <a:lnTo>
                    <a:pt x="433" y="2944"/>
                  </a:lnTo>
                  <a:lnTo>
                    <a:pt x="420" y="2942"/>
                  </a:lnTo>
                  <a:lnTo>
                    <a:pt x="408" y="2941"/>
                  </a:lnTo>
                  <a:lnTo>
                    <a:pt x="397" y="2937"/>
                  </a:lnTo>
                  <a:lnTo>
                    <a:pt x="375" y="2929"/>
                  </a:lnTo>
                  <a:lnTo>
                    <a:pt x="355" y="2920"/>
                  </a:lnTo>
                  <a:lnTo>
                    <a:pt x="316" y="2896"/>
                  </a:lnTo>
                  <a:lnTo>
                    <a:pt x="277" y="2872"/>
                  </a:lnTo>
                  <a:lnTo>
                    <a:pt x="268" y="2865"/>
                  </a:lnTo>
                  <a:lnTo>
                    <a:pt x="260" y="2856"/>
                  </a:lnTo>
                  <a:lnTo>
                    <a:pt x="254" y="2848"/>
                  </a:lnTo>
                  <a:lnTo>
                    <a:pt x="248" y="2838"/>
                  </a:lnTo>
                  <a:lnTo>
                    <a:pt x="240" y="2830"/>
                  </a:lnTo>
                  <a:lnTo>
                    <a:pt x="231" y="2824"/>
                  </a:lnTo>
                  <a:lnTo>
                    <a:pt x="224" y="2821"/>
                  </a:lnTo>
                  <a:lnTo>
                    <a:pt x="218" y="2820"/>
                  </a:lnTo>
                  <a:lnTo>
                    <a:pt x="208" y="2818"/>
                  </a:lnTo>
                  <a:lnTo>
                    <a:pt x="199" y="2818"/>
                  </a:lnTo>
                  <a:lnTo>
                    <a:pt x="192" y="2818"/>
                  </a:lnTo>
                  <a:lnTo>
                    <a:pt x="187" y="2821"/>
                  </a:lnTo>
                  <a:lnTo>
                    <a:pt x="182" y="2824"/>
                  </a:lnTo>
                  <a:lnTo>
                    <a:pt x="175" y="2828"/>
                  </a:lnTo>
                  <a:lnTo>
                    <a:pt x="170" y="2830"/>
                  </a:lnTo>
                  <a:lnTo>
                    <a:pt x="164" y="2833"/>
                  </a:lnTo>
                  <a:lnTo>
                    <a:pt x="158" y="2836"/>
                  </a:lnTo>
                  <a:lnTo>
                    <a:pt x="151" y="2836"/>
                  </a:lnTo>
                  <a:lnTo>
                    <a:pt x="143" y="2836"/>
                  </a:lnTo>
                  <a:lnTo>
                    <a:pt x="135" y="2832"/>
                  </a:lnTo>
                  <a:lnTo>
                    <a:pt x="127" y="2828"/>
                  </a:lnTo>
                  <a:lnTo>
                    <a:pt x="120" y="2821"/>
                  </a:lnTo>
                  <a:lnTo>
                    <a:pt x="104" y="2804"/>
                  </a:lnTo>
                  <a:lnTo>
                    <a:pt x="88" y="2785"/>
                  </a:lnTo>
                  <a:lnTo>
                    <a:pt x="74" y="2764"/>
                  </a:lnTo>
                  <a:lnTo>
                    <a:pt x="59" y="2745"/>
                  </a:lnTo>
                  <a:lnTo>
                    <a:pt x="52" y="2736"/>
                  </a:lnTo>
                  <a:lnTo>
                    <a:pt x="44" y="2728"/>
                  </a:lnTo>
                  <a:lnTo>
                    <a:pt x="38" y="2721"/>
                  </a:lnTo>
                  <a:lnTo>
                    <a:pt x="31" y="2716"/>
                  </a:lnTo>
                  <a:lnTo>
                    <a:pt x="23" y="2710"/>
                  </a:lnTo>
                  <a:lnTo>
                    <a:pt x="14" y="2705"/>
                  </a:lnTo>
                  <a:lnTo>
                    <a:pt x="8" y="2701"/>
                  </a:lnTo>
                  <a:lnTo>
                    <a:pt x="4" y="2697"/>
                  </a:lnTo>
                  <a:lnTo>
                    <a:pt x="2" y="2692"/>
                  </a:lnTo>
                  <a:lnTo>
                    <a:pt x="0" y="2685"/>
                  </a:lnTo>
                  <a:lnTo>
                    <a:pt x="3" y="2680"/>
                  </a:lnTo>
                  <a:lnTo>
                    <a:pt x="10" y="2670"/>
                  </a:lnTo>
                  <a:lnTo>
                    <a:pt x="20" y="2660"/>
                  </a:lnTo>
                  <a:lnTo>
                    <a:pt x="32" y="2648"/>
                  </a:lnTo>
                  <a:lnTo>
                    <a:pt x="44" y="2637"/>
                  </a:lnTo>
                  <a:lnTo>
                    <a:pt x="56" y="2628"/>
                  </a:lnTo>
                  <a:lnTo>
                    <a:pt x="67" y="2621"/>
                  </a:lnTo>
                  <a:lnTo>
                    <a:pt x="72" y="2620"/>
                  </a:lnTo>
                  <a:lnTo>
                    <a:pt x="90" y="2620"/>
                  </a:lnTo>
                  <a:lnTo>
                    <a:pt x="104" y="2618"/>
                  </a:lnTo>
                  <a:lnTo>
                    <a:pt x="118" y="2617"/>
                  </a:lnTo>
                  <a:lnTo>
                    <a:pt x="127" y="2613"/>
                  </a:lnTo>
                  <a:lnTo>
                    <a:pt x="131" y="2609"/>
                  </a:lnTo>
                  <a:lnTo>
                    <a:pt x="135" y="2606"/>
                  </a:lnTo>
                  <a:lnTo>
                    <a:pt x="138" y="2601"/>
                  </a:lnTo>
                  <a:lnTo>
                    <a:pt x="140" y="2597"/>
                  </a:lnTo>
                  <a:lnTo>
                    <a:pt x="143" y="2590"/>
                  </a:lnTo>
                  <a:lnTo>
                    <a:pt x="144" y="2582"/>
                  </a:lnTo>
                  <a:lnTo>
                    <a:pt x="144" y="2574"/>
                  </a:lnTo>
                  <a:lnTo>
                    <a:pt x="146" y="2565"/>
                  </a:lnTo>
                  <a:lnTo>
                    <a:pt x="144" y="2556"/>
                  </a:lnTo>
                  <a:lnTo>
                    <a:pt x="143" y="2548"/>
                  </a:lnTo>
                  <a:lnTo>
                    <a:pt x="139" y="2540"/>
                  </a:lnTo>
                  <a:lnTo>
                    <a:pt x="136" y="2532"/>
                  </a:lnTo>
                  <a:lnTo>
                    <a:pt x="132" y="2524"/>
                  </a:lnTo>
                  <a:lnTo>
                    <a:pt x="130" y="2516"/>
                  </a:lnTo>
                  <a:lnTo>
                    <a:pt x="128" y="2508"/>
                  </a:lnTo>
                  <a:lnTo>
                    <a:pt x="127" y="2499"/>
                  </a:lnTo>
                  <a:lnTo>
                    <a:pt x="128" y="2488"/>
                  </a:lnTo>
                  <a:lnTo>
                    <a:pt x="131" y="2479"/>
                  </a:lnTo>
                  <a:lnTo>
                    <a:pt x="135" y="2468"/>
                  </a:lnTo>
                  <a:lnTo>
                    <a:pt x="139" y="2459"/>
                  </a:lnTo>
                  <a:lnTo>
                    <a:pt x="143" y="2448"/>
                  </a:lnTo>
                  <a:lnTo>
                    <a:pt x="147" y="2436"/>
                  </a:lnTo>
                  <a:lnTo>
                    <a:pt x="150" y="2424"/>
                  </a:lnTo>
                  <a:lnTo>
                    <a:pt x="151" y="2409"/>
                  </a:lnTo>
                  <a:lnTo>
                    <a:pt x="150" y="2396"/>
                  </a:lnTo>
                  <a:lnTo>
                    <a:pt x="147" y="2384"/>
                  </a:lnTo>
                  <a:lnTo>
                    <a:pt x="143" y="2375"/>
                  </a:lnTo>
                  <a:lnTo>
                    <a:pt x="139" y="2364"/>
                  </a:lnTo>
                  <a:lnTo>
                    <a:pt x="135" y="2355"/>
                  </a:lnTo>
                  <a:lnTo>
                    <a:pt x="131" y="2345"/>
                  </a:lnTo>
                  <a:lnTo>
                    <a:pt x="128" y="2335"/>
                  </a:lnTo>
                  <a:lnTo>
                    <a:pt x="127" y="2324"/>
                  </a:lnTo>
                  <a:lnTo>
                    <a:pt x="128" y="2316"/>
                  </a:lnTo>
                  <a:lnTo>
                    <a:pt x="132" y="2307"/>
                  </a:lnTo>
                  <a:lnTo>
                    <a:pt x="138" y="2296"/>
                  </a:lnTo>
                  <a:lnTo>
                    <a:pt x="143" y="2283"/>
                  </a:lnTo>
                  <a:lnTo>
                    <a:pt x="150" y="2269"/>
                  </a:lnTo>
                  <a:lnTo>
                    <a:pt x="155" y="2256"/>
                  </a:lnTo>
                  <a:lnTo>
                    <a:pt x="160" y="2241"/>
                  </a:lnTo>
                  <a:lnTo>
                    <a:pt x="163" y="2228"/>
                  </a:lnTo>
                  <a:lnTo>
                    <a:pt x="172" y="2225"/>
                  </a:lnTo>
                  <a:lnTo>
                    <a:pt x="180" y="2221"/>
                  </a:lnTo>
                  <a:lnTo>
                    <a:pt x="190" y="2216"/>
                  </a:lnTo>
                  <a:lnTo>
                    <a:pt x="196" y="2211"/>
                  </a:lnTo>
                  <a:lnTo>
                    <a:pt x="204" y="2204"/>
                  </a:lnTo>
                  <a:lnTo>
                    <a:pt x="211" y="2197"/>
                  </a:lnTo>
                  <a:lnTo>
                    <a:pt x="218" y="2189"/>
                  </a:lnTo>
                  <a:lnTo>
                    <a:pt x="223" y="2181"/>
                  </a:lnTo>
                  <a:lnTo>
                    <a:pt x="228" y="2172"/>
                  </a:lnTo>
                  <a:lnTo>
                    <a:pt x="234" y="2164"/>
                  </a:lnTo>
                  <a:lnTo>
                    <a:pt x="238" y="2155"/>
                  </a:lnTo>
                  <a:lnTo>
                    <a:pt x="242" y="2145"/>
                  </a:lnTo>
                  <a:lnTo>
                    <a:pt x="244" y="2136"/>
                  </a:lnTo>
                  <a:lnTo>
                    <a:pt x="246" y="2127"/>
                  </a:lnTo>
                  <a:lnTo>
                    <a:pt x="247" y="2116"/>
                  </a:lnTo>
                  <a:lnTo>
                    <a:pt x="248" y="2108"/>
                  </a:lnTo>
                  <a:lnTo>
                    <a:pt x="247" y="2096"/>
                  </a:lnTo>
                  <a:lnTo>
                    <a:pt x="244" y="2087"/>
                  </a:lnTo>
                  <a:lnTo>
                    <a:pt x="242" y="2077"/>
                  </a:lnTo>
                  <a:lnTo>
                    <a:pt x="238" y="2068"/>
                  </a:lnTo>
                  <a:lnTo>
                    <a:pt x="227" y="2052"/>
                  </a:lnTo>
                  <a:lnTo>
                    <a:pt x="215" y="2036"/>
                  </a:lnTo>
                  <a:lnTo>
                    <a:pt x="203" y="2021"/>
                  </a:lnTo>
                  <a:lnTo>
                    <a:pt x="192" y="2005"/>
                  </a:lnTo>
                  <a:lnTo>
                    <a:pt x="187" y="1997"/>
                  </a:lnTo>
                  <a:lnTo>
                    <a:pt x="184" y="1988"/>
                  </a:lnTo>
                  <a:lnTo>
                    <a:pt x="182" y="1979"/>
                  </a:lnTo>
                  <a:lnTo>
                    <a:pt x="182" y="1969"/>
                  </a:lnTo>
                  <a:lnTo>
                    <a:pt x="182" y="1954"/>
                  </a:lnTo>
                  <a:lnTo>
                    <a:pt x="183" y="1938"/>
                  </a:lnTo>
                  <a:lnTo>
                    <a:pt x="184" y="1922"/>
                  </a:lnTo>
                  <a:lnTo>
                    <a:pt x="187" y="1907"/>
                  </a:lnTo>
                  <a:lnTo>
                    <a:pt x="190" y="1891"/>
                  </a:lnTo>
                  <a:lnTo>
                    <a:pt x="194" y="1876"/>
                  </a:lnTo>
                  <a:lnTo>
                    <a:pt x="198" y="1863"/>
                  </a:lnTo>
                  <a:lnTo>
                    <a:pt x="203" y="1850"/>
                  </a:lnTo>
                  <a:lnTo>
                    <a:pt x="208" y="1839"/>
                  </a:lnTo>
                  <a:lnTo>
                    <a:pt x="215" y="1827"/>
                  </a:lnTo>
                  <a:lnTo>
                    <a:pt x="222" y="1818"/>
                  </a:lnTo>
                  <a:lnTo>
                    <a:pt x="230" y="1810"/>
                  </a:lnTo>
                  <a:lnTo>
                    <a:pt x="238" y="1803"/>
                  </a:lnTo>
                  <a:lnTo>
                    <a:pt x="247" y="1799"/>
                  </a:lnTo>
                  <a:lnTo>
                    <a:pt x="256" y="1795"/>
                  </a:lnTo>
                  <a:lnTo>
                    <a:pt x="265" y="1795"/>
                  </a:lnTo>
                  <a:lnTo>
                    <a:pt x="283" y="1795"/>
                  </a:lnTo>
                  <a:lnTo>
                    <a:pt x="300" y="1795"/>
                  </a:lnTo>
                  <a:lnTo>
                    <a:pt x="320" y="1795"/>
                  </a:lnTo>
                  <a:lnTo>
                    <a:pt x="344" y="1795"/>
                  </a:lnTo>
                  <a:lnTo>
                    <a:pt x="356" y="1794"/>
                  </a:lnTo>
                  <a:lnTo>
                    <a:pt x="368" y="1790"/>
                  </a:lnTo>
                  <a:lnTo>
                    <a:pt x="379" y="1786"/>
                  </a:lnTo>
                  <a:lnTo>
                    <a:pt x="388" y="1779"/>
                  </a:lnTo>
                  <a:lnTo>
                    <a:pt x="397" y="1771"/>
                  </a:lnTo>
                  <a:lnTo>
                    <a:pt x="405" y="1762"/>
                  </a:lnTo>
                  <a:lnTo>
                    <a:pt x="412" y="1752"/>
                  </a:lnTo>
                  <a:lnTo>
                    <a:pt x="419" y="1743"/>
                  </a:lnTo>
                  <a:lnTo>
                    <a:pt x="432" y="1724"/>
                  </a:lnTo>
                  <a:lnTo>
                    <a:pt x="445" y="1708"/>
                  </a:lnTo>
                  <a:lnTo>
                    <a:pt x="452" y="1702"/>
                  </a:lnTo>
                  <a:lnTo>
                    <a:pt x="460" y="1696"/>
                  </a:lnTo>
                  <a:lnTo>
                    <a:pt x="468" y="1694"/>
                  </a:lnTo>
                  <a:lnTo>
                    <a:pt x="476" y="1692"/>
                  </a:lnTo>
                  <a:lnTo>
                    <a:pt x="483" y="1692"/>
                  </a:lnTo>
                  <a:lnTo>
                    <a:pt x="489" y="1694"/>
                  </a:lnTo>
                  <a:lnTo>
                    <a:pt x="496" y="1696"/>
                  </a:lnTo>
                  <a:lnTo>
                    <a:pt x="501" y="1699"/>
                  </a:lnTo>
                  <a:lnTo>
                    <a:pt x="511" y="1706"/>
                  </a:lnTo>
                  <a:lnTo>
                    <a:pt x="519" y="1715"/>
                  </a:lnTo>
                  <a:lnTo>
                    <a:pt x="525" y="1726"/>
                  </a:lnTo>
                  <a:lnTo>
                    <a:pt x="531" y="1738"/>
                  </a:lnTo>
                  <a:lnTo>
                    <a:pt x="536" y="1751"/>
                  </a:lnTo>
                  <a:lnTo>
                    <a:pt x="540" y="1764"/>
                  </a:lnTo>
                  <a:lnTo>
                    <a:pt x="545" y="1778"/>
                  </a:lnTo>
                  <a:lnTo>
                    <a:pt x="551" y="1791"/>
                  </a:lnTo>
                  <a:lnTo>
                    <a:pt x="556" y="1803"/>
                  </a:lnTo>
                  <a:lnTo>
                    <a:pt x="564" y="1814"/>
                  </a:lnTo>
                  <a:lnTo>
                    <a:pt x="568" y="1819"/>
                  </a:lnTo>
                  <a:lnTo>
                    <a:pt x="572" y="1823"/>
                  </a:lnTo>
                  <a:lnTo>
                    <a:pt x="577" y="1827"/>
                  </a:lnTo>
                  <a:lnTo>
                    <a:pt x="583" y="1831"/>
                  </a:lnTo>
                  <a:lnTo>
                    <a:pt x="588" y="1834"/>
                  </a:lnTo>
                  <a:lnTo>
                    <a:pt x="595" y="1835"/>
                  </a:lnTo>
                  <a:lnTo>
                    <a:pt x="601" y="1836"/>
                  </a:lnTo>
                  <a:lnTo>
                    <a:pt x="609" y="1836"/>
                  </a:lnTo>
                  <a:lnTo>
                    <a:pt x="613" y="1836"/>
                  </a:lnTo>
                  <a:lnTo>
                    <a:pt x="616" y="1835"/>
                  </a:lnTo>
                  <a:lnTo>
                    <a:pt x="617" y="1831"/>
                  </a:lnTo>
                  <a:lnTo>
                    <a:pt x="619" y="1828"/>
                  </a:lnTo>
                  <a:lnTo>
                    <a:pt x="620" y="1818"/>
                  </a:lnTo>
                  <a:lnTo>
                    <a:pt x="617" y="1806"/>
                  </a:lnTo>
                  <a:lnTo>
                    <a:pt x="612" y="1776"/>
                  </a:lnTo>
                  <a:lnTo>
                    <a:pt x="609" y="1747"/>
                  </a:lnTo>
                  <a:lnTo>
                    <a:pt x="612" y="1722"/>
                  </a:lnTo>
                  <a:lnTo>
                    <a:pt x="619" y="1684"/>
                  </a:lnTo>
                  <a:lnTo>
                    <a:pt x="624" y="1666"/>
                  </a:lnTo>
                  <a:lnTo>
                    <a:pt x="629" y="1650"/>
                  </a:lnTo>
                  <a:lnTo>
                    <a:pt x="632" y="1643"/>
                  </a:lnTo>
                  <a:lnTo>
                    <a:pt x="635" y="1638"/>
                  </a:lnTo>
                  <a:lnTo>
                    <a:pt x="636" y="1634"/>
                  </a:lnTo>
                  <a:lnTo>
                    <a:pt x="639" y="1632"/>
                  </a:lnTo>
                  <a:lnTo>
                    <a:pt x="649" y="1630"/>
                  </a:lnTo>
                  <a:lnTo>
                    <a:pt x="659" y="1631"/>
                  </a:lnTo>
                  <a:lnTo>
                    <a:pt x="664" y="1630"/>
                  </a:lnTo>
                  <a:lnTo>
                    <a:pt x="668" y="1628"/>
                  </a:lnTo>
                  <a:lnTo>
                    <a:pt x="672" y="1626"/>
                  </a:lnTo>
                  <a:lnTo>
                    <a:pt x="675" y="1620"/>
                  </a:lnTo>
                  <a:lnTo>
                    <a:pt x="677" y="1604"/>
                  </a:lnTo>
                  <a:lnTo>
                    <a:pt x="680" y="1591"/>
                  </a:lnTo>
                  <a:lnTo>
                    <a:pt x="681" y="1584"/>
                  </a:lnTo>
                  <a:lnTo>
                    <a:pt x="684" y="1579"/>
                  </a:lnTo>
                  <a:lnTo>
                    <a:pt x="688" y="1572"/>
                  </a:lnTo>
                  <a:lnTo>
                    <a:pt x="693" y="1566"/>
                  </a:lnTo>
                  <a:lnTo>
                    <a:pt x="716" y="1542"/>
                  </a:lnTo>
                  <a:lnTo>
                    <a:pt x="744" y="1516"/>
                  </a:lnTo>
                  <a:lnTo>
                    <a:pt x="757" y="1502"/>
                  </a:lnTo>
                  <a:lnTo>
                    <a:pt x="768" y="1488"/>
                  </a:lnTo>
                  <a:lnTo>
                    <a:pt x="772" y="1480"/>
                  </a:lnTo>
                  <a:lnTo>
                    <a:pt x="775" y="1472"/>
                  </a:lnTo>
                  <a:lnTo>
                    <a:pt x="777" y="1466"/>
                  </a:lnTo>
                  <a:lnTo>
                    <a:pt x="777" y="1458"/>
                  </a:lnTo>
                  <a:lnTo>
                    <a:pt x="777" y="1451"/>
                  </a:lnTo>
                  <a:lnTo>
                    <a:pt x="775" y="1447"/>
                  </a:lnTo>
                  <a:lnTo>
                    <a:pt x="772" y="1443"/>
                  </a:lnTo>
                  <a:lnTo>
                    <a:pt x="768" y="1440"/>
                  </a:lnTo>
                  <a:lnTo>
                    <a:pt x="760" y="1435"/>
                  </a:lnTo>
                  <a:lnTo>
                    <a:pt x="753" y="1427"/>
                  </a:lnTo>
                  <a:lnTo>
                    <a:pt x="753" y="1422"/>
                  </a:lnTo>
                  <a:lnTo>
                    <a:pt x="753" y="1403"/>
                  </a:lnTo>
                  <a:lnTo>
                    <a:pt x="753" y="1395"/>
                  </a:lnTo>
                  <a:lnTo>
                    <a:pt x="755" y="1388"/>
                  </a:lnTo>
                  <a:lnTo>
                    <a:pt x="757" y="1382"/>
                  </a:lnTo>
                  <a:lnTo>
                    <a:pt x="760" y="1375"/>
                  </a:lnTo>
                  <a:lnTo>
                    <a:pt x="764" y="1369"/>
                  </a:lnTo>
                  <a:lnTo>
                    <a:pt x="768" y="1363"/>
                  </a:lnTo>
                  <a:lnTo>
                    <a:pt x="773" y="1359"/>
                  </a:lnTo>
                  <a:lnTo>
                    <a:pt x="779" y="1354"/>
                  </a:lnTo>
                  <a:lnTo>
                    <a:pt x="791" y="1347"/>
                  </a:lnTo>
                  <a:lnTo>
                    <a:pt x="804" y="1342"/>
                  </a:lnTo>
                  <a:lnTo>
                    <a:pt x="817" y="1338"/>
                  </a:lnTo>
                  <a:lnTo>
                    <a:pt x="832" y="1337"/>
                  </a:lnTo>
                  <a:lnTo>
                    <a:pt x="835" y="1338"/>
                  </a:lnTo>
                  <a:lnTo>
                    <a:pt x="837" y="1338"/>
                  </a:lnTo>
                  <a:lnTo>
                    <a:pt x="840" y="1339"/>
                  </a:lnTo>
                  <a:lnTo>
                    <a:pt x="843" y="1342"/>
                  </a:lnTo>
                  <a:lnTo>
                    <a:pt x="845" y="1347"/>
                  </a:lnTo>
                  <a:lnTo>
                    <a:pt x="849" y="1354"/>
                  </a:lnTo>
                  <a:lnTo>
                    <a:pt x="855" y="1370"/>
                  </a:lnTo>
                  <a:lnTo>
                    <a:pt x="861" y="1384"/>
                  </a:lnTo>
                  <a:lnTo>
                    <a:pt x="881" y="1396"/>
                  </a:lnTo>
                  <a:lnTo>
                    <a:pt x="925" y="1422"/>
                  </a:lnTo>
                  <a:lnTo>
                    <a:pt x="951" y="1435"/>
                  </a:lnTo>
                  <a:lnTo>
                    <a:pt x="973" y="1446"/>
                  </a:lnTo>
                  <a:lnTo>
                    <a:pt x="984" y="1451"/>
                  </a:lnTo>
                  <a:lnTo>
                    <a:pt x="993" y="1454"/>
                  </a:lnTo>
                  <a:lnTo>
                    <a:pt x="1001" y="1456"/>
                  </a:lnTo>
                  <a:lnTo>
                    <a:pt x="1007" y="1458"/>
                  </a:lnTo>
                  <a:lnTo>
                    <a:pt x="1021" y="1456"/>
                  </a:lnTo>
                  <a:lnTo>
                    <a:pt x="1032" y="1454"/>
                  </a:lnTo>
                  <a:lnTo>
                    <a:pt x="1042" y="1448"/>
                  </a:lnTo>
                  <a:lnTo>
                    <a:pt x="1049" y="1443"/>
                  </a:lnTo>
                  <a:lnTo>
                    <a:pt x="1054" y="1436"/>
                  </a:lnTo>
                  <a:lnTo>
                    <a:pt x="1058" y="1430"/>
                  </a:lnTo>
                  <a:lnTo>
                    <a:pt x="1060" y="1422"/>
                  </a:lnTo>
                  <a:lnTo>
                    <a:pt x="1060" y="1415"/>
                  </a:lnTo>
                  <a:lnTo>
                    <a:pt x="1060" y="1411"/>
                  </a:lnTo>
                  <a:lnTo>
                    <a:pt x="1060" y="1400"/>
                  </a:lnTo>
                  <a:lnTo>
                    <a:pt x="1060" y="1387"/>
                  </a:lnTo>
                  <a:lnTo>
                    <a:pt x="1060" y="1373"/>
                  </a:lnTo>
                  <a:lnTo>
                    <a:pt x="1061" y="1365"/>
                  </a:lnTo>
                  <a:lnTo>
                    <a:pt x="1064" y="1357"/>
                  </a:lnTo>
                  <a:lnTo>
                    <a:pt x="1068" y="1350"/>
                  </a:lnTo>
                  <a:lnTo>
                    <a:pt x="1072" y="1343"/>
                  </a:lnTo>
                  <a:lnTo>
                    <a:pt x="1077" y="1338"/>
                  </a:lnTo>
                  <a:lnTo>
                    <a:pt x="1081" y="1331"/>
                  </a:lnTo>
                  <a:lnTo>
                    <a:pt x="1084" y="1326"/>
                  </a:lnTo>
                  <a:lnTo>
                    <a:pt x="1085" y="1319"/>
                  </a:lnTo>
                  <a:lnTo>
                    <a:pt x="1085" y="1309"/>
                  </a:lnTo>
                  <a:lnTo>
                    <a:pt x="1085" y="1289"/>
                  </a:lnTo>
                  <a:lnTo>
                    <a:pt x="1081" y="1282"/>
                  </a:lnTo>
                  <a:lnTo>
                    <a:pt x="1077" y="1275"/>
                  </a:lnTo>
                  <a:lnTo>
                    <a:pt x="1073" y="1270"/>
                  </a:lnTo>
                  <a:lnTo>
                    <a:pt x="1068" y="1263"/>
                  </a:lnTo>
                  <a:lnTo>
                    <a:pt x="1054" y="1253"/>
                  </a:lnTo>
                  <a:lnTo>
                    <a:pt x="1041" y="1242"/>
                  </a:lnTo>
                  <a:lnTo>
                    <a:pt x="1028" y="1233"/>
                  </a:lnTo>
                  <a:lnTo>
                    <a:pt x="1017" y="1223"/>
                  </a:lnTo>
                  <a:lnTo>
                    <a:pt x="1012" y="1218"/>
                  </a:lnTo>
                  <a:lnTo>
                    <a:pt x="1009" y="1214"/>
                  </a:lnTo>
                  <a:lnTo>
                    <a:pt x="1007" y="1209"/>
                  </a:lnTo>
                  <a:lnTo>
                    <a:pt x="1007" y="1205"/>
                  </a:lnTo>
                  <a:lnTo>
                    <a:pt x="1007" y="1195"/>
                  </a:lnTo>
                  <a:lnTo>
                    <a:pt x="1009" y="1186"/>
                  </a:lnTo>
                  <a:lnTo>
                    <a:pt x="1012" y="1178"/>
                  </a:lnTo>
                  <a:lnTo>
                    <a:pt x="1017" y="1171"/>
                  </a:lnTo>
                  <a:lnTo>
                    <a:pt x="1028" y="1159"/>
                  </a:lnTo>
                  <a:lnTo>
                    <a:pt x="1040" y="1149"/>
                  </a:lnTo>
                  <a:lnTo>
                    <a:pt x="1052" y="1137"/>
                  </a:lnTo>
                  <a:lnTo>
                    <a:pt x="1062" y="1126"/>
                  </a:lnTo>
                  <a:lnTo>
                    <a:pt x="1066" y="1119"/>
                  </a:lnTo>
                  <a:lnTo>
                    <a:pt x="1069" y="1113"/>
                  </a:lnTo>
                  <a:lnTo>
                    <a:pt x="1072" y="1105"/>
                  </a:lnTo>
                  <a:lnTo>
                    <a:pt x="1072" y="1097"/>
                  </a:lnTo>
                  <a:lnTo>
                    <a:pt x="1072" y="1086"/>
                  </a:lnTo>
                  <a:lnTo>
                    <a:pt x="1069" y="1075"/>
                  </a:lnTo>
                  <a:lnTo>
                    <a:pt x="1066" y="1067"/>
                  </a:lnTo>
                  <a:lnTo>
                    <a:pt x="1062" y="1058"/>
                  </a:lnTo>
                  <a:lnTo>
                    <a:pt x="1054" y="1043"/>
                  </a:lnTo>
                  <a:lnTo>
                    <a:pt x="1048" y="1030"/>
                  </a:lnTo>
                  <a:lnTo>
                    <a:pt x="940" y="1030"/>
                  </a:lnTo>
                  <a:lnTo>
                    <a:pt x="933" y="1021"/>
                  </a:lnTo>
                  <a:lnTo>
                    <a:pt x="929" y="1009"/>
                  </a:lnTo>
                  <a:lnTo>
                    <a:pt x="924" y="994"/>
                  </a:lnTo>
                  <a:lnTo>
                    <a:pt x="921" y="978"/>
                  </a:lnTo>
                  <a:lnTo>
                    <a:pt x="919" y="959"/>
                  </a:lnTo>
                  <a:lnTo>
                    <a:pt x="917" y="941"/>
                  </a:lnTo>
                  <a:lnTo>
                    <a:pt x="916" y="922"/>
                  </a:lnTo>
                  <a:lnTo>
                    <a:pt x="916" y="903"/>
                  </a:lnTo>
                  <a:lnTo>
                    <a:pt x="917" y="883"/>
                  </a:lnTo>
                  <a:lnTo>
                    <a:pt x="920" y="867"/>
                  </a:lnTo>
                  <a:lnTo>
                    <a:pt x="924" y="855"/>
                  </a:lnTo>
                  <a:lnTo>
                    <a:pt x="929" y="845"/>
                  </a:lnTo>
                  <a:lnTo>
                    <a:pt x="933" y="834"/>
                  </a:lnTo>
                  <a:lnTo>
                    <a:pt x="939" y="823"/>
                  </a:lnTo>
                  <a:lnTo>
                    <a:pt x="943" y="811"/>
                  </a:lnTo>
                  <a:lnTo>
                    <a:pt x="947" y="796"/>
                  </a:lnTo>
                  <a:lnTo>
                    <a:pt x="941" y="794"/>
                  </a:lnTo>
                  <a:lnTo>
                    <a:pt x="939" y="794"/>
                  </a:lnTo>
                  <a:lnTo>
                    <a:pt x="935" y="793"/>
                  </a:lnTo>
                  <a:lnTo>
                    <a:pt x="932" y="790"/>
                  </a:lnTo>
                  <a:lnTo>
                    <a:pt x="927" y="782"/>
                  </a:lnTo>
                  <a:lnTo>
                    <a:pt x="923" y="772"/>
                  </a:lnTo>
                  <a:lnTo>
                    <a:pt x="935" y="764"/>
                  </a:lnTo>
                  <a:lnTo>
                    <a:pt x="944" y="757"/>
                  </a:lnTo>
                  <a:lnTo>
                    <a:pt x="951" y="749"/>
                  </a:lnTo>
                  <a:lnTo>
                    <a:pt x="959" y="740"/>
                  </a:lnTo>
                  <a:lnTo>
                    <a:pt x="965" y="732"/>
                  </a:lnTo>
                  <a:lnTo>
                    <a:pt x="973" y="722"/>
                  </a:lnTo>
                  <a:lnTo>
                    <a:pt x="983" y="714"/>
                  </a:lnTo>
                  <a:lnTo>
                    <a:pt x="995" y="705"/>
                  </a:lnTo>
                  <a:lnTo>
                    <a:pt x="1000" y="697"/>
                  </a:lnTo>
                  <a:lnTo>
                    <a:pt x="1008" y="688"/>
                  </a:lnTo>
                  <a:lnTo>
                    <a:pt x="1012" y="684"/>
                  </a:lnTo>
                  <a:lnTo>
                    <a:pt x="1016" y="678"/>
                  </a:lnTo>
                  <a:lnTo>
                    <a:pt x="1017" y="670"/>
                  </a:lnTo>
                  <a:lnTo>
                    <a:pt x="1018" y="662"/>
                  </a:lnTo>
                  <a:lnTo>
                    <a:pt x="1018" y="656"/>
                  </a:lnTo>
                  <a:lnTo>
                    <a:pt x="1020" y="648"/>
                  </a:lnTo>
                  <a:lnTo>
                    <a:pt x="1022" y="641"/>
                  </a:lnTo>
                  <a:lnTo>
                    <a:pt x="1025" y="634"/>
                  </a:lnTo>
                  <a:lnTo>
                    <a:pt x="1032" y="622"/>
                  </a:lnTo>
                  <a:lnTo>
                    <a:pt x="1040" y="610"/>
                  </a:lnTo>
                  <a:lnTo>
                    <a:pt x="1046" y="598"/>
                  </a:lnTo>
                  <a:lnTo>
                    <a:pt x="1054" y="585"/>
                  </a:lnTo>
                  <a:lnTo>
                    <a:pt x="1057" y="578"/>
                  </a:lnTo>
                  <a:lnTo>
                    <a:pt x="1058" y="572"/>
                  </a:lnTo>
                  <a:lnTo>
                    <a:pt x="1060" y="562"/>
                  </a:lnTo>
                  <a:lnTo>
                    <a:pt x="1060" y="554"/>
                  </a:lnTo>
                  <a:lnTo>
                    <a:pt x="1060" y="548"/>
                  </a:lnTo>
                  <a:lnTo>
                    <a:pt x="1057" y="542"/>
                  </a:lnTo>
                  <a:lnTo>
                    <a:pt x="1053" y="537"/>
                  </a:lnTo>
                  <a:lnTo>
                    <a:pt x="1048" y="532"/>
                  </a:lnTo>
                  <a:lnTo>
                    <a:pt x="1044" y="526"/>
                  </a:lnTo>
                  <a:lnTo>
                    <a:pt x="1040" y="518"/>
                  </a:lnTo>
                  <a:lnTo>
                    <a:pt x="1037" y="510"/>
                  </a:lnTo>
                  <a:lnTo>
                    <a:pt x="1036" y="500"/>
                  </a:lnTo>
                  <a:lnTo>
                    <a:pt x="1037" y="493"/>
                  </a:lnTo>
                  <a:lnTo>
                    <a:pt x="1040" y="486"/>
                  </a:lnTo>
                  <a:lnTo>
                    <a:pt x="1044" y="480"/>
                  </a:lnTo>
                  <a:lnTo>
                    <a:pt x="1048" y="472"/>
                  </a:lnTo>
                  <a:lnTo>
                    <a:pt x="1053" y="465"/>
                  </a:lnTo>
                  <a:lnTo>
                    <a:pt x="1057" y="457"/>
                  </a:lnTo>
                  <a:lnTo>
                    <a:pt x="1060" y="449"/>
                  </a:lnTo>
                  <a:lnTo>
                    <a:pt x="1060" y="440"/>
                  </a:lnTo>
                  <a:lnTo>
                    <a:pt x="1060" y="429"/>
                  </a:lnTo>
                  <a:lnTo>
                    <a:pt x="1057" y="420"/>
                  </a:lnTo>
                  <a:lnTo>
                    <a:pt x="1053" y="412"/>
                  </a:lnTo>
                  <a:lnTo>
                    <a:pt x="1048" y="404"/>
                  </a:lnTo>
                  <a:lnTo>
                    <a:pt x="1036" y="390"/>
                  </a:lnTo>
                  <a:lnTo>
                    <a:pt x="1021" y="378"/>
                  </a:lnTo>
                  <a:lnTo>
                    <a:pt x="1007" y="366"/>
                  </a:lnTo>
                  <a:lnTo>
                    <a:pt x="995" y="353"/>
                  </a:lnTo>
                  <a:lnTo>
                    <a:pt x="989" y="345"/>
                  </a:lnTo>
                  <a:lnTo>
                    <a:pt x="985" y="336"/>
                  </a:lnTo>
                  <a:lnTo>
                    <a:pt x="983" y="325"/>
                  </a:lnTo>
                  <a:lnTo>
                    <a:pt x="983" y="313"/>
                  </a:lnTo>
                  <a:lnTo>
                    <a:pt x="983" y="306"/>
                  </a:lnTo>
                  <a:lnTo>
                    <a:pt x="984" y="298"/>
                  </a:lnTo>
                  <a:lnTo>
                    <a:pt x="985" y="293"/>
                  </a:lnTo>
                  <a:lnTo>
                    <a:pt x="988" y="286"/>
                  </a:lnTo>
                  <a:lnTo>
                    <a:pt x="993" y="277"/>
                  </a:lnTo>
                  <a:lnTo>
                    <a:pt x="1000" y="268"/>
                  </a:lnTo>
                  <a:lnTo>
                    <a:pt x="1007" y="260"/>
                  </a:lnTo>
                  <a:lnTo>
                    <a:pt x="1013" y="252"/>
                  </a:lnTo>
                  <a:lnTo>
                    <a:pt x="1017" y="244"/>
                  </a:lnTo>
                  <a:lnTo>
                    <a:pt x="1018" y="234"/>
                  </a:lnTo>
                  <a:lnTo>
                    <a:pt x="1018" y="229"/>
                  </a:lnTo>
                  <a:lnTo>
                    <a:pt x="1017" y="225"/>
                  </a:lnTo>
                  <a:lnTo>
                    <a:pt x="1015" y="220"/>
                  </a:lnTo>
                  <a:lnTo>
                    <a:pt x="1013" y="216"/>
                  </a:lnTo>
                  <a:lnTo>
                    <a:pt x="1007" y="208"/>
                  </a:lnTo>
                  <a:lnTo>
                    <a:pt x="1000" y="199"/>
                  </a:lnTo>
                  <a:lnTo>
                    <a:pt x="993" y="189"/>
                  </a:lnTo>
                  <a:lnTo>
                    <a:pt x="988" y="177"/>
                  </a:lnTo>
                  <a:lnTo>
                    <a:pt x="985" y="171"/>
                  </a:lnTo>
                  <a:lnTo>
                    <a:pt x="984" y="163"/>
                  </a:lnTo>
                  <a:lnTo>
                    <a:pt x="983" y="155"/>
                  </a:lnTo>
                  <a:lnTo>
                    <a:pt x="983" y="145"/>
                  </a:lnTo>
                  <a:lnTo>
                    <a:pt x="983" y="137"/>
                  </a:lnTo>
                  <a:lnTo>
                    <a:pt x="984" y="129"/>
                  </a:lnTo>
                  <a:lnTo>
                    <a:pt x="985" y="123"/>
                  </a:lnTo>
                  <a:lnTo>
                    <a:pt x="988" y="116"/>
                  </a:lnTo>
                  <a:lnTo>
                    <a:pt x="992" y="111"/>
                  </a:lnTo>
                  <a:lnTo>
                    <a:pt x="996" y="105"/>
                  </a:lnTo>
                  <a:lnTo>
                    <a:pt x="1000" y="100"/>
                  </a:lnTo>
                  <a:lnTo>
                    <a:pt x="1005" y="96"/>
                  </a:lnTo>
                  <a:lnTo>
                    <a:pt x="1016" y="88"/>
                  </a:lnTo>
                  <a:lnTo>
                    <a:pt x="1028" y="81"/>
                  </a:lnTo>
                  <a:lnTo>
                    <a:pt x="1041" y="76"/>
                  </a:lnTo>
                  <a:lnTo>
                    <a:pt x="1054" y="71"/>
                  </a:lnTo>
                  <a:lnTo>
                    <a:pt x="1069" y="65"/>
                  </a:lnTo>
                  <a:lnTo>
                    <a:pt x="1082" y="60"/>
                  </a:lnTo>
                  <a:lnTo>
                    <a:pt x="1094" y="53"/>
                  </a:lnTo>
                  <a:lnTo>
                    <a:pt x="1106" y="45"/>
                  </a:lnTo>
                  <a:lnTo>
                    <a:pt x="1117" y="37"/>
                  </a:lnTo>
                  <a:lnTo>
                    <a:pt x="1125" y="27"/>
                  </a:lnTo>
                  <a:lnTo>
                    <a:pt x="1128" y="21"/>
                  </a:lnTo>
                  <a:lnTo>
                    <a:pt x="1130" y="15"/>
                  </a:lnTo>
                  <a:lnTo>
                    <a:pt x="1132" y="8"/>
                  </a:lnTo>
                  <a:lnTo>
                    <a:pt x="1133" y="0"/>
                  </a:lnTo>
                  <a:lnTo>
                    <a:pt x="1174" y="1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61" name="Freeform 7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3851920" y="3717032"/>
              <a:ext cx="776287" cy="515937"/>
            </a:xfrm>
            <a:custGeom>
              <a:avLst/>
              <a:gdLst/>
              <a:ahLst/>
              <a:cxnLst>
                <a:cxn ang="0">
                  <a:pos x="1241" y="1258"/>
                </a:cxn>
                <a:cxn ang="0">
                  <a:pos x="1321" y="1205"/>
                </a:cxn>
                <a:cxn ang="0">
                  <a:pos x="1381" y="1177"/>
                </a:cxn>
                <a:cxn ang="0">
                  <a:pos x="1446" y="1162"/>
                </a:cxn>
                <a:cxn ang="0">
                  <a:pos x="1511" y="1167"/>
                </a:cxn>
                <a:cxn ang="0">
                  <a:pos x="1596" y="1191"/>
                </a:cxn>
                <a:cxn ang="0">
                  <a:pos x="1660" y="1159"/>
                </a:cxn>
                <a:cxn ang="0">
                  <a:pos x="1716" y="1081"/>
                </a:cxn>
                <a:cxn ang="0">
                  <a:pos x="1744" y="988"/>
                </a:cxn>
                <a:cxn ang="0">
                  <a:pos x="1803" y="922"/>
                </a:cxn>
                <a:cxn ang="0">
                  <a:pos x="1796" y="861"/>
                </a:cxn>
                <a:cxn ang="0">
                  <a:pos x="1726" y="826"/>
                </a:cxn>
                <a:cxn ang="0">
                  <a:pos x="1655" y="790"/>
                </a:cxn>
                <a:cxn ang="0">
                  <a:pos x="1647" y="722"/>
                </a:cxn>
                <a:cxn ang="0">
                  <a:pos x="1698" y="634"/>
                </a:cxn>
                <a:cxn ang="0">
                  <a:pos x="1720" y="560"/>
                </a:cxn>
                <a:cxn ang="0">
                  <a:pos x="1676" y="529"/>
                </a:cxn>
                <a:cxn ang="0">
                  <a:pos x="1603" y="469"/>
                </a:cxn>
                <a:cxn ang="0">
                  <a:pos x="1548" y="411"/>
                </a:cxn>
                <a:cxn ang="0">
                  <a:pos x="1484" y="349"/>
                </a:cxn>
                <a:cxn ang="0">
                  <a:pos x="1374" y="343"/>
                </a:cxn>
                <a:cxn ang="0">
                  <a:pos x="1278" y="353"/>
                </a:cxn>
                <a:cxn ang="0">
                  <a:pos x="1253" y="312"/>
                </a:cxn>
                <a:cxn ang="0">
                  <a:pos x="1251" y="195"/>
                </a:cxn>
                <a:cxn ang="0">
                  <a:pos x="1214" y="131"/>
                </a:cxn>
                <a:cxn ang="0">
                  <a:pos x="1182" y="100"/>
                </a:cxn>
                <a:cxn ang="0">
                  <a:pos x="1115" y="55"/>
                </a:cxn>
                <a:cxn ang="0">
                  <a:pos x="1038" y="83"/>
                </a:cxn>
                <a:cxn ang="0">
                  <a:pos x="961" y="143"/>
                </a:cxn>
                <a:cxn ang="0">
                  <a:pos x="859" y="108"/>
                </a:cxn>
                <a:cxn ang="0">
                  <a:pos x="775" y="72"/>
                </a:cxn>
                <a:cxn ang="0">
                  <a:pos x="641" y="52"/>
                </a:cxn>
                <a:cxn ang="0">
                  <a:pos x="434" y="4"/>
                </a:cxn>
                <a:cxn ang="0">
                  <a:pos x="364" y="12"/>
                </a:cxn>
                <a:cxn ang="0">
                  <a:pos x="305" y="100"/>
                </a:cxn>
                <a:cxn ang="0">
                  <a:pos x="241" y="256"/>
                </a:cxn>
                <a:cxn ang="0">
                  <a:pos x="149" y="305"/>
                </a:cxn>
                <a:cxn ang="0">
                  <a:pos x="101" y="380"/>
                </a:cxn>
                <a:cxn ang="0">
                  <a:pos x="42" y="500"/>
                </a:cxn>
                <a:cxn ang="0">
                  <a:pos x="42" y="528"/>
                </a:cxn>
                <a:cxn ang="0">
                  <a:pos x="6" y="570"/>
                </a:cxn>
                <a:cxn ang="0">
                  <a:pos x="12" y="637"/>
                </a:cxn>
                <a:cxn ang="0">
                  <a:pos x="70" y="830"/>
                </a:cxn>
                <a:cxn ang="0">
                  <a:pos x="190" y="885"/>
                </a:cxn>
                <a:cxn ang="0">
                  <a:pos x="422" y="944"/>
                </a:cxn>
                <a:cxn ang="0">
                  <a:pos x="545" y="1037"/>
                </a:cxn>
                <a:cxn ang="0">
                  <a:pos x="578" y="1119"/>
                </a:cxn>
                <a:cxn ang="0">
                  <a:pos x="695" y="1127"/>
                </a:cxn>
                <a:cxn ang="0">
                  <a:pos x="795" y="1182"/>
                </a:cxn>
                <a:cxn ang="0">
                  <a:pos x="885" y="1182"/>
                </a:cxn>
                <a:cxn ang="0">
                  <a:pos x="966" y="1165"/>
                </a:cxn>
                <a:cxn ang="0">
                  <a:pos x="981" y="1205"/>
                </a:cxn>
                <a:cxn ang="0">
                  <a:pos x="963" y="1251"/>
                </a:cxn>
                <a:cxn ang="0">
                  <a:pos x="993" y="1302"/>
                </a:cxn>
                <a:cxn ang="0">
                  <a:pos x="1019" y="1367"/>
                </a:cxn>
                <a:cxn ang="0">
                  <a:pos x="1058" y="1314"/>
                </a:cxn>
                <a:cxn ang="0">
                  <a:pos x="1145" y="1282"/>
                </a:cxn>
              </a:cxnLst>
              <a:rect l="0" t="0" r="r" b="b"/>
              <a:pathLst>
                <a:path w="1807" h="1378">
                  <a:moveTo>
                    <a:pt x="1145" y="1282"/>
                  </a:moveTo>
                  <a:lnTo>
                    <a:pt x="1170" y="1275"/>
                  </a:lnTo>
                  <a:lnTo>
                    <a:pt x="1193" y="1267"/>
                  </a:lnTo>
                  <a:lnTo>
                    <a:pt x="1203" y="1263"/>
                  </a:lnTo>
                  <a:lnTo>
                    <a:pt x="1215" y="1261"/>
                  </a:lnTo>
                  <a:lnTo>
                    <a:pt x="1227" y="1259"/>
                  </a:lnTo>
                  <a:lnTo>
                    <a:pt x="1241" y="1258"/>
                  </a:lnTo>
                  <a:lnTo>
                    <a:pt x="1251" y="1257"/>
                  </a:lnTo>
                  <a:lnTo>
                    <a:pt x="1262" y="1254"/>
                  </a:lnTo>
                  <a:lnTo>
                    <a:pt x="1270" y="1251"/>
                  </a:lnTo>
                  <a:lnTo>
                    <a:pt x="1279" y="1246"/>
                  </a:lnTo>
                  <a:lnTo>
                    <a:pt x="1294" y="1233"/>
                  </a:lnTo>
                  <a:lnTo>
                    <a:pt x="1307" y="1219"/>
                  </a:lnTo>
                  <a:lnTo>
                    <a:pt x="1321" y="1205"/>
                  </a:lnTo>
                  <a:lnTo>
                    <a:pt x="1333" y="1191"/>
                  </a:lnTo>
                  <a:lnTo>
                    <a:pt x="1339" y="1187"/>
                  </a:lnTo>
                  <a:lnTo>
                    <a:pt x="1346" y="1183"/>
                  </a:lnTo>
                  <a:lnTo>
                    <a:pt x="1354" y="1181"/>
                  </a:lnTo>
                  <a:lnTo>
                    <a:pt x="1361" y="1179"/>
                  </a:lnTo>
                  <a:lnTo>
                    <a:pt x="1371" y="1179"/>
                  </a:lnTo>
                  <a:lnTo>
                    <a:pt x="1381" y="1177"/>
                  </a:lnTo>
                  <a:lnTo>
                    <a:pt x="1390" y="1174"/>
                  </a:lnTo>
                  <a:lnTo>
                    <a:pt x="1398" y="1170"/>
                  </a:lnTo>
                  <a:lnTo>
                    <a:pt x="1407" y="1167"/>
                  </a:lnTo>
                  <a:lnTo>
                    <a:pt x="1416" y="1165"/>
                  </a:lnTo>
                  <a:lnTo>
                    <a:pt x="1427" y="1162"/>
                  </a:lnTo>
                  <a:lnTo>
                    <a:pt x="1439" y="1162"/>
                  </a:lnTo>
                  <a:lnTo>
                    <a:pt x="1446" y="1162"/>
                  </a:lnTo>
                  <a:lnTo>
                    <a:pt x="1451" y="1166"/>
                  </a:lnTo>
                  <a:lnTo>
                    <a:pt x="1458" y="1170"/>
                  </a:lnTo>
                  <a:lnTo>
                    <a:pt x="1463" y="1174"/>
                  </a:lnTo>
                  <a:lnTo>
                    <a:pt x="1472" y="1185"/>
                  </a:lnTo>
                  <a:lnTo>
                    <a:pt x="1482" y="1191"/>
                  </a:lnTo>
                  <a:lnTo>
                    <a:pt x="1511" y="1191"/>
                  </a:lnTo>
                  <a:lnTo>
                    <a:pt x="1511" y="1167"/>
                  </a:lnTo>
                  <a:lnTo>
                    <a:pt x="1554" y="1167"/>
                  </a:lnTo>
                  <a:lnTo>
                    <a:pt x="1562" y="1174"/>
                  </a:lnTo>
                  <a:lnTo>
                    <a:pt x="1570" y="1182"/>
                  </a:lnTo>
                  <a:lnTo>
                    <a:pt x="1575" y="1186"/>
                  </a:lnTo>
                  <a:lnTo>
                    <a:pt x="1580" y="1189"/>
                  </a:lnTo>
                  <a:lnTo>
                    <a:pt x="1587" y="1191"/>
                  </a:lnTo>
                  <a:lnTo>
                    <a:pt x="1596" y="1191"/>
                  </a:lnTo>
                  <a:lnTo>
                    <a:pt x="1606" y="1191"/>
                  </a:lnTo>
                  <a:lnTo>
                    <a:pt x="1614" y="1190"/>
                  </a:lnTo>
                  <a:lnTo>
                    <a:pt x="1620" y="1187"/>
                  </a:lnTo>
                  <a:lnTo>
                    <a:pt x="1627" y="1185"/>
                  </a:lnTo>
                  <a:lnTo>
                    <a:pt x="1639" y="1177"/>
                  </a:lnTo>
                  <a:lnTo>
                    <a:pt x="1650" y="1167"/>
                  </a:lnTo>
                  <a:lnTo>
                    <a:pt x="1660" y="1159"/>
                  </a:lnTo>
                  <a:lnTo>
                    <a:pt x="1675" y="1151"/>
                  </a:lnTo>
                  <a:lnTo>
                    <a:pt x="1683" y="1147"/>
                  </a:lnTo>
                  <a:lnTo>
                    <a:pt x="1692" y="1146"/>
                  </a:lnTo>
                  <a:lnTo>
                    <a:pt x="1703" y="1145"/>
                  </a:lnTo>
                  <a:lnTo>
                    <a:pt x="1716" y="1143"/>
                  </a:lnTo>
                  <a:lnTo>
                    <a:pt x="1716" y="1111"/>
                  </a:lnTo>
                  <a:lnTo>
                    <a:pt x="1716" y="1081"/>
                  </a:lnTo>
                  <a:lnTo>
                    <a:pt x="1716" y="1057"/>
                  </a:lnTo>
                  <a:lnTo>
                    <a:pt x="1716" y="1041"/>
                  </a:lnTo>
                  <a:lnTo>
                    <a:pt x="1718" y="1030"/>
                  </a:lnTo>
                  <a:lnTo>
                    <a:pt x="1720" y="1019"/>
                  </a:lnTo>
                  <a:lnTo>
                    <a:pt x="1724" y="1010"/>
                  </a:lnTo>
                  <a:lnTo>
                    <a:pt x="1730" y="1002"/>
                  </a:lnTo>
                  <a:lnTo>
                    <a:pt x="1744" y="988"/>
                  </a:lnTo>
                  <a:lnTo>
                    <a:pt x="1762" y="973"/>
                  </a:lnTo>
                  <a:lnTo>
                    <a:pt x="1770" y="966"/>
                  </a:lnTo>
                  <a:lnTo>
                    <a:pt x="1778" y="960"/>
                  </a:lnTo>
                  <a:lnTo>
                    <a:pt x="1786" y="952"/>
                  </a:lnTo>
                  <a:lnTo>
                    <a:pt x="1792" y="944"/>
                  </a:lnTo>
                  <a:lnTo>
                    <a:pt x="1798" y="933"/>
                  </a:lnTo>
                  <a:lnTo>
                    <a:pt x="1803" y="922"/>
                  </a:lnTo>
                  <a:lnTo>
                    <a:pt x="1806" y="910"/>
                  </a:lnTo>
                  <a:lnTo>
                    <a:pt x="1807" y="897"/>
                  </a:lnTo>
                  <a:lnTo>
                    <a:pt x="1806" y="888"/>
                  </a:lnTo>
                  <a:lnTo>
                    <a:pt x="1804" y="881"/>
                  </a:lnTo>
                  <a:lnTo>
                    <a:pt x="1803" y="873"/>
                  </a:lnTo>
                  <a:lnTo>
                    <a:pt x="1799" y="868"/>
                  </a:lnTo>
                  <a:lnTo>
                    <a:pt x="1796" y="861"/>
                  </a:lnTo>
                  <a:lnTo>
                    <a:pt x="1791" y="857"/>
                  </a:lnTo>
                  <a:lnTo>
                    <a:pt x="1787" y="852"/>
                  </a:lnTo>
                  <a:lnTo>
                    <a:pt x="1782" y="848"/>
                  </a:lnTo>
                  <a:lnTo>
                    <a:pt x="1768" y="841"/>
                  </a:lnTo>
                  <a:lnTo>
                    <a:pt x="1755" y="836"/>
                  </a:lnTo>
                  <a:lnTo>
                    <a:pt x="1740" y="832"/>
                  </a:lnTo>
                  <a:lnTo>
                    <a:pt x="1726" y="826"/>
                  </a:lnTo>
                  <a:lnTo>
                    <a:pt x="1710" y="822"/>
                  </a:lnTo>
                  <a:lnTo>
                    <a:pt x="1695" y="817"/>
                  </a:lnTo>
                  <a:lnTo>
                    <a:pt x="1682" y="812"/>
                  </a:lnTo>
                  <a:lnTo>
                    <a:pt x="1670" y="805"/>
                  </a:lnTo>
                  <a:lnTo>
                    <a:pt x="1664" y="800"/>
                  </a:lnTo>
                  <a:lnTo>
                    <a:pt x="1659" y="796"/>
                  </a:lnTo>
                  <a:lnTo>
                    <a:pt x="1655" y="790"/>
                  </a:lnTo>
                  <a:lnTo>
                    <a:pt x="1651" y="784"/>
                  </a:lnTo>
                  <a:lnTo>
                    <a:pt x="1648" y="777"/>
                  </a:lnTo>
                  <a:lnTo>
                    <a:pt x="1646" y="770"/>
                  </a:lnTo>
                  <a:lnTo>
                    <a:pt x="1644" y="761"/>
                  </a:lnTo>
                  <a:lnTo>
                    <a:pt x="1644" y="752"/>
                  </a:lnTo>
                  <a:lnTo>
                    <a:pt x="1644" y="737"/>
                  </a:lnTo>
                  <a:lnTo>
                    <a:pt x="1647" y="722"/>
                  </a:lnTo>
                  <a:lnTo>
                    <a:pt x="1651" y="709"/>
                  </a:lnTo>
                  <a:lnTo>
                    <a:pt x="1656" y="697"/>
                  </a:lnTo>
                  <a:lnTo>
                    <a:pt x="1662" y="685"/>
                  </a:lnTo>
                  <a:lnTo>
                    <a:pt x="1668" y="674"/>
                  </a:lnTo>
                  <a:lnTo>
                    <a:pt x="1676" y="664"/>
                  </a:lnTo>
                  <a:lnTo>
                    <a:pt x="1683" y="653"/>
                  </a:lnTo>
                  <a:lnTo>
                    <a:pt x="1698" y="634"/>
                  </a:lnTo>
                  <a:lnTo>
                    <a:pt x="1710" y="616"/>
                  </a:lnTo>
                  <a:lnTo>
                    <a:pt x="1715" y="606"/>
                  </a:lnTo>
                  <a:lnTo>
                    <a:pt x="1719" y="597"/>
                  </a:lnTo>
                  <a:lnTo>
                    <a:pt x="1722" y="588"/>
                  </a:lnTo>
                  <a:lnTo>
                    <a:pt x="1722" y="577"/>
                  </a:lnTo>
                  <a:lnTo>
                    <a:pt x="1722" y="568"/>
                  </a:lnTo>
                  <a:lnTo>
                    <a:pt x="1720" y="560"/>
                  </a:lnTo>
                  <a:lnTo>
                    <a:pt x="1716" y="553"/>
                  </a:lnTo>
                  <a:lnTo>
                    <a:pt x="1714" y="548"/>
                  </a:lnTo>
                  <a:lnTo>
                    <a:pt x="1708" y="544"/>
                  </a:lnTo>
                  <a:lnTo>
                    <a:pt x="1703" y="540"/>
                  </a:lnTo>
                  <a:lnTo>
                    <a:pt x="1698" y="536"/>
                  </a:lnTo>
                  <a:lnTo>
                    <a:pt x="1691" y="533"/>
                  </a:lnTo>
                  <a:lnTo>
                    <a:pt x="1676" y="529"/>
                  </a:lnTo>
                  <a:lnTo>
                    <a:pt x="1662" y="524"/>
                  </a:lnTo>
                  <a:lnTo>
                    <a:pt x="1646" y="518"/>
                  </a:lnTo>
                  <a:lnTo>
                    <a:pt x="1632" y="512"/>
                  </a:lnTo>
                  <a:lnTo>
                    <a:pt x="1624" y="504"/>
                  </a:lnTo>
                  <a:lnTo>
                    <a:pt x="1618" y="493"/>
                  </a:lnTo>
                  <a:lnTo>
                    <a:pt x="1610" y="481"/>
                  </a:lnTo>
                  <a:lnTo>
                    <a:pt x="1603" y="469"/>
                  </a:lnTo>
                  <a:lnTo>
                    <a:pt x="1596" y="456"/>
                  </a:lnTo>
                  <a:lnTo>
                    <a:pt x="1591" y="442"/>
                  </a:lnTo>
                  <a:lnTo>
                    <a:pt x="1587" y="430"/>
                  </a:lnTo>
                  <a:lnTo>
                    <a:pt x="1584" y="421"/>
                  </a:lnTo>
                  <a:lnTo>
                    <a:pt x="1570" y="419"/>
                  </a:lnTo>
                  <a:lnTo>
                    <a:pt x="1559" y="416"/>
                  </a:lnTo>
                  <a:lnTo>
                    <a:pt x="1548" y="411"/>
                  </a:lnTo>
                  <a:lnTo>
                    <a:pt x="1540" y="405"/>
                  </a:lnTo>
                  <a:lnTo>
                    <a:pt x="1527" y="392"/>
                  </a:lnTo>
                  <a:lnTo>
                    <a:pt x="1515" y="377"/>
                  </a:lnTo>
                  <a:lnTo>
                    <a:pt x="1508" y="369"/>
                  </a:lnTo>
                  <a:lnTo>
                    <a:pt x="1500" y="361"/>
                  </a:lnTo>
                  <a:lnTo>
                    <a:pt x="1492" y="355"/>
                  </a:lnTo>
                  <a:lnTo>
                    <a:pt x="1484" y="349"/>
                  </a:lnTo>
                  <a:lnTo>
                    <a:pt x="1472" y="344"/>
                  </a:lnTo>
                  <a:lnTo>
                    <a:pt x="1460" y="340"/>
                  </a:lnTo>
                  <a:lnTo>
                    <a:pt x="1444" y="337"/>
                  </a:lnTo>
                  <a:lnTo>
                    <a:pt x="1427" y="337"/>
                  </a:lnTo>
                  <a:lnTo>
                    <a:pt x="1408" y="337"/>
                  </a:lnTo>
                  <a:lnTo>
                    <a:pt x="1390" y="340"/>
                  </a:lnTo>
                  <a:lnTo>
                    <a:pt x="1374" y="343"/>
                  </a:lnTo>
                  <a:lnTo>
                    <a:pt x="1358" y="345"/>
                  </a:lnTo>
                  <a:lnTo>
                    <a:pt x="1342" y="349"/>
                  </a:lnTo>
                  <a:lnTo>
                    <a:pt x="1326" y="352"/>
                  </a:lnTo>
                  <a:lnTo>
                    <a:pt x="1309" y="355"/>
                  </a:lnTo>
                  <a:lnTo>
                    <a:pt x="1289" y="355"/>
                  </a:lnTo>
                  <a:lnTo>
                    <a:pt x="1283" y="355"/>
                  </a:lnTo>
                  <a:lnTo>
                    <a:pt x="1278" y="353"/>
                  </a:lnTo>
                  <a:lnTo>
                    <a:pt x="1274" y="352"/>
                  </a:lnTo>
                  <a:lnTo>
                    <a:pt x="1270" y="349"/>
                  </a:lnTo>
                  <a:lnTo>
                    <a:pt x="1265" y="343"/>
                  </a:lnTo>
                  <a:lnTo>
                    <a:pt x="1259" y="336"/>
                  </a:lnTo>
                  <a:lnTo>
                    <a:pt x="1257" y="327"/>
                  </a:lnTo>
                  <a:lnTo>
                    <a:pt x="1254" y="320"/>
                  </a:lnTo>
                  <a:lnTo>
                    <a:pt x="1253" y="312"/>
                  </a:lnTo>
                  <a:lnTo>
                    <a:pt x="1253" y="307"/>
                  </a:lnTo>
                  <a:lnTo>
                    <a:pt x="1253" y="291"/>
                  </a:lnTo>
                  <a:lnTo>
                    <a:pt x="1253" y="268"/>
                  </a:lnTo>
                  <a:lnTo>
                    <a:pt x="1253" y="241"/>
                  </a:lnTo>
                  <a:lnTo>
                    <a:pt x="1253" y="211"/>
                  </a:lnTo>
                  <a:lnTo>
                    <a:pt x="1253" y="201"/>
                  </a:lnTo>
                  <a:lnTo>
                    <a:pt x="1251" y="195"/>
                  </a:lnTo>
                  <a:lnTo>
                    <a:pt x="1249" y="187"/>
                  </a:lnTo>
                  <a:lnTo>
                    <a:pt x="1246" y="181"/>
                  </a:lnTo>
                  <a:lnTo>
                    <a:pt x="1239" y="169"/>
                  </a:lnTo>
                  <a:lnTo>
                    <a:pt x="1231" y="159"/>
                  </a:lnTo>
                  <a:lnTo>
                    <a:pt x="1223" y="149"/>
                  </a:lnTo>
                  <a:lnTo>
                    <a:pt x="1217" y="137"/>
                  </a:lnTo>
                  <a:lnTo>
                    <a:pt x="1214" y="131"/>
                  </a:lnTo>
                  <a:lnTo>
                    <a:pt x="1213" y="124"/>
                  </a:lnTo>
                  <a:lnTo>
                    <a:pt x="1211" y="116"/>
                  </a:lnTo>
                  <a:lnTo>
                    <a:pt x="1210" y="108"/>
                  </a:lnTo>
                  <a:lnTo>
                    <a:pt x="1203" y="108"/>
                  </a:lnTo>
                  <a:lnTo>
                    <a:pt x="1195" y="105"/>
                  </a:lnTo>
                  <a:lnTo>
                    <a:pt x="1189" y="103"/>
                  </a:lnTo>
                  <a:lnTo>
                    <a:pt x="1182" y="100"/>
                  </a:lnTo>
                  <a:lnTo>
                    <a:pt x="1171" y="91"/>
                  </a:lnTo>
                  <a:lnTo>
                    <a:pt x="1159" y="81"/>
                  </a:lnTo>
                  <a:lnTo>
                    <a:pt x="1147" y="71"/>
                  </a:lnTo>
                  <a:lnTo>
                    <a:pt x="1135" y="63"/>
                  </a:lnTo>
                  <a:lnTo>
                    <a:pt x="1130" y="59"/>
                  </a:lnTo>
                  <a:lnTo>
                    <a:pt x="1123" y="56"/>
                  </a:lnTo>
                  <a:lnTo>
                    <a:pt x="1115" y="55"/>
                  </a:lnTo>
                  <a:lnTo>
                    <a:pt x="1109" y="53"/>
                  </a:lnTo>
                  <a:lnTo>
                    <a:pt x="1094" y="55"/>
                  </a:lnTo>
                  <a:lnTo>
                    <a:pt x="1081" y="57"/>
                  </a:lnTo>
                  <a:lnTo>
                    <a:pt x="1069" y="63"/>
                  </a:lnTo>
                  <a:lnTo>
                    <a:pt x="1058" y="68"/>
                  </a:lnTo>
                  <a:lnTo>
                    <a:pt x="1047" y="75"/>
                  </a:lnTo>
                  <a:lnTo>
                    <a:pt x="1038" y="83"/>
                  </a:lnTo>
                  <a:lnTo>
                    <a:pt x="1030" y="91"/>
                  </a:lnTo>
                  <a:lnTo>
                    <a:pt x="1021" y="99"/>
                  </a:lnTo>
                  <a:lnTo>
                    <a:pt x="1005" y="116"/>
                  </a:lnTo>
                  <a:lnTo>
                    <a:pt x="987" y="131"/>
                  </a:lnTo>
                  <a:lnTo>
                    <a:pt x="979" y="136"/>
                  </a:lnTo>
                  <a:lnTo>
                    <a:pt x="970" y="140"/>
                  </a:lnTo>
                  <a:lnTo>
                    <a:pt x="961" y="143"/>
                  </a:lnTo>
                  <a:lnTo>
                    <a:pt x="951" y="144"/>
                  </a:lnTo>
                  <a:lnTo>
                    <a:pt x="937" y="143"/>
                  </a:lnTo>
                  <a:lnTo>
                    <a:pt x="923" y="141"/>
                  </a:lnTo>
                  <a:lnTo>
                    <a:pt x="910" y="137"/>
                  </a:lnTo>
                  <a:lnTo>
                    <a:pt x="899" y="133"/>
                  </a:lnTo>
                  <a:lnTo>
                    <a:pt x="879" y="121"/>
                  </a:lnTo>
                  <a:lnTo>
                    <a:pt x="859" y="108"/>
                  </a:lnTo>
                  <a:lnTo>
                    <a:pt x="850" y="101"/>
                  </a:lnTo>
                  <a:lnTo>
                    <a:pt x="839" y="95"/>
                  </a:lnTo>
                  <a:lnTo>
                    <a:pt x="829" y="88"/>
                  </a:lnTo>
                  <a:lnTo>
                    <a:pt x="818" y="83"/>
                  </a:lnTo>
                  <a:lnTo>
                    <a:pt x="805" y="79"/>
                  </a:lnTo>
                  <a:lnTo>
                    <a:pt x="791" y="75"/>
                  </a:lnTo>
                  <a:lnTo>
                    <a:pt x="775" y="72"/>
                  </a:lnTo>
                  <a:lnTo>
                    <a:pt x="759" y="72"/>
                  </a:lnTo>
                  <a:lnTo>
                    <a:pt x="737" y="72"/>
                  </a:lnTo>
                  <a:lnTo>
                    <a:pt x="715" y="71"/>
                  </a:lnTo>
                  <a:lnTo>
                    <a:pt x="695" y="68"/>
                  </a:lnTo>
                  <a:lnTo>
                    <a:pt x="677" y="64"/>
                  </a:lnTo>
                  <a:lnTo>
                    <a:pt x="658" y="59"/>
                  </a:lnTo>
                  <a:lnTo>
                    <a:pt x="641" y="52"/>
                  </a:lnTo>
                  <a:lnTo>
                    <a:pt x="625" y="41"/>
                  </a:lnTo>
                  <a:lnTo>
                    <a:pt x="609" y="29"/>
                  </a:lnTo>
                  <a:lnTo>
                    <a:pt x="506" y="29"/>
                  </a:lnTo>
                  <a:lnTo>
                    <a:pt x="486" y="23"/>
                  </a:lnTo>
                  <a:lnTo>
                    <a:pt x="461" y="12"/>
                  </a:lnTo>
                  <a:lnTo>
                    <a:pt x="448" y="8"/>
                  </a:lnTo>
                  <a:lnTo>
                    <a:pt x="434" y="4"/>
                  </a:lnTo>
                  <a:lnTo>
                    <a:pt x="420" y="0"/>
                  </a:lnTo>
                  <a:lnTo>
                    <a:pt x="404" y="0"/>
                  </a:lnTo>
                  <a:lnTo>
                    <a:pt x="394" y="0"/>
                  </a:lnTo>
                  <a:lnTo>
                    <a:pt x="386" y="1"/>
                  </a:lnTo>
                  <a:lnTo>
                    <a:pt x="378" y="4"/>
                  </a:lnTo>
                  <a:lnTo>
                    <a:pt x="370" y="8"/>
                  </a:lnTo>
                  <a:lnTo>
                    <a:pt x="364" y="12"/>
                  </a:lnTo>
                  <a:lnTo>
                    <a:pt x="357" y="17"/>
                  </a:lnTo>
                  <a:lnTo>
                    <a:pt x="350" y="23"/>
                  </a:lnTo>
                  <a:lnTo>
                    <a:pt x="345" y="29"/>
                  </a:lnTo>
                  <a:lnTo>
                    <a:pt x="333" y="45"/>
                  </a:lnTo>
                  <a:lnTo>
                    <a:pt x="322" y="61"/>
                  </a:lnTo>
                  <a:lnTo>
                    <a:pt x="313" y="80"/>
                  </a:lnTo>
                  <a:lnTo>
                    <a:pt x="305" y="100"/>
                  </a:lnTo>
                  <a:lnTo>
                    <a:pt x="289" y="141"/>
                  </a:lnTo>
                  <a:lnTo>
                    <a:pt x="276" y="183"/>
                  </a:lnTo>
                  <a:lnTo>
                    <a:pt x="269" y="201"/>
                  </a:lnTo>
                  <a:lnTo>
                    <a:pt x="262" y="219"/>
                  </a:lnTo>
                  <a:lnTo>
                    <a:pt x="254" y="233"/>
                  </a:lnTo>
                  <a:lnTo>
                    <a:pt x="246" y="247"/>
                  </a:lnTo>
                  <a:lnTo>
                    <a:pt x="241" y="256"/>
                  </a:lnTo>
                  <a:lnTo>
                    <a:pt x="234" y="264"/>
                  </a:lnTo>
                  <a:lnTo>
                    <a:pt x="226" y="269"/>
                  </a:lnTo>
                  <a:lnTo>
                    <a:pt x="218" y="275"/>
                  </a:lnTo>
                  <a:lnTo>
                    <a:pt x="202" y="283"/>
                  </a:lnTo>
                  <a:lnTo>
                    <a:pt x="184" y="289"/>
                  </a:lnTo>
                  <a:lnTo>
                    <a:pt x="166" y="296"/>
                  </a:lnTo>
                  <a:lnTo>
                    <a:pt x="149" y="305"/>
                  </a:lnTo>
                  <a:lnTo>
                    <a:pt x="141" y="311"/>
                  </a:lnTo>
                  <a:lnTo>
                    <a:pt x="133" y="317"/>
                  </a:lnTo>
                  <a:lnTo>
                    <a:pt x="126" y="327"/>
                  </a:lnTo>
                  <a:lnTo>
                    <a:pt x="121" y="337"/>
                  </a:lnTo>
                  <a:lnTo>
                    <a:pt x="113" y="351"/>
                  </a:lnTo>
                  <a:lnTo>
                    <a:pt x="106" y="365"/>
                  </a:lnTo>
                  <a:lnTo>
                    <a:pt x="101" y="380"/>
                  </a:lnTo>
                  <a:lnTo>
                    <a:pt x="96" y="396"/>
                  </a:lnTo>
                  <a:lnTo>
                    <a:pt x="90" y="412"/>
                  </a:lnTo>
                  <a:lnTo>
                    <a:pt x="84" y="428"/>
                  </a:lnTo>
                  <a:lnTo>
                    <a:pt x="76" y="445"/>
                  </a:lnTo>
                  <a:lnTo>
                    <a:pt x="66" y="464"/>
                  </a:lnTo>
                  <a:lnTo>
                    <a:pt x="24" y="457"/>
                  </a:lnTo>
                  <a:lnTo>
                    <a:pt x="42" y="500"/>
                  </a:lnTo>
                  <a:lnTo>
                    <a:pt x="45" y="500"/>
                  </a:lnTo>
                  <a:lnTo>
                    <a:pt x="48" y="500"/>
                  </a:lnTo>
                  <a:lnTo>
                    <a:pt x="48" y="501"/>
                  </a:lnTo>
                  <a:lnTo>
                    <a:pt x="46" y="502"/>
                  </a:lnTo>
                  <a:lnTo>
                    <a:pt x="44" y="509"/>
                  </a:lnTo>
                  <a:lnTo>
                    <a:pt x="42" y="524"/>
                  </a:lnTo>
                  <a:lnTo>
                    <a:pt x="42" y="528"/>
                  </a:lnTo>
                  <a:lnTo>
                    <a:pt x="41" y="532"/>
                  </a:lnTo>
                  <a:lnTo>
                    <a:pt x="38" y="536"/>
                  </a:lnTo>
                  <a:lnTo>
                    <a:pt x="36" y="538"/>
                  </a:lnTo>
                  <a:lnTo>
                    <a:pt x="29" y="546"/>
                  </a:lnTo>
                  <a:lnTo>
                    <a:pt x="21" y="553"/>
                  </a:lnTo>
                  <a:lnTo>
                    <a:pt x="13" y="561"/>
                  </a:lnTo>
                  <a:lnTo>
                    <a:pt x="6" y="570"/>
                  </a:lnTo>
                  <a:lnTo>
                    <a:pt x="4" y="576"/>
                  </a:lnTo>
                  <a:lnTo>
                    <a:pt x="2" y="581"/>
                  </a:lnTo>
                  <a:lnTo>
                    <a:pt x="1" y="588"/>
                  </a:lnTo>
                  <a:lnTo>
                    <a:pt x="0" y="596"/>
                  </a:lnTo>
                  <a:lnTo>
                    <a:pt x="1" y="609"/>
                  </a:lnTo>
                  <a:lnTo>
                    <a:pt x="6" y="624"/>
                  </a:lnTo>
                  <a:lnTo>
                    <a:pt x="12" y="637"/>
                  </a:lnTo>
                  <a:lnTo>
                    <a:pt x="20" y="652"/>
                  </a:lnTo>
                  <a:lnTo>
                    <a:pt x="36" y="677"/>
                  </a:lnTo>
                  <a:lnTo>
                    <a:pt x="48" y="698"/>
                  </a:lnTo>
                  <a:lnTo>
                    <a:pt x="48" y="801"/>
                  </a:lnTo>
                  <a:lnTo>
                    <a:pt x="56" y="809"/>
                  </a:lnTo>
                  <a:lnTo>
                    <a:pt x="64" y="820"/>
                  </a:lnTo>
                  <a:lnTo>
                    <a:pt x="70" y="830"/>
                  </a:lnTo>
                  <a:lnTo>
                    <a:pt x="78" y="842"/>
                  </a:lnTo>
                  <a:lnTo>
                    <a:pt x="138" y="861"/>
                  </a:lnTo>
                  <a:lnTo>
                    <a:pt x="141" y="865"/>
                  </a:lnTo>
                  <a:lnTo>
                    <a:pt x="146" y="869"/>
                  </a:lnTo>
                  <a:lnTo>
                    <a:pt x="154" y="873"/>
                  </a:lnTo>
                  <a:lnTo>
                    <a:pt x="165" y="877"/>
                  </a:lnTo>
                  <a:lnTo>
                    <a:pt x="190" y="885"/>
                  </a:lnTo>
                  <a:lnTo>
                    <a:pt x="220" y="892"/>
                  </a:lnTo>
                  <a:lnTo>
                    <a:pt x="277" y="902"/>
                  </a:lnTo>
                  <a:lnTo>
                    <a:pt x="313" y="909"/>
                  </a:lnTo>
                  <a:lnTo>
                    <a:pt x="342" y="914"/>
                  </a:lnTo>
                  <a:lnTo>
                    <a:pt x="370" y="922"/>
                  </a:lnTo>
                  <a:lnTo>
                    <a:pt x="396" y="933"/>
                  </a:lnTo>
                  <a:lnTo>
                    <a:pt x="422" y="944"/>
                  </a:lnTo>
                  <a:lnTo>
                    <a:pt x="469" y="969"/>
                  </a:lnTo>
                  <a:lnTo>
                    <a:pt x="512" y="993"/>
                  </a:lnTo>
                  <a:lnTo>
                    <a:pt x="521" y="1000"/>
                  </a:lnTo>
                  <a:lnTo>
                    <a:pt x="528" y="1006"/>
                  </a:lnTo>
                  <a:lnTo>
                    <a:pt x="533" y="1013"/>
                  </a:lnTo>
                  <a:lnTo>
                    <a:pt x="537" y="1021"/>
                  </a:lnTo>
                  <a:lnTo>
                    <a:pt x="545" y="1037"/>
                  </a:lnTo>
                  <a:lnTo>
                    <a:pt x="550" y="1054"/>
                  </a:lnTo>
                  <a:lnTo>
                    <a:pt x="554" y="1071"/>
                  </a:lnTo>
                  <a:lnTo>
                    <a:pt x="560" y="1089"/>
                  </a:lnTo>
                  <a:lnTo>
                    <a:pt x="562" y="1097"/>
                  </a:lnTo>
                  <a:lnTo>
                    <a:pt x="568" y="1105"/>
                  </a:lnTo>
                  <a:lnTo>
                    <a:pt x="572" y="1113"/>
                  </a:lnTo>
                  <a:lnTo>
                    <a:pt x="578" y="1119"/>
                  </a:lnTo>
                  <a:lnTo>
                    <a:pt x="586" y="1123"/>
                  </a:lnTo>
                  <a:lnTo>
                    <a:pt x="598" y="1126"/>
                  </a:lnTo>
                  <a:lnTo>
                    <a:pt x="613" y="1126"/>
                  </a:lnTo>
                  <a:lnTo>
                    <a:pt x="628" y="1127"/>
                  </a:lnTo>
                  <a:lnTo>
                    <a:pt x="659" y="1126"/>
                  </a:lnTo>
                  <a:lnTo>
                    <a:pt x="686" y="1126"/>
                  </a:lnTo>
                  <a:lnTo>
                    <a:pt x="695" y="1127"/>
                  </a:lnTo>
                  <a:lnTo>
                    <a:pt x="705" y="1130"/>
                  </a:lnTo>
                  <a:lnTo>
                    <a:pt x="713" y="1134"/>
                  </a:lnTo>
                  <a:lnTo>
                    <a:pt x="721" y="1138"/>
                  </a:lnTo>
                  <a:lnTo>
                    <a:pt x="738" y="1149"/>
                  </a:lnTo>
                  <a:lnTo>
                    <a:pt x="755" y="1161"/>
                  </a:lnTo>
                  <a:lnTo>
                    <a:pt x="774" y="1173"/>
                  </a:lnTo>
                  <a:lnTo>
                    <a:pt x="795" y="1182"/>
                  </a:lnTo>
                  <a:lnTo>
                    <a:pt x="806" y="1186"/>
                  </a:lnTo>
                  <a:lnTo>
                    <a:pt x="818" y="1189"/>
                  </a:lnTo>
                  <a:lnTo>
                    <a:pt x="830" y="1191"/>
                  </a:lnTo>
                  <a:lnTo>
                    <a:pt x="843" y="1191"/>
                  </a:lnTo>
                  <a:lnTo>
                    <a:pt x="858" y="1190"/>
                  </a:lnTo>
                  <a:lnTo>
                    <a:pt x="871" y="1187"/>
                  </a:lnTo>
                  <a:lnTo>
                    <a:pt x="885" y="1182"/>
                  </a:lnTo>
                  <a:lnTo>
                    <a:pt x="897" y="1177"/>
                  </a:lnTo>
                  <a:lnTo>
                    <a:pt x="910" y="1171"/>
                  </a:lnTo>
                  <a:lnTo>
                    <a:pt x="923" y="1166"/>
                  </a:lnTo>
                  <a:lnTo>
                    <a:pt x="937" y="1163"/>
                  </a:lnTo>
                  <a:lnTo>
                    <a:pt x="951" y="1162"/>
                  </a:lnTo>
                  <a:lnTo>
                    <a:pt x="959" y="1162"/>
                  </a:lnTo>
                  <a:lnTo>
                    <a:pt x="966" y="1165"/>
                  </a:lnTo>
                  <a:lnTo>
                    <a:pt x="971" y="1169"/>
                  </a:lnTo>
                  <a:lnTo>
                    <a:pt x="975" y="1173"/>
                  </a:lnTo>
                  <a:lnTo>
                    <a:pt x="978" y="1178"/>
                  </a:lnTo>
                  <a:lnTo>
                    <a:pt x="981" y="1185"/>
                  </a:lnTo>
                  <a:lnTo>
                    <a:pt x="981" y="1191"/>
                  </a:lnTo>
                  <a:lnTo>
                    <a:pt x="982" y="1198"/>
                  </a:lnTo>
                  <a:lnTo>
                    <a:pt x="981" y="1205"/>
                  </a:lnTo>
                  <a:lnTo>
                    <a:pt x="979" y="1210"/>
                  </a:lnTo>
                  <a:lnTo>
                    <a:pt x="975" y="1217"/>
                  </a:lnTo>
                  <a:lnTo>
                    <a:pt x="973" y="1222"/>
                  </a:lnTo>
                  <a:lnTo>
                    <a:pt x="969" y="1229"/>
                  </a:lnTo>
                  <a:lnTo>
                    <a:pt x="966" y="1235"/>
                  </a:lnTo>
                  <a:lnTo>
                    <a:pt x="965" y="1243"/>
                  </a:lnTo>
                  <a:lnTo>
                    <a:pt x="963" y="1251"/>
                  </a:lnTo>
                  <a:lnTo>
                    <a:pt x="965" y="1261"/>
                  </a:lnTo>
                  <a:lnTo>
                    <a:pt x="969" y="1267"/>
                  </a:lnTo>
                  <a:lnTo>
                    <a:pt x="973" y="1274"/>
                  </a:lnTo>
                  <a:lnTo>
                    <a:pt x="978" y="1279"/>
                  </a:lnTo>
                  <a:lnTo>
                    <a:pt x="985" y="1286"/>
                  </a:lnTo>
                  <a:lnTo>
                    <a:pt x="989" y="1294"/>
                  </a:lnTo>
                  <a:lnTo>
                    <a:pt x="993" y="1302"/>
                  </a:lnTo>
                  <a:lnTo>
                    <a:pt x="994" y="1313"/>
                  </a:lnTo>
                  <a:lnTo>
                    <a:pt x="991" y="1329"/>
                  </a:lnTo>
                  <a:lnTo>
                    <a:pt x="987" y="1345"/>
                  </a:lnTo>
                  <a:lnTo>
                    <a:pt x="983" y="1361"/>
                  </a:lnTo>
                  <a:lnTo>
                    <a:pt x="982" y="1378"/>
                  </a:lnTo>
                  <a:lnTo>
                    <a:pt x="1018" y="1378"/>
                  </a:lnTo>
                  <a:lnTo>
                    <a:pt x="1019" y="1367"/>
                  </a:lnTo>
                  <a:lnTo>
                    <a:pt x="1022" y="1358"/>
                  </a:lnTo>
                  <a:lnTo>
                    <a:pt x="1026" y="1349"/>
                  </a:lnTo>
                  <a:lnTo>
                    <a:pt x="1031" y="1339"/>
                  </a:lnTo>
                  <a:lnTo>
                    <a:pt x="1037" y="1333"/>
                  </a:lnTo>
                  <a:lnTo>
                    <a:pt x="1043" y="1325"/>
                  </a:lnTo>
                  <a:lnTo>
                    <a:pt x="1050" y="1319"/>
                  </a:lnTo>
                  <a:lnTo>
                    <a:pt x="1058" y="1314"/>
                  </a:lnTo>
                  <a:lnTo>
                    <a:pt x="1067" y="1309"/>
                  </a:lnTo>
                  <a:lnTo>
                    <a:pt x="1077" y="1305"/>
                  </a:lnTo>
                  <a:lnTo>
                    <a:pt x="1087" y="1302"/>
                  </a:lnTo>
                  <a:lnTo>
                    <a:pt x="1098" y="1299"/>
                  </a:lnTo>
                  <a:lnTo>
                    <a:pt x="1121" y="1295"/>
                  </a:lnTo>
                  <a:lnTo>
                    <a:pt x="1145" y="1294"/>
                  </a:lnTo>
                  <a:lnTo>
                    <a:pt x="1145" y="1282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62" name="Freeform 39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5761038" y="3684588"/>
              <a:ext cx="731837" cy="979487"/>
            </a:xfrm>
            <a:custGeom>
              <a:avLst/>
              <a:gdLst/>
              <a:ahLst/>
              <a:cxnLst>
                <a:cxn ang="0">
                  <a:pos x="995" y="218"/>
                </a:cxn>
                <a:cxn ang="0">
                  <a:pos x="1097" y="280"/>
                </a:cxn>
                <a:cxn ang="0">
                  <a:pos x="1132" y="363"/>
                </a:cxn>
                <a:cxn ang="0">
                  <a:pos x="1216" y="395"/>
                </a:cxn>
                <a:cxn ang="0">
                  <a:pos x="1200" y="453"/>
                </a:cxn>
                <a:cxn ang="0">
                  <a:pos x="1253" y="485"/>
                </a:cxn>
                <a:cxn ang="0">
                  <a:pos x="1345" y="426"/>
                </a:cxn>
                <a:cxn ang="0">
                  <a:pos x="1410" y="501"/>
                </a:cxn>
                <a:cxn ang="0">
                  <a:pos x="1453" y="479"/>
                </a:cxn>
                <a:cxn ang="0">
                  <a:pos x="1516" y="548"/>
                </a:cxn>
                <a:cxn ang="0">
                  <a:pos x="1533" y="641"/>
                </a:cxn>
                <a:cxn ang="0">
                  <a:pos x="1610" y="716"/>
                </a:cxn>
                <a:cxn ang="0">
                  <a:pos x="1566" y="748"/>
                </a:cxn>
                <a:cxn ang="0">
                  <a:pos x="1608" y="816"/>
                </a:cxn>
                <a:cxn ang="0">
                  <a:pos x="1696" y="915"/>
                </a:cxn>
                <a:cxn ang="0">
                  <a:pos x="1564" y="1070"/>
                </a:cxn>
                <a:cxn ang="0">
                  <a:pos x="1521" y="1245"/>
                </a:cxn>
                <a:cxn ang="0">
                  <a:pos x="1645" y="1237"/>
                </a:cxn>
                <a:cxn ang="0">
                  <a:pos x="1680" y="1321"/>
                </a:cxn>
                <a:cxn ang="0">
                  <a:pos x="1633" y="1645"/>
                </a:cxn>
                <a:cxn ang="0">
                  <a:pos x="1688" y="1833"/>
                </a:cxn>
                <a:cxn ang="0">
                  <a:pos x="1668" y="1906"/>
                </a:cxn>
                <a:cxn ang="0">
                  <a:pos x="1542" y="2079"/>
                </a:cxn>
                <a:cxn ang="0">
                  <a:pos x="1410" y="2090"/>
                </a:cxn>
                <a:cxn ang="0">
                  <a:pos x="1244" y="2059"/>
                </a:cxn>
                <a:cxn ang="0">
                  <a:pos x="1129" y="2122"/>
                </a:cxn>
                <a:cxn ang="0">
                  <a:pos x="941" y="2095"/>
                </a:cxn>
                <a:cxn ang="0">
                  <a:pos x="863" y="2214"/>
                </a:cxn>
                <a:cxn ang="0">
                  <a:pos x="632" y="2472"/>
                </a:cxn>
                <a:cxn ang="0">
                  <a:pos x="344" y="2608"/>
                </a:cxn>
                <a:cxn ang="0">
                  <a:pos x="127" y="2607"/>
                </a:cxn>
                <a:cxn ang="0">
                  <a:pos x="2" y="2504"/>
                </a:cxn>
                <a:cxn ang="0">
                  <a:pos x="92" y="2371"/>
                </a:cxn>
                <a:cxn ang="0">
                  <a:pos x="19" y="2308"/>
                </a:cxn>
                <a:cxn ang="0">
                  <a:pos x="50" y="2183"/>
                </a:cxn>
                <a:cxn ang="0">
                  <a:pos x="42" y="2113"/>
                </a:cxn>
                <a:cxn ang="0">
                  <a:pos x="164" y="2089"/>
                </a:cxn>
                <a:cxn ang="0">
                  <a:pos x="275" y="2025"/>
                </a:cxn>
                <a:cxn ang="0">
                  <a:pos x="359" y="1983"/>
                </a:cxn>
                <a:cxn ang="0">
                  <a:pos x="448" y="1855"/>
                </a:cxn>
                <a:cxn ang="0">
                  <a:pos x="524" y="1753"/>
                </a:cxn>
                <a:cxn ang="0">
                  <a:pos x="667" y="1637"/>
                </a:cxn>
                <a:cxn ang="0">
                  <a:pos x="728" y="1542"/>
                </a:cxn>
                <a:cxn ang="0">
                  <a:pos x="655" y="1433"/>
                </a:cxn>
                <a:cxn ang="0">
                  <a:pos x="639" y="1340"/>
                </a:cxn>
                <a:cxn ang="0">
                  <a:pos x="736" y="1198"/>
                </a:cxn>
                <a:cxn ang="0">
                  <a:pos x="865" y="1032"/>
                </a:cxn>
                <a:cxn ang="0">
                  <a:pos x="921" y="937"/>
                </a:cxn>
                <a:cxn ang="0">
                  <a:pos x="841" y="856"/>
                </a:cxn>
                <a:cxn ang="0">
                  <a:pos x="723" y="817"/>
                </a:cxn>
                <a:cxn ang="0">
                  <a:pos x="601" y="588"/>
                </a:cxn>
                <a:cxn ang="0">
                  <a:pos x="590" y="492"/>
                </a:cxn>
                <a:cxn ang="0">
                  <a:pos x="663" y="511"/>
                </a:cxn>
                <a:cxn ang="0">
                  <a:pos x="760" y="452"/>
                </a:cxn>
                <a:cxn ang="0">
                  <a:pos x="784" y="348"/>
                </a:cxn>
                <a:cxn ang="0">
                  <a:pos x="712" y="291"/>
                </a:cxn>
                <a:cxn ang="0">
                  <a:pos x="681" y="119"/>
                </a:cxn>
                <a:cxn ang="0">
                  <a:pos x="739" y="60"/>
                </a:cxn>
                <a:cxn ang="0">
                  <a:pos x="856" y="0"/>
                </a:cxn>
              </a:cxnLst>
              <a:rect l="0" t="0" r="r" b="b"/>
              <a:pathLst>
                <a:path w="1705" h="2620">
                  <a:moveTo>
                    <a:pt x="856" y="0"/>
                  </a:moveTo>
                  <a:lnTo>
                    <a:pt x="872" y="18"/>
                  </a:lnTo>
                  <a:lnTo>
                    <a:pt x="885" y="35"/>
                  </a:lnTo>
                  <a:lnTo>
                    <a:pt x="899" y="55"/>
                  </a:lnTo>
                  <a:lnTo>
                    <a:pt x="911" y="76"/>
                  </a:lnTo>
                  <a:lnTo>
                    <a:pt x="932" y="119"/>
                  </a:lnTo>
                  <a:lnTo>
                    <a:pt x="955" y="160"/>
                  </a:lnTo>
                  <a:lnTo>
                    <a:pt x="967" y="182"/>
                  </a:lnTo>
                  <a:lnTo>
                    <a:pt x="980" y="200"/>
                  </a:lnTo>
                  <a:lnTo>
                    <a:pt x="995" y="218"/>
                  </a:lnTo>
                  <a:lnTo>
                    <a:pt x="1011" y="234"/>
                  </a:lnTo>
                  <a:lnTo>
                    <a:pt x="1020" y="240"/>
                  </a:lnTo>
                  <a:lnTo>
                    <a:pt x="1029" y="247"/>
                  </a:lnTo>
                  <a:lnTo>
                    <a:pt x="1040" y="252"/>
                  </a:lnTo>
                  <a:lnTo>
                    <a:pt x="1051" y="258"/>
                  </a:lnTo>
                  <a:lnTo>
                    <a:pt x="1063" y="263"/>
                  </a:lnTo>
                  <a:lnTo>
                    <a:pt x="1075" y="267"/>
                  </a:lnTo>
                  <a:lnTo>
                    <a:pt x="1088" y="270"/>
                  </a:lnTo>
                  <a:lnTo>
                    <a:pt x="1103" y="271"/>
                  </a:lnTo>
                  <a:lnTo>
                    <a:pt x="1097" y="280"/>
                  </a:lnTo>
                  <a:lnTo>
                    <a:pt x="1091" y="303"/>
                  </a:lnTo>
                  <a:lnTo>
                    <a:pt x="1089" y="310"/>
                  </a:lnTo>
                  <a:lnTo>
                    <a:pt x="1089" y="316"/>
                  </a:lnTo>
                  <a:lnTo>
                    <a:pt x="1091" y="323"/>
                  </a:lnTo>
                  <a:lnTo>
                    <a:pt x="1092" y="330"/>
                  </a:lnTo>
                  <a:lnTo>
                    <a:pt x="1096" y="336"/>
                  </a:lnTo>
                  <a:lnTo>
                    <a:pt x="1100" y="343"/>
                  </a:lnTo>
                  <a:lnTo>
                    <a:pt x="1107" y="350"/>
                  </a:lnTo>
                  <a:lnTo>
                    <a:pt x="1115" y="356"/>
                  </a:lnTo>
                  <a:lnTo>
                    <a:pt x="1132" y="363"/>
                  </a:lnTo>
                  <a:lnTo>
                    <a:pt x="1143" y="367"/>
                  </a:lnTo>
                  <a:lnTo>
                    <a:pt x="1149" y="368"/>
                  </a:lnTo>
                  <a:lnTo>
                    <a:pt x="1155" y="368"/>
                  </a:lnTo>
                  <a:lnTo>
                    <a:pt x="1159" y="368"/>
                  </a:lnTo>
                  <a:lnTo>
                    <a:pt x="1163" y="370"/>
                  </a:lnTo>
                  <a:lnTo>
                    <a:pt x="1169" y="374"/>
                  </a:lnTo>
                  <a:lnTo>
                    <a:pt x="1181" y="380"/>
                  </a:lnTo>
                  <a:lnTo>
                    <a:pt x="1193" y="387"/>
                  </a:lnTo>
                  <a:lnTo>
                    <a:pt x="1205" y="392"/>
                  </a:lnTo>
                  <a:lnTo>
                    <a:pt x="1216" y="395"/>
                  </a:lnTo>
                  <a:lnTo>
                    <a:pt x="1223" y="398"/>
                  </a:lnTo>
                  <a:lnTo>
                    <a:pt x="1225" y="399"/>
                  </a:lnTo>
                  <a:lnTo>
                    <a:pt x="1227" y="400"/>
                  </a:lnTo>
                  <a:lnTo>
                    <a:pt x="1227" y="403"/>
                  </a:lnTo>
                  <a:lnTo>
                    <a:pt x="1227" y="406"/>
                  </a:lnTo>
                  <a:lnTo>
                    <a:pt x="1221" y="415"/>
                  </a:lnTo>
                  <a:lnTo>
                    <a:pt x="1211" y="428"/>
                  </a:lnTo>
                  <a:lnTo>
                    <a:pt x="1205" y="438"/>
                  </a:lnTo>
                  <a:lnTo>
                    <a:pt x="1201" y="445"/>
                  </a:lnTo>
                  <a:lnTo>
                    <a:pt x="1200" y="453"/>
                  </a:lnTo>
                  <a:lnTo>
                    <a:pt x="1200" y="461"/>
                  </a:lnTo>
                  <a:lnTo>
                    <a:pt x="1201" y="468"/>
                  </a:lnTo>
                  <a:lnTo>
                    <a:pt x="1204" y="475"/>
                  </a:lnTo>
                  <a:lnTo>
                    <a:pt x="1208" y="480"/>
                  </a:lnTo>
                  <a:lnTo>
                    <a:pt x="1213" y="484"/>
                  </a:lnTo>
                  <a:lnTo>
                    <a:pt x="1220" y="488"/>
                  </a:lnTo>
                  <a:lnTo>
                    <a:pt x="1227" y="489"/>
                  </a:lnTo>
                  <a:lnTo>
                    <a:pt x="1235" y="489"/>
                  </a:lnTo>
                  <a:lnTo>
                    <a:pt x="1244" y="488"/>
                  </a:lnTo>
                  <a:lnTo>
                    <a:pt x="1253" y="485"/>
                  </a:lnTo>
                  <a:lnTo>
                    <a:pt x="1263" y="480"/>
                  </a:lnTo>
                  <a:lnTo>
                    <a:pt x="1273" y="473"/>
                  </a:lnTo>
                  <a:lnTo>
                    <a:pt x="1283" y="464"/>
                  </a:lnTo>
                  <a:lnTo>
                    <a:pt x="1300" y="447"/>
                  </a:lnTo>
                  <a:lnTo>
                    <a:pt x="1315" y="435"/>
                  </a:lnTo>
                  <a:lnTo>
                    <a:pt x="1321" y="431"/>
                  </a:lnTo>
                  <a:lnTo>
                    <a:pt x="1328" y="427"/>
                  </a:lnTo>
                  <a:lnTo>
                    <a:pt x="1335" y="426"/>
                  </a:lnTo>
                  <a:lnTo>
                    <a:pt x="1340" y="426"/>
                  </a:lnTo>
                  <a:lnTo>
                    <a:pt x="1345" y="426"/>
                  </a:lnTo>
                  <a:lnTo>
                    <a:pt x="1349" y="427"/>
                  </a:lnTo>
                  <a:lnTo>
                    <a:pt x="1355" y="430"/>
                  </a:lnTo>
                  <a:lnTo>
                    <a:pt x="1359" y="434"/>
                  </a:lnTo>
                  <a:lnTo>
                    <a:pt x="1366" y="444"/>
                  </a:lnTo>
                  <a:lnTo>
                    <a:pt x="1373" y="457"/>
                  </a:lnTo>
                  <a:lnTo>
                    <a:pt x="1382" y="472"/>
                  </a:lnTo>
                  <a:lnTo>
                    <a:pt x="1390" y="485"/>
                  </a:lnTo>
                  <a:lnTo>
                    <a:pt x="1398" y="493"/>
                  </a:lnTo>
                  <a:lnTo>
                    <a:pt x="1406" y="500"/>
                  </a:lnTo>
                  <a:lnTo>
                    <a:pt x="1410" y="501"/>
                  </a:lnTo>
                  <a:lnTo>
                    <a:pt x="1414" y="503"/>
                  </a:lnTo>
                  <a:lnTo>
                    <a:pt x="1418" y="503"/>
                  </a:lnTo>
                  <a:lnTo>
                    <a:pt x="1422" y="503"/>
                  </a:lnTo>
                  <a:lnTo>
                    <a:pt x="1426" y="500"/>
                  </a:lnTo>
                  <a:lnTo>
                    <a:pt x="1430" y="497"/>
                  </a:lnTo>
                  <a:lnTo>
                    <a:pt x="1436" y="493"/>
                  </a:lnTo>
                  <a:lnTo>
                    <a:pt x="1440" y="488"/>
                  </a:lnTo>
                  <a:lnTo>
                    <a:pt x="1444" y="484"/>
                  </a:lnTo>
                  <a:lnTo>
                    <a:pt x="1448" y="481"/>
                  </a:lnTo>
                  <a:lnTo>
                    <a:pt x="1453" y="479"/>
                  </a:lnTo>
                  <a:lnTo>
                    <a:pt x="1457" y="477"/>
                  </a:lnTo>
                  <a:lnTo>
                    <a:pt x="1461" y="476"/>
                  </a:lnTo>
                  <a:lnTo>
                    <a:pt x="1465" y="476"/>
                  </a:lnTo>
                  <a:lnTo>
                    <a:pt x="1469" y="477"/>
                  </a:lnTo>
                  <a:lnTo>
                    <a:pt x="1473" y="480"/>
                  </a:lnTo>
                  <a:lnTo>
                    <a:pt x="1481" y="487"/>
                  </a:lnTo>
                  <a:lnTo>
                    <a:pt x="1489" y="497"/>
                  </a:lnTo>
                  <a:lnTo>
                    <a:pt x="1497" y="512"/>
                  </a:lnTo>
                  <a:lnTo>
                    <a:pt x="1506" y="531"/>
                  </a:lnTo>
                  <a:lnTo>
                    <a:pt x="1516" y="548"/>
                  </a:lnTo>
                  <a:lnTo>
                    <a:pt x="1525" y="563"/>
                  </a:lnTo>
                  <a:lnTo>
                    <a:pt x="1532" y="577"/>
                  </a:lnTo>
                  <a:lnTo>
                    <a:pt x="1537" y="591"/>
                  </a:lnTo>
                  <a:lnTo>
                    <a:pt x="1540" y="603"/>
                  </a:lnTo>
                  <a:lnTo>
                    <a:pt x="1541" y="613"/>
                  </a:lnTo>
                  <a:lnTo>
                    <a:pt x="1540" y="624"/>
                  </a:lnTo>
                  <a:lnTo>
                    <a:pt x="1536" y="633"/>
                  </a:lnTo>
                  <a:lnTo>
                    <a:pt x="1534" y="636"/>
                  </a:lnTo>
                  <a:lnTo>
                    <a:pt x="1533" y="639"/>
                  </a:lnTo>
                  <a:lnTo>
                    <a:pt x="1533" y="641"/>
                  </a:lnTo>
                  <a:lnTo>
                    <a:pt x="1533" y="644"/>
                  </a:lnTo>
                  <a:lnTo>
                    <a:pt x="1536" y="649"/>
                  </a:lnTo>
                  <a:lnTo>
                    <a:pt x="1541" y="655"/>
                  </a:lnTo>
                  <a:lnTo>
                    <a:pt x="1557" y="665"/>
                  </a:lnTo>
                  <a:lnTo>
                    <a:pt x="1578" y="681"/>
                  </a:lnTo>
                  <a:lnTo>
                    <a:pt x="1589" y="689"/>
                  </a:lnTo>
                  <a:lnTo>
                    <a:pt x="1598" y="697"/>
                  </a:lnTo>
                  <a:lnTo>
                    <a:pt x="1605" y="705"/>
                  </a:lnTo>
                  <a:lnTo>
                    <a:pt x="1609" y="712"/>
                  </a:lnTo>
                  <a:lnTo>
                    <a:pt x="1610" y="716"/>
                  </a:lnTo>
                  <a:lnTo>
                    <a:pt x="1610" y="719"/>
                  </a:lnTo>
                  <a:lnTo>
                    <a:pt x="1609" y="723"/>
                  </a:lnTo>
                  <a:lnTo>
                    <a:pt x="1608" y="725"/>
                  </a:lnTo>
                  <a:lnTo>
                    <a:pt x="1605" y="728"/>
                  </a:lnTo>
                  <a:lnTo>
                    <a:pt x="1601" y="731"/>
                  </a:lnTo>
                  <a:lnTo>
                    <a:pt x="1596" y="733"/>
                  </a:lnTo>
                  <a:lnTo>
                    <a:pt x="1590" y="735"/>
                  </a:lnTo>
                  <a:lnTo>
                    <a:pt x="1578" y="740"/>
                  </a:lnTo>
                  <a:lnTo>
                    <a:pt x="1570" y="745"/>
                  </a:lnTo>
                  <a:lnTo>
                    <a:pt x="1566" y="748"/>
                  </a:lnTo>
                  <a:lnTo>
                    <a:pt x="1565" y="752"/>
                  </a:lnTo>
                  <a:lnTo>
                    <a:pt x="1564" y="755"/>
                  </a:lnTo>
                  <a:lnTo>
                    <a:pt x="1564" y="759"/>
                  </a:lnTo>
                  <a:lnTo>
                    <a:pt x="1564" y="763"/>
                  </a:lnTo>
                  <a:lnTo>
                    <a:pt x="1565" y="767"/>
                  </a:lnTo>
                  <a:lnTo>
                    <a:pt x="1566" y="771"/>
                  </a:lnTo>
                  <a:lnTo>
                    <a:pt x="1570" y="775"/>
                  </a:lnTo>
                  <a:lnTo>
                    <a:pt x="1578" y="784"/>
                  </a:lnTo>
                  <a:lnTo>
                    <a:pt x="1590" y="795"/>
                  </a:lnTo>
                  <a:lnTo>
                    <a:pt x="1608" y="816"/>
                  </a:lnTo>
                  <a:lnTo>
                    <a:pt x="1620" y="833"/>
                  </a:lnTo>
                  <a:lnTo>
                    <a:pt x="1626" y="840"/>
                  </a:lnTo>
                  <a:lnTo>
                    <a:pt x="1633" y="848"/>
                  </a:lnTo>
                  <a:lnTo>
                    <a:pt x="1641" y="855"/>
                  </a:lnTo>
                  <a:lnTo>
                    <a:pt x="1650" y="861"/>
                  </a:lnTo>
                  <a:lnTo>
                    <a:pt x="1661" y="869"/>
                  </a:lnTo>
                  <a:lnTo>
                    <a:pt x="1670" y="879"/>
                  </a:lnTo>
                  <a:lnTo>
                    <a:pt x="1678" y="888"/>
                  </a:lnTo>
                  <a:lnTo>
                    <a:pt x="1686" y="899"/>
                  </a:lnTo>
                  <a:lnTo>
                    <a:pt x="1696" y="915"/>
                  </a:lnTo>
                  <a:lnTo>
                    <a:pt x="1698" y="921"/>
                  </a:lnTo>
                  <a:lnTo>
                    <a:pt x="1682" y="935"/>
                  </a:lnTo>
                  <a:lnTo>
                    <a:pt x="1665" y="948"/>
                  </a:lnTo>
                  <a:lnTo>
                    <a:pt x="1649" y="964"/>
                  </a:lnTo>
                  <a:lnTo>
                    <a:pt x="1633" y="979"/>
                  </a:lnTo>
                  <a:lnTo>
                    <a:pt x="1617" y="996"/>
                  </a:lnTo>
                  <a:lnTo>
                    <a:pt x="1602" y="1013"/>
                  </a:lnTo>
                  <a:lnTo>
                    <a:pt x="1589" y="1032"/>
                  </a:lnTo>
                  <a:lnTo>
                    <a:pt x="1576" y="1050"/>
                  </a:lnTo>
                  <a:lnTo>
                    <a:pt x="1564" y="1070"/>
                  </a:lnTo>
                  <a:lnTo>
                    <a:pt x="1553" y="1090"/>
                  </a:lnTo>
                  <a:lnTo>
                    <a:pt x="1542" y="1112"/>
                  </a:lnTo>
                  <a:lnTo>
                    <a:pt x="1533" y="1134"/>
                  </a:lnTo>
                  <a:lnTo>
                    <a:pt x="1526" y="1157"/>
                  </a:lnTo>
                  <a:lnTo>
                    <a:pt x="1520" y="1180"/>
                  </a:lnTo>
                  <a:lnTo>
                    <a:pt x="1514" y="1204"/>
                  </a:lnTo>
                  <a:lnTo>
                    <a:pt x="1512" y="1229"/>
                  </a:lnTo>
                  <a:lnTo>
                    <a:pt x="1514" y="1236"/>
                  </a:lnTo>
                  <a:lnTo>
                    <a:pt x="1517" y="1241"/>
                  </a:lnTo>
                  <a:lnTo>
                    <a:pt x="1521" y="1245"/>
                  </a:lnTo>
                  <a:lnTo>
                    <a:pt x="1526" y="1249"/>
                  </a:lnTo>
                  <a:lnTo>
                    <a:pt x="1532" y="1250"/>
                  </a:lnTo>
                  <a:lnTo>
                    <a:pt x="1538" y="1252"/>
                  </a:lnTo>
                  <a:lnTo>
                    <a:pt x="1546" y="1252"/>
                  </a:lnTo>
                  <a:lnTo>
                    <a:pt x="1553" y="1250"/>
                  </a:lnTo>
                  <a:lnTo>
                    <a:pt x="1586" y="1244"/>
                  </a:lnTo>
                  <a:lnTo>
                    <a:pt x="1622" y="1237"/>
                  </a:lnTo>
                  <a:lnTo>
                    <a:pt x="1630" y="1237"/>
                  </a:lnTo>
                  <a:lnTo>
                    <a:pt x="1638" y="1236"/>
                  </a:lnTo>
                  <a:lnTo>
                    <a:pt x="1645" y="1237"/>
                  </a:lnTo>
                  <a:lnTo>
                    <a:pt x="1653" y="1238"/>
                  </a:lnTo>
                  <a:lnTo>
                    <a:pt x="1660" y="1242"/>
                  </a:lnTo>
                  <a:lnTo>
                    <a:pt x="1665" y="1246"/>
                  </a:lnTo>
                  <a:lnTo>
                    <a:pt x="1670" y="1252"/>
                  </a:lnTo>
                  <a:lnTo>
                    <a:pt x="1674" y="1258"/>
                  </a:lnTo>
                  <a:lnTo>
                    <a:pt x="1678" y="1268"/>
                  </a:lnTo>
                  <a:lnTo>
                    <a:pt x="1680" y="1277"/>
                  </a:lnTo>
                  <a:lnTo>
                    <a:pt x="1681" y="1290"/>
                  </a:lnTo>
                  <a:lnTo>
                    <a:pt x="1681" y="1304"/>
                  </a:lnTo>
                  <a:lnTo>
                    <a:pt x="1680" y="1321"/>
                  </a:lnTo>
                  <a:lnTo>
                    <a:pt x="1678" y="1340"/>
                  </a:lnTo>
                  <a:lnTo>
                    <a:pt x="1674" y="1361"/>
                  </a:lnTo>
                  <a:lnTo>
                    <a:pt x="1669" y="1385"/>
                  </a:lnTo>
                  <a:lnTo>
                    <a:pt x="1657" y="1434"/>
                  </a:lnTo>
                  <a:lnTo>
                    <a:pt x="1648" y="1474"/>
                  </a:lnTo>
                  <a:lnTo>
                    <a:pt x="1641" y="1509"/>
                  </a:lnTo>
                  <a:lnTo>
                    <a:pt x="1637" y="1541"/>
                  </a:lnTo>
                  <a:lnTo>
                    <a:pt x="1634" y="1573"/>
                  </a:lnTo>
                  <a:lnTo>
                    <a:pt x="1633" y="1606"/>
                  </a:lnTo>
                  <a:lnTo>
                    <a:pt x="1633" y="1645"/>
                  </a:lnTo>
                  <a:lnTo>
                    <a:pt x="1632" y="1693"/>
                  </a:lnTo>
                  <a:lnTo>
                    <a:pt x="1633" y="1714"/>
                  </a:lnTo>
                  <a:lnTo>
                    <a:pt x="1637" y="1734"/>
                  </a:lnTo>
                  <a:lnTo>
                    <a:pt x="1642" y="1753"/>
                  </a:lnTo>
                  <a:lnTo>
                    <a:pt x="1649" y="1769"/>
                  </a:lnTo>
                  <a:lnTo>
                    <a:pt x="1656" y="1785"/>
                  </a:lnTo>
                  <a:lnTo>
                    <a:pt x="1664" y="1798"/>
                  </a:lnTo>
                  <a:lnTo>
                    <a:pt x="1673" y="1811"/>
                  </a:lnTo>
                  <a:lnTo>
                    <a:pt x="1681" y="1822"/>
                  </a:lnTo>
                  <a:lnTo>
                    <a:pt x="1688" y="1833"/>
                  </a:lnTo>
                  <a:lnTo>
                    <a:pt x="1694" y="1842"/>
                  </a:lnTo>
                  <a:lnTo>
                    <a:pt x="1700" y="1851"/>
                  </a:lnTo>
                  <a:lnTo>
                    <a:pt x="1704" y="1859"/>
                  </a:lnTo>
                  <a:lnTo>
                    <a:pt x="1705" y="1866"/>
                  </a:lnTo>
                  <a:lnTo>
                    <a:pt x="1704" y="1873"/>
                  </a:lnTo>
                  <a:lnTo>
                    <a:pt x="1700" y="1879"/>
                  </a:lnTo>
                  <a:lnTo>
                    <a:pt x="1693" y="1885"/>
                  </a:lnTo>
                  <a:lnTo>
                    <a:pt x="1684" y="1891"/>
                  </a:lnTo>
                  <a:lnTo>
                    <a:pt x="1676" y="1899"/>
                  </a:lnTo>
                  <a:lnTo>
                    <a:pt x="1668" y="1906"/>
                  </a:lnTo>
                  <a:lnTo>
                    <a:pt x="1661" y="1914"/>
                  </a:lnTo>
                  <a:lnTo>
                    <a:pt x="1648" y="1931"/>
                  </a:lnTo>
                  <a:lnTo>
                    <a:pt x="1636" y="1950"/>
                  </a:lnTo>
                  <a:lnTo>
                    <a:pt x="1613" y="1989"/>
                  </a:lnTo>
                  <a:lnTo>
                    <a:pt x="1590" y="2026"/>
                  </a:lnTo>
                  <a:lnTo>
                    <a:pt x="1578" y="2045"/>
                  </a:lnTo>
                  <a:lnTo>
                    <a:pt x="1565" y="2059"/>
                  </a:lnTo>
                  <a:lnTo>
                    <a:pt x="1558" y="2067"/>
                  </a:lnTo>
                  <a:lnTo>
                    <a:pt x="1550" y="2074"/>
                  </a:lnTo>
                  <a:lnTo>
                    <a:pt x="1542" y="2079"/>
                  </a:lnTo>
                  <a:lnTo>
                    <a:pt x="1534" y="2085"/>
                  </a:lnTo>
                  <a:lnTo>
                    <a:pt x="1525" y="2090"/>
                  </a:lnTo>
                  <a:lnTo>
                    <a:pt x="1516" y="2093"/>
                  </a:lnTo>
                  <a:lnTo>
                    <a:pt x="1505" y="2097"/>
                  </a:lnTo>
                  <a:lnTo>
                    <a:pt x="1493" y="2098"/>
                  </a:lnTo>
                  <a:lnTo>
                    <a:pt x="1481" y="2099"/>
                  </a:lnTo>
                  <a:lnTo>
                    <a:pt x="1468" y="2099"/>
                  </a:lnTo>
                  <a:lnTo>
                    <a:pt x="1454" y="2098"/>
                  </a:lnTo>
                  <a:lnTo>
                    <a:pt x="1440" y="2095"/>
                  </a:lnTo>
                  <a:lnTo>
                    <a:pt x="1410" y="2090"/>
                  </a:lnTo>
                  <a:lnTo>
                    <a:pt x="1386" y="2085"/>
                  </a:lnTo>
                  <a:lnTo>
                    <a:pt x="1365" y="2077"/>
                  </a:lnTo>
                  <a:lnTo>
                    <a:pt x="1345" y="2070"/>
                  </a:lnTo>
                  <a:lnTo>
                    <a:pt x="1327" y="2063"/>
                  </a:lnTo>
                  <a:lnTo>
                    <a:pt x="1308" y="2058"/>
                  </a:lnTo>
                  <a:lnTo>
                    <a:pt x="1288" y="2055"/>
                  </a:lnTo>
                  <a:lnTo>
                    <a:pt x="1265" y="2054"/>
                  </a:lnTo>
                  <a:lnTo>
                    <a:pt x="1259" y="2054"/>
                  </a:lnTo>
                  <a:lnTo>
                    <a:pt x="1251" y="2057"/>
                  </a:lnTo>
                  <a:lnTo>
                    <a:pt x="1244" y="2059"/>
                  </a:lnTo>
                  <a:lnTo>
                    <a:pt x="1237" y="2063"/>
                  </a:lnTo>
                  <a:lnTo>
                    <a:pt x="1223" y="2073"/>
                  </a:lnTo>
                  <a:lnTo>
                    <a:pt x="1207" y="2085"/>
                  </a:lnTo>
                  <a:lnTo>
                    <a:pt x="1192" y="2097"/>
                  </a:lnTo>
                  <a:lnTo>
                    <a:pt x="1176" y="2107"/>
                  </a:lnTo>
                  <a:lnTo>
                    <a:pt x="1168" y="2111"/>
                  </a:lnTo>
                  <a:lnTo>
                    <a:pt x="1160" y="2115"/>
                  </a:lnTo>
                  <a:lnTo>
                    <a:pt x="1152" y="2118"/>
                  </a:lnTo>
                  <a:lnTo>
                    <a:pt x="1145" y="2119"/>
                  </a:lnTo>
                  <a:lnTo>
                    <a:pt x="1129" y="2122"/>
                  </a:lnTo>
                  <a:lnTo>
                    <a:pt x="1113" y="2122"/>
                  </a:lnTo>
                  <a:lnTo>
                    <a:pt x="1096" y="2121"/>
                  </a:lnTo>
                  <a:lnTo>
                    <a:pt x="1079" y="2118"/>
                  </a:lnTo>
                  <a:lnTo>
                    <a:pt x="1044" y="2110"/>
                  </a:lnTo>
                  <a:lnTo>
                    <a:pt x="1009" y="2102"/>
                  </a:lnTo>
                  <a:lnTo>
                    <a:pt x="992" y="2098"/>
                  </a:lnTo>
                  <a:lnTo>
                    <a:pt x="976" y="2095"/>
                  </a:lnTo>
                  <a:lnTo>
                    <a:pt x="961" y="2094"/>
                  </a:lnTo>
                  <a:lnTo>
                    <a:pt x="948" y="2094"/>
                  </a:lnTo>
                  <a:lnTo>
                    <a:pt x="941" y="2095"/>
                  </a:lnTo>
                  <a:lnTo>
                    <a:pt x="936" y="2097"/>
                  </a:lnTo>
                  <a:lnTo>
                    <a:pt x="931" y="2099"/>
                  </a:lnTo>
                  <a:lnTo>
                    <a:pt x="925" y="2102"/>
                  </a:lnTo>
                  <a:lnTo>
                    <a:pt x="920" y="2105"/>
                  </a:lnTo>
                  <a:lnTo>
                    <a:pt x="916" y="2109"/>
                  </a:lnTo>
                  <a:lnTo>
                    <a:pt x="913" y="2114"/>
                  </a:lnTo>
                  <a:lnTo>
                    <a:pt x="909" y="2119"/>
                  </a:lnTo>
                  <a:lnTo>
                    <a:pt x="899" y="2147"/>
                  </a:lnTo>
                  <a:lnTo>
                    <a:pt x="883" y="2179"/>
                  </a:lnTo>
                  <a:lnTo>
                    <a:pt x="863" y="2214"/>
                  </a:lnTo>
                  <a:lnTo>
                    <a:pt x="839" y="2252"/>
                  </a:lnTo>
                  <a:lnTo>
                    <a:pt x="809" y="2292"/>
                  </a:lnTo>
                  <a:lnTo>
                    <a:pt x="777" y="2332"/>
                  </a:lnTo>
                  <a:lnTo>
                    <a:pt x="759" y="2354"/>
                  </a:lnTo>
                  <a:lnTo>
                    <a:pt x="740" y="2374"/>
                  </a:lnTo>
                  <a:lnTo>
                    <a:pt x="720" y="2395"/>
                  </a:lnTo>
                  <a:lnTo>
                    <a:pt x="700" y="2415"/>
                  </a:lnTo>
                  <a:lnTo>
                    <a:pt x="677" y="2435"/>
                  </a:lnTo>
                  <a:lnTo>
                    <a:pt x="655" y="2454"/>
                  </a:lnTo>
                  <a:lnTo>
                    <a:pt x="632" y="2472"/>
                  </a:lnTo>
                  <a:lnTo>
                    <a:pt x="607" y="2491"/>
                  </a:lnTo>
                  <a:lnTo>
                    <a:pt x="582" y="2508"/>
                  </a:lnTo>
                  <a:lnTo>
                    <a:pt x="555" y="2526"/>
                  </a:lnTo>
                  <a:lnTo>
                    <a:pt x="527" y="2540"/>
                  </a:lnTo>
                  <a:lnTo>
                    <a:pt x="499" y="2555"/>
                  </a:lnTo>
                  <a:lnTo>
                    <a:pt x="470" y="2568"/>
                  </a:lnTo>
                  <a:lnTo>
                    <a:pt x="440" y="2580"/>
                  </a:lnTo>
                  <a:lnTo>
                    <a:pt x="408" y="2591"/>
                  </a:lnTo>
                  <a:lnTo>
                    <a:pt x="378" y="2600"/>
                  </a:lnTo>
                  <a:lnTo>
                    <a:pt x="344" y="2608"/>
                  </a:lnTo>
                  <a:lnTo>
                    <a:pt x="311" y="2614"/>
                  </a:lnTo>
                  <a:lnTo>
                    <a:pt x="276" y="2618"/>
                  </a:lnTo>
                  <a:lnTo>
                    <a:pt x="242" y="2619"/>
                  </a:lnTo>
                  <a:lnTo>
                    <a:pt x="222" y="2620"/>
                  </a:lnTo>
                  <a:lnTo>
                    <a:pt x="204" y="2619"/>
                  </a:lnTo>
                  <a:lnTo>
                    <a:pt x="187" y="2618"/>
                  </a:lnTo>
                  <a:lnTo>
                    <a:pt x="171" y="2616"/>
                  </a:lnTo>
                  <a:lnTo>
                    <a:pt x="155" y="2614"/>
                  </a:lnTo>
                  <a:lnTo>
                    <a:pt x="140" y="2611"/>
                  </a:lnTo>
                  <a:lnTo>
                    <a:pt x="127" y="2607"/>
                  </a:lnTo>
                  <a:lnTo>
                    <a:pt x="115" y="2603"/>
                  </a:lnTo>
                  <a:lnTo>
                    <a:pt x="92" y="2595"/>
                  </a:lnTo>
                  <a:lnTo>
                    <a:pt x="72" y="2584"/>
                  </a:lnTo>
                  <a:lnTo>
                    <a:pt x="56" y="2574"/>
                  </a:lnTo>
                  <a:lnTo>
                    <a:pt x="42" y="2562"/>
                  </a:lnTo>
                  <a:lnTo>
                    <a:pt x="31" y="2550"/>
                  </a:lnTo>
                  <a:lnTo>
                    <a:pt x="22" y="2539"/>
                  </a:lnTo>
                  <a:lnTo>
                    <a:pt x="14" y="2528"/>
                  </a:lnTo>
                  <a:lnTo>
                    <a:pt x="8" y="2519"/>
                  </a:lnTo>
                  <a:lnTo>
                    <a:pt x="2" y="2504"/>
                  </a:lnTo>
                  <a:lnTo>
                    <a:pt x="0" y="2499"/>
                  </a:lnTo>
                  <a:lnTo>
                    <a:pt x="3" y="2487"/>
                  </a:lnTo>
                  <a:lnTo>
                    <a:pt x="8" y="2476"/>
                  </a:lnTo>
                  <a:lnTo>
                    <a:pt x="14" y="2466"/>
                  </a:lnTo>
                  <a:lnTo>
                    <a:pt x="20" y="2455"/>
                  </a:lnTo>
                  <a:lnTo>
                    <a:pt x="36" y="2436"/>
                  </a:lnTo>
                  <a:lnTo>
                    <a:pt x="54" y="2418"/>
                  </a:lnTo>
                  <a:lnTo>
                    <a:pt x="71" y="2399"/>
                  </a:lnTo>
                  <a:lnTo>
                    <a:pt x="86" y="2380"/>
                  </a:lnTo>
                  <a:lnTo>
                    <a:pt x="92" y="2371"/>
                  </a:lnTo>
                  <a:lnTo>
                    <a:pt x="98" y="2360"/>
                  </a:lnTo>
                  <a:lnTo>
                    <a:pt x="100" y="2348"/>
                  </a:lnTo>
                  <a:lnTo>
                    <a:pt x="103" y="2336"/>
                  </a:lnTo>
                  <a:lnTo>
                    <a:pt x="82" y="2332"/>
                  </a:lnTo>
                  <a:lnTo>
                    <a:pt x="51" y="2326"/>
                  </a:lnTo>
                  <a:lnTo>
                    <a:pt x="43" y="2323"/>
                  </a:lnTo>
                  <a:lnTo>
                    <a:pt x="36" y="2320"/>
                  </a:lnTo>
                  <a:lnTo>
                    <a:pt x="30" y="2316"/>
                  </a:lnTo>
                  <a:lnTo>
                    <a:pt x="24" y="2312"/>
                  </a:lnTo>
                  <a:lnTo>
                    <a:pt x="19" y="2308"/>
                  </a:lnTo>
                  <a:lnTo>
                    <a:pt x="15" y="2302"/>
                  </a:lnTo>
                  <a:lnTo>
                    <a:pt x="14" y="2296"/>
                  </a:lnTo>
                  <a:lnTo>
                    <a:pt x="12" y="2288"/>
                  </a:lnTo>
                  <a:lnTo>
                    <a:pt x="14" y="2274"/>
                  </a:lnTo>
                  <a:lnTo>
                    <a:pt x="18" y="2260"/>
                  </a:lnTo>
                  <a:lnTo>
                    <a:pt x="23" y="2247"/>
                  </a:lnTo>
                  <a:lnTo>
                    <a:pt x="30" y="2235"/>
                  </a:lnTo>
                  <a:lnTo>
                    <a:pt x="46" y="2214"/>
                  </a:lnTo>
                  <a:lnTo>
                    <a:pt x="60" y="2192"/>
                  </a:lnTo>
                  <a:lnTo>
                    <a:pt x="50" y="2183"/>
                  </a:lnTo>
                  <a:lnTo>
                    <a:pt x="38" y="2171"/>
                  </a:lnTo>
                  <a:lnTo>
                    <a:pt x="32" y="2165"/>
                  </a:lnTo>
                  <a:lnTo>
                    <a:pt x="28" y="2158"/>
                  </a:lnTo>
                  <a:lnTo>
                    <a:pt x="26" y="2149"/>
                  </a:lnTo>
                  <a:lnTo>
                    <a:pt x="24" y="2138"/>
                  </a:lnTo>
                  <a:lnTo>
                    <a:pt x="26" y="2131"/>
                  </a:lnTo>
                  <a:lnTo>
                    <a:pt x="27" y="2126"/>
                  </a:lnTo>
                  <a:lnTo>
                    <a:pt x="31" y="2121"/>
                  </a:lnTo>
                  <a:lnTo>
                    <a:pt x="35" y="2117"/>
                  </a:lnTo>
                  <a:lnTo>
                    <a:pt x="42" y="2113"/>
                  </a:lnTo>
                  <a:lnTo>
                    <a:pt x="48" y="2109"/>
                  </a:lnTo>
                  <a:lnTo>
                    <a:pt x="55" y="2106"/>
                  </a:lnTo>
                  <a:lnTo>
                    <a:pt x="64" y="2103"/>
                  </a:lnTo>
                  <a:lnTo>
                    <a:pt x="82" y="2099"/>
                  </a:lnTo>
                  <a:lnTo>
                    <a:pt x="100" y="2098"/>
                  </a:lnTo>
                  <a:lnTo>
                    <a:pt x="120" y="2097"/>
                  </a:lnTo>
                  <a:lnTo>
                    <a:pt x="139" y="2095"/>
                  </a:lnTo>
                  <a:lnTo>
                    <a:pt x="148" y="2095"/>
                  </a:lnTo>
                  <a:lnTo>
                    <a:pt x="156" y="2093"/>
                  </a:lnTo>
                  <a:lnTo>
                    <a:pt x="164" y="2089"/>
                  </a:lnTo>
                  <a:lnTo>
                    <a:pt x="171" y="2085"/>
                  </a:lnTo>
                  <a:lnTo>
                    <a:pt x="182" y="2073"/>
                  </a:lnTo>
                  <a:lnTo>
                    <a:pt x="191" y="2059"/>
                  </a:lnTo>
                  <a:lnTo>
                    <a:pt x="200" y="2046"/>
                  </a:lnTo>
                  <a:lnTo>
                    <a:pt x="212" y="2035"/>
                  </a:lnTo>
                  <a:lnTo>
                    <a:pt x="220" y="2030"/>
                  </a:lnTo>
                  <a:lnTo>
                    <a:pt x="228" y="2027"/>
                  </a:lnTo>
                  <a:lnTo>
                    <a:pt x="236" y="2025"/>
                  </a:lnTo>
                  <a:lnTo>
                    <a:pt x="247" y="2023"/>
                  </a:lnTo>
                  <a:lnTo>
                    <a:pt x="275" y="2025"/>
                  </a:lnTo>
                  <a:lnTo>
                    <a:pt x="303" y="2023"/>
                  </a:lnTo>
                  <a:lnTo>
                    <a:pt x="316" y="2022"/>
                  </a:lnTo>
                  <a:lnTo>
                    <a:pt x="328" y="2018"/>
                  </a:lnTo>
                  <a:lnTo>
                    <a:pt x="335" y="2017"/>
                  </a:lnTo>
                  <a:lnTo>
                    <a:pt x="340" y="2013"/>
                  </a:lnTo>
                  <a:lnTo>
                    <a:pt x="346" y="2010"/>
                  </a:lnTo>
                  <a:lnTo>
                    <a:pt x="350" y="2006"/>
                  </a:lnTo>
                  <a:lnTo>
                    <a:pt x="355" y="1998"/>
                  </a:lnTo>
                  <a:lnTo>
                    <a:pt x="358" y="1991"/>
                  </a:lnTo>
                  <a:lnTo>
                    <a:pt x="359" y="1983"/>
                  </a:lnTo>
                  <a:lnTo>
                    <a:pt x="359" y="1974"/>
                  </a:lnTo>
                  <a:lnTo>
                    <a:pt x="359" y="1966"/>
                  </a:lnTo>
                  <a:lnTo>
                    <a:pt x="360" y="1957"/>
                  </a:lnTo>
                  <a:lnTo>
                    <a:pt x="363" y="1949"/>
                  </a:lnTo>
                  <a:lnTo>
                    <a:pt x="368" y="1939"/>
                  </a:lnTo>
                  <a:lnTo>
                    <a:pt x="390" y="1918"/>
                  </a:lnTo>
                  <a:lnTo>
                    <a:pt x="408" y="1901"/>
                  </a:lnTo>
                  <a:lnTo>
                    <a:pt x="426" y="1882"/>
                  </a:lnTo>
                  <a:lnTo>
                    <a:pt x="442" y="1865"/>
                  </a:lnTo>
                  <a:lnTo>
                    <a:pt x="448" y="1855"/>
                  </a:lnTo>
                  <a:lnTo>
                    <a:pt x="455" y="1845"/>
                  </a:lnTo>
                  <a:lnTo>
                    <a:pt x="462" y="1834"/>
                  </a:lnTo>
                  <a:lnTo>
                    <a:pt x="468" y="1822"/>
                  </a:lnTo>
                  <a:lnTo>
                    <a:pt x="474" y="1809"/>
                  </a:lnTo>
                  <a:lnTo>
                    <a:pt x="479" y="1793"/>
                  </a:lnTo>
                  <a:lnTo>
                    <a:pt x="484" y="1777"/>
                  </a:lnTo>
                  <a:lnTo>
                    <a:pt x="488" y="1758"/>
                  </a:lnTo>
                  <a:lnTo>
                    <a:pt x="500" y="1758"/>
                  </a:lnTo>
                  <a:lnTo>
                    <a:pt x="512" y="1755"/>
                  </a:lnTo>
                  <a:lnTo>
                    <a:pt x="524" y="1753"/>
                  </a:lnTo>
                  <a:lnTo>
                    <a:pt x="536" y="1747"/>
                  </a:lnTo>
                  <a:lnTo>
                    <a:pt x="548" y="1742"/>
                  </a:lnTo>
                  <a:lnTo>
                    <a:pt x="559" y="1735"/>
                  </a:lnTo>
                  <a:lnTo>
                    <a:pt x="571" y="1729"/>
                  </a:lnTo>
                  <a:lnTo>
                    <a:pt x="582" y="1721"/>
                  </a:lnTo>
                  <a:lnTo>
                    <a:pt x="601" y="1703"/>
                  </a:lnTo>
                  <a:lnTo>
                    <a:pt x="620" y="1685"/>
                  </a:lnTo>
                  <a:lnTo>
                    <a:pt x="636" y="1667"/>
                  </a:lnTo>
                  <a:lnTo>
                    <a:pt x="651" y="1650"/>
                  </a:lnTo>
                  <a:lnTo>
                    <a:pt x="667" y="1637"/>
                  </a:lnTo>
                  <a:lnTo>
                    <a:pt x="681" y="1626"/>
                  </a:lnTo>
                  <a:lnTo>
                    <a:pt x="695" y="1614"/>
                  </a:lnTo>
                  <a:lnTo>
                    <a:pt x="705" y="1601"/>
                  </a:lnTo>
                  <a:lnTo>
                    <a:pt x="711" y="1594"/>
                  </a:lnTo>
                  <a:lnTo>
                    <a:pt x="716" y="1588"/>
                  </a:lnTo>
                  <a:lnTo>
                    <a:pt x="720" y="1580"/>
                  </a:lnTo>
                  <a:lnTo>
                    <a:pt x="723" y="1572"/>
                  </a:lnTo>
                  <a:lnTo>
                    <a:pt x="725" y="1562"/>
                  </a:lnTo>
                  <a:lnTo>
                    <a:pt x="728" y="1553"/>
                  </a:lnTo>
                  <a:lnTo>
                    <a:pt x="728" y="1542"/>
                  </a:lnTo>
                  <a:lnTo>
                    <a:pt x="729" y="1530"/>
                  </a:lnTo>
                  <a:lnTo>
                    <a:pt x="728" y="1516"/>
                  </a:lnTo>
                  <a:lnTo>
                    <a:pt x="724" y="1502"/>
                  </a:lnTo>
                  <a:lnTo>
                    <a:pt x="719" y="1490"/>
                  </a:lnTo>
                  <a:lnTo>
                    <a:pt x="712" y="1480"/>
                  </a:lnTo>
                  <a:lnTo>
                    <a:pt x="704" y="1470"/>
                  </a:lnTo>
                  <a:lnTo>
                    <a:pt x="695" y="1462"/>
                  </a:lnTo>
                  <a:lnTo>
                    <a:pt x="685" y="1454"/>
                  </a:lnTo>
                  <a:lnTo>
                    <a:pt x="675" y="1448"/>
                  </a:lnTo>
                  <a:lnTo>
                    <a:pt x="655" y="1433"/>
                  </a:lnTo>
                  <a:lnTo>
                    <a:pt x="637" y="1417"/>
                  </a:lnTo>
                  <a:lnTo>
                    <a:pt x="631" y="1408"/>
                  </a:lnTo>
                  <a:lnTo>
                    <a:pt x="625" y="1397"/>
                  </a:lnTo>
                  <a:lnTo>
                    <a:pt x="621" y="1386"/>
                  </a:lnTo>
                  <a:lnTo>
                    <a:pt x="620" y="1373"/>
                  </a:lnTo>
                  <a:lnTo>
                    <a:pt x="621" y="1366"/>
                  </a:lnTo>
                  <a:lnTo>
                    <a:pt x="623" y="1360"/>
                  </a:lnTo>
                  <a:lnTo>
                    <a:pt x="625" y="1353"/>
                  </a:lnTo>
                  <a:lnTo>
                    <a:pt x="629" y="1349"/>
                  </a:lnTo>
                  <a:lnTo>
                    <a:pt x="639" y="1340"/>
                  </a:lnTo>
                  <a:lnTo>
                    <a:pt x="649" y="1333"/>
                  </a:lnTo>
                  <a:lnTo>
                    <a:pt x="663" y="1326"/>
                  </a:lnTo>
                  <a:lnTo>
                    <a:pt x="673" y="1320"/>
                  </a:lnTo>
                  <a:lnTo>
                    <a:pt x="680" y="1316"/>
                  </a:lnTo>
                  <a:lnTo>
                    <a:pt x="684" y="1312"/>
                  </a:lnTo>
                  <a:lnTo>
                    <a:pt x="689" y="1306"/>
                  </a:lnTo>
                  <a:lnTo>
                    <a:pt x="693" y="1301"/>
                  </a:lnTo>
                  <a:lnTo>
                    <a:pt x="707" y="1269"/>
                  </a:lnTo>
                  <a:lnTo>
                    <a:pt x="720" y="1234"/>
                  </a:lnTo>
                  <a:lnTo>
                    <a:pt x="736" y="1198"/>
                  </a:lnTo>
                  <a:lnTo>
                    <a:pt x="752" y="1161"/>
                  </a:lnTo>
                  <a:lnTo>
                    <a:pt x="760" y="1144"/>
                  </a:lnTo>
                  <a:lnTo>
                    <a:pt x="769" y="1126"/>
                  </a:lnTo>
                  <a:lnTo>
                    <a:pt x="779" y="1109"/>
                  </a:lnTo>
                  <a:lnTo>
                    <a:pt x="789" y="1094"/>
                  </a:lnTo>
                  <a:lnTo>
                    <a:pt x="800" y="1080"/>
                  </a:lnTo>
                  <a:lnTo>
                    <a:pt x="812" y="1068"/>
                  </a:lnTo>
                  <a:lnTo>
                    <a:pt x="824" y="1057"/>
                  </a:lnTo>
                  <a:lnTo>
                    <a:pt x="837" y="1048"/>
                  </a:lnTo>
                  <a:lnTo>
                    <a:pt x="865" y="1032"/>
                  </a:lnTo>
                  <a:lnTo>
                    <a:pt x="893" y="1015"/>
                  </a:lnTo>
                  <a:lnTo>
                    <a:pt x="899" y="1009"/>
                  </a:lnTo>
                  <a:lnTo>
                    <a:pt x="904" y="1004"/>
                  </a:lnTo>
                  <a:lnTo>
                    <a:pt x="909" y="997"/>
                  </a:lnTo>
                  <a:lnTo>
                    <a:pt x="913" y="989"/>
                  </a:lnTo>
                  <a:lnTo>
                    <a:pt x="917" y="980"/>
                  </a:lnTo>
                  <a:lnTo>
                    <a:pt x="920" y="971"/>
                  </a:lnTo>
                  <a:lnTo>
                    <a:pt x="921" y="959"/>
                  </a:lnTo>
                  <a:lnTo>
                    <a:pt x="921" y="945"/>
                  </a:lnTo>
                  <a:lnTo>
                    <a:pt x="921" y="937"/>
                  </a:lnTo>
                  <a:lnTo>
                    <a:pt x="920" y="929"/>
                  </a:lnTo>
                  <a:lnTo>
                    <a:pt x="919" y="923"/>
                  </a:lnTo>
                  <a:lnTo>
                    <a:pt x="916" y="916"/>
                  </a:lnTo>
                  <a:lnTo>
                    <a:pt x="912" y="909"/>
                  </a:lnTo>
                  <a:lnTo>
                    <a:pt x="908" y="904"/>
                  </a:lnTo>
                  <a:lnTo>
                    <a:pt x="904" y="900"/>
                  </a:lnTo>
                  <a:lnTo>
                    <a:pt x="899" y="895"/>
                  </a:lnTo>
                  <a:lnTo>
                    <a:pt x="876" y="879"/>
                  </a:lnTo>
                  <a:lnTo>
                    <a:pt x="849" y="861"/>
                  </a:lnTo>
                  <a:lnTo>
                    <a:pt x="841" y="856"/>
                  </a:lnTo>
                  <a:lnTo>
                    <a:pt x="835" y="851"/>
                  </a:lnTo>
                  <a:lnTo>
                    <a:pt x="828" y="847"/>
                  </a:lnTo>
                  <a:lnTo>
                    <a:pt x="820" y="844"/>
                  </a:lnTo>
                  <a:lnTo>
                    <a:pt x="807" y="841"/>
                  </a:lnTo>
                  <a:lnTo>
                    <a:pt x="793" y="840"/>
                  </a:lnTo>
                  <a:lnTo>
                    <a:pt x="780" y="840"/>
                  </a:lnTo>
                  <a:lnTo>
                    <a:pt x="765" y="839"/>
                  </a:lnTo>
                  <a:lnTo>
                    <a:pt x="748" y="836"/>
                  </a:lnTo>
                  <a:lnTo>
                    <a:pt x="729" y="832"/>
                  </a:lnTo>
                  <a:lnTo>
                    <a:pt x="723" y="817"/>
                  </a:lnTo>
                  <a:lnTo>
                    <a:pt x="707" y="784"/>
                  </a:lnTo>
                  <a:lnTo>
                    <a:pt x="691" y="748"/>
                  </a:lnTo>
                  <a:lnTo>
                    <a:pt x="681" y="723"/>
                  </a:lnTo>
                  <a:lnTo>
                    <a:pt x="673" y="705"/>
                  </a:lnTo>
                  <a:lnTo>
                    <a:pt x="667" y="689"/>
                  </a:lnTo>
                  <a:lnTo>
                    <a:pt x="657" y="675"/>
                  </a:lnTo>
                  <a:lnTo>
                    <a:pt x="649" y="660"/>
                  </a:lnTo>
                  <a:lnTo>
                    <a:pt x="629" y="629"/>
                  </a:lnTo>
                  <a:lnTo>
                    <a:pt x="608" y="596"/>
                  </a:lnTo>
                  <a:lnTo>
                    <a:pt x="601" y="588"/>
                  </a:lnTo>
                  <a:lnTo>
                    <a:pt x="591" y="579"/>
                  </a:lnTo>
                  <a:lnTo>
                    <a:pt x="587" y="573"/>
                  </a:lnTo>
                  <a:lnTo>
                    <a:pt x="583" y="567"/>
                  </a:lnTo>
                  <a:lnTo>
                    <a:pt x="580" y="559"/>
                  </a:lnTo>
                  <a:lnTo>
                    <a:pt x="579" y="548"/>
                  </a:lnTo>
                  <a:lnTo>
                    <a:pt x="578" y="529"/>
                  </a:lnTo>
                  <a:lnTo>
                    <a:pt x="579" y="509"/>
                  </a:lnTo>
                  <a:lnTo>
                    <a:pt x="582" y="501"/>
                  </a:lnTo>
                  <a:lnTo>
                    <a:pt x="587" y="495"/>
                  </a:lnTo>
                  <a:lnTo>
                    <a:pt x="590" y="492"/>
                  </a:lnTo>
                  <a:lnTo>
                    <a:pt x="594" y="489"/>
                  </a:lnTo>
                  <a:lnTo>
                    <a:pt x="598" y="488"/>
                  </a:lnTo>
                  <a:lnTo>
                    <a:pt x="603" y="488"/>
                  </a:lnTo>
                  <a:lnTo>
                    <a:pt x="613" y="489"/>
                  </a:lnTo>
                  <a:lnTo>
                    <a:pt x="621" y="492"/>
                  </a:lnTo>
                  <a:lnTo>
                    <a:pt x="629" y="496"/>
                  </a:lnTo>
                  <a:lnTo>
                    <a:pt x="636" y="500"/>
                  </a:lnTo>
                  <a:lnTo>
                    <a:pt x="644" y="504"/>
                  </a:lnTo>
                  <a:lnTo>
                    <a:pt x="652" y="508"/>
                  </a:lnTo>
                  <a:lnTo>
                    <a:pt x="663" y="511"/>
                  </a:lnTo>
                  <a:lnTo>
                    <a:pt x="675" y="512"/>
                  </a:lnTo>
                  <a:lnTo>
                    <a:pt x="687" y="511"/>
                  </a:lnTo>
                  <a:lnTo>
                    <a:pt x="697" y="508"/>
                  </a:lnTo>
                  <a:lnTo>
                    <a:pt x="708" y="504"/>
                  </a:lnTo>
                  <a:lnTo>
                    <a:pt x="716" y="499"/>
                  </a:lnTo>
                  <a:lnTo>
                    <a:pt x="725" y="492"/>
                  </a:lnTo>
                  <a:lnTo>
                    <a:pt x="733" y="485"/>
                  </a:lnTo>
                  <a:lnTo>
                    <a:pt x="740" y="477"/>
                  </a:lnTo>
                  <a:lnTo>
                    <a:pt x="747" y="468"/>
                  </a:lnTo>
                  <a:lnTo>
                    <a:pt x="760" y="452"/>
                  </a:lnTo>
                  <a:lnTo>
                    <a:pt x="773" y="436"/>
                  </a:lnTo>
                  <a:lnTo>
                    <a:pt x="780" y="430"/>
                  </a:lnTo>
                  <a:lnTo>
                    <a:pt x="787" y="424"/>
                  </a:lnTo>
                  <a:lnTo>
                    <a:pt x="793" y="419"/>
                  </a:lnTo>
                  <a:lnTo>
                    <a:pt x="801" y="416"/>
                  </a:lnTo>
                  <a:lnTo>
                    <a:pt x="796" y="400"/>
                  </a:lnTo>
                  <a:lnTo>
                    <a:pt x="791" y="384"/>
                  </a:lnTo>
                  <a:lnTo>
                    <a:pt x="785" y="368"/>
                  </a:lnTo>
                  <a:lnTo>
                    <a:pt x="783" y="356"/>
                  </a:lnTo>
                  <a:lnTo>
                    <a:pt x="784" y="348"/>
                  </a:lnTo>
                  <a:lnTo>
                    <a:pt x="785" y="342"/>
                  </a:lnTo>
                  <a:lnTo>
                    <a:pt x="788" y="336"/>
                  </a:lnTo>
                  <a:lnTo>
                    <a:pt x="791" y="332"/>
                  </a:lnTo>
                  <a:lnTo>
                    <a:pt x="796" y="324"/>
                  </a:lnTo>
                  <a:lnTo>
                    <a:pt x="801" y="314"/>
                  </a:lnTo>
                  <a:lnTo>
                    <a:pt x="780" y="310"/>
                  </a:lnTo>
                  <a:lnTo>
                    <a:pt x="760" y="306"/>
                  </a:lnTo>
                  <a:lnTo>
                    <a:pt x="740" y="300"/>
                  </a:lnTo>
                  <a:lnTo>
                    <a:pt x="721" y="294"/>
                  </a:lnTo>
                  <a:lnTo>
                    <a:pt x="712" y="291"/>
                  </a:lnTo>
                  <a:lnTo>
                    <a:pt x="704" y="287"/>
                  </a:lnTo>
                  <a:lnTo>
                    <a:pt x="697" y="282"/>
                  </a:lnTo>
                  <a:lnTo>
                    <a:pt x="692" y="276"/>
                  </a:lnTo>
                  <a:lnTo>
                    <a:pt x="687" y="271"/>
                  </a:lnTo>
                  <a:lnTo>
                    <a:pt x="684" y="263"/>
                  </a:lnTo>
                  <a:lnTo>
                    <a:pt x="681" y="256"/>
                  </a:lnTo>
                  <a:lnTo>
                    <a:pt x="681" y="247"/>
                  </a:lnTo>
                  <a:lnTo>
                    <a:pt x="681" y="207"/>
                  </a:lnTo>
                  <a:lnTo>
                    <a:pt x="681" y="162"/>
                  </a:lnTo>
                  <a:lnTo>
                    <a:pt x="681" y="119"/>
                  </a:lnTo>
                  <a:lnTo>
                    <a:pt x="681" y="84"/>
                  </a:lnTo>
                  <a:lnTo>
                    <a:pt x="681" y="80"/>
                  </a:lnTo>
                  <a:lnTo>
                    <a:pt x="683" y="76"/>
                  </a:lnTo>
                  <a:lnTo>
                    <a:pt x="684" y="74"/>
                  </a:lnTo>
                  <a:lnTo>
                    <a:pt x="687" y="71"/>
                  </a:lnTo>
                  <a:lnTo>
                    <a:pt x="692" y="67"/>
                  </a:lnTo>
                  <a:lnTo>
                    <a:pt x="700" y="64"/>
                  </a:lnTo>
                  <a:lnTo>
                    <a:pt x="713" y="62"/>
                  </a:lnTo>
                  <a:lnTo>
                    <a:pt x="723" y="60"/>
                  </a:lnTo>
                  <a:lnTo>
                    <a:pt x="739" y="60"/>
                  </a:lnTo>
                  <a:lnTo>
                    <a:pt x="757" y="60"/>
                  </a:lnTo>
                  <a:lnTo>
                    <a:pt x="776" y="60"/>
                  </a:lnTo>
                  <a:lnTo>
                    <a:pt x="795" y="60"/>
                  </a:lnTo>
                  <a:lnTo>
                    <a:pt x="809" y="59"/>
                  </a:lnTo>
                  <a:lnTo>
                    <a:pt x="823" y="56"/>
                  </a:lnTo>
                  <a:lnTo>
                    <a:pt x="832" y="52"/>
                  </a:lnTo>
                  <a:lnTo>
                    <a:pt x="841" y="46"/>
                  </a:lnTo>
                  <a:lnTo>
                    <a:pt x="860" y="30"/>
                  </a:lnTo>
                  <a:lnTo>
                    <a:pt x="880" y="12"/>
                  </a:lnTo>
                  <a:lnTo>
                    <a:pt x="856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12700" cap="flat" cmpd="sng">
              <a:solidFill>
                <a:sysClr val="windowText" lastClr="000000">
                  <a:lumMod val="75000"/>
                  <a:lumOff val="25000"/>
                  <a:alpha val="31000"/>
                </a:sys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22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25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26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27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ография базисов поставок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одзаголовок 3"/>
          <p:cNvSpPr txBox="1">
            <a:spLocks/>
          </p:cNvSpPr>
          <p:nvPr/>
        </p:nvSpPr>
        <p:spPr>
          <a:xfrm>
            <a:off x="2603927" y="1632856"/>
            <a:ext cx="2824067" cy="5040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ea typeface="+mn-ea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АО «Апатит» </a:t>
            </a:r>
            <a:r>
              <a:rPr lang="ru-RU" sz="900" dirty="0">
                <a:solidFill>
                  <a:prstClr val="black">
                    <a:lumMod val="85000"/>
                    <a:lumOff val="15000"/>
                  </a:prstClr>
                </a:solidFill>
              </a:rPr>
              <a:t>(ПАО «ФосАгро»)</a:t>
            </a: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т. Череповец </a:t>
            </a:r>
            <a:r>
              <a:rPr lang="en-US" sz="900" dirty="0">
                <a:solidFill>
                  <a:schemeClr val="tx1"/>
                </a:solidFill>
              </a:rPr>
              <a:t>II</a:t>
            </a:r>
            <a:endParaRPr lang="ru-RU" sz="900" dirty="0">
              <a:solidFill>
                <a:schemeClr val="tx1"/>
              </a:solidFill>
            </a:endParaRP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т. </a:t>
            </a:r>
            <a:r>
              <a:rPr lang="ru-RU" sz="900" dirty="0" err="1">
                <a:solidFill>
                  <a:schemeClr val="tx1"/>
                </a:solidFill>
              </a:rPr>
              <a:t>Юльевка</a:t>
            </a:r>
            <a:r>
              <a:rPr lang="ru-RU" sz="900" dirty="0">
                <a:solidFill>
                  <a:schemeClr val="tx1"/>
                </a:solidFill>
              </a:rPr>
              <a:t> (</a:t>
            </a:r>
            <a:r>
              <a:rPr lang="ru-RU" sz="900" dirty="0" err="1">
                <a:solidFill>
                  <a:schemeClr val="tx1"/>
                </a:solidFill>
              </a:rPr>
              <a:t>Балаковский</a:t>
            </a:r>
            <a:r>
              <a:rPr lang="ru-RU" sz="900" dirty="0">
                <a:solidFill>
                  <a:schemeClr val="tx1"/>
                </a:solidFill>
              </a:rPr>
              <a:t> ф-л АО «Апатит»)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128"/>
          <a:stretch>
            <a:fillRect/>
          </a:stretch>
        </p:blipFill>
        <p:spPr>
          <a:xfrm>
            <a:off x="2394144" y="2175351"/>
            <a:ext cx="271120" cy="278867"/>
          </a:xfrm>
          <a:prstGeom prst="rect">
            <a:avLst/>
          </a:prstGeom>
        </p:spPr>
      </p:pic>
      <p:sp>
        <p:nvSpPr>
          <p:cNvPr id="29" name="Подзаголовок 3"/>
          <p:cNvSpPr txBox="1">
            <a:spLocks/>
          </p:cNvSpPr>
          <p:nvPr/>
        </p:nvSpPr>
        <p:spPr>
          <a:xfrm>
            <a:off x="2628304" y="2185382"/>
            <a:ext cx="2663896" cy="3600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ea typeface="+mn-ea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ПАО «Акрон»</a:t>
            </a:r>
            <a:endParaRPr lang="ru-RU" sz="900" b="1" dirty="0">
              <a:solidFill>
                <a:schemeClr val="tx1"/>
              </a:solidFill>
            </a:endParaRP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т. Новгород на Волхове</a:t>
            </a: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клад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129"/>
          <a:stretch>
            <a:fillRect/>
          </a:stretch>
        </p:blipFill>
        <p:spPr>
          <a:xfrm>
            <a:off x="2395104" y="1685668"/>
            <a:ext cx="243062" cy="235221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30"/>
          <a:stretch>
            <a:fillRect/>
          </a:stretch>
        </p:blipFill>
        <p:spPr>
          <a:xfrm>
            <a:off x="2435469" y="5782841"/>
            <a:ext cx="284048" cy="220926"/>
          </a:xfrm>
          <a:prstGeom prst="rect">
            <a:avLst/>
          </a:prstGeom>
        </p:spPr>
      </p:pic>
      <p:sp>
        <p:nvSpPr>
          <p:cNvPr id="32" name="Подзаголовок 3"/>
          <p:cNvSpPr txBox="1">
            <a:spLocks/>
          </p:cNvSpPr>
          <p:nvPr/>
        </p:nvSpPr>
        <p:spPr>
          <a:xfrm>
            <a:off x="2674076" y="5737568"/>
            <a:ext cx="3263470" cy="5040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ea typeface="+mn-ea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ООО «</a:t>
            </a:r>
            <a:r>
              <a:rPr lang="ru-RU" sz="900" b="1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ЕвроХимТрейдинг</a:t>
            </a:r>
            <a:r>
              <a:rPr lang="ru-RU" sz="9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 Русс» </a:t>
            </a:r>
            <a:r>
              <a:rPr lang="ru-RU" sz="900" dirty="0">
                <a:solidFill>
                  <a:prstClr val="black">
                    <a:lumMod val="75000"/>
                    <a:lumOff val="25000"/>
                  </a:prstClr>
                </a:solidFill>
              </a:rPr>
              <a:t>(АО «МХК «</a:t>
            </a:r>
            <a:r>
              <a:rPr lang="ru-RU" sz="900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ЕвроХим</a:t>
            </a:r>
            <a:r>
              <a:rPr lang="ru-RU" sz="900" dirty="0">
                <a:solidFill>
                  <a:prstClr val="black">
                    <a:lumMod val="75000"/>
                    <a:lumOff val="25000"/>
                  </a:prstClr>
                </a:solidFill>
              </a:rPr>
              <a:t>»)</a:t>
            </a:r>
            <a:endParaRPr lang="ru-RU" sz="900" dirty="0">
              <a:solidFill>
                <a:prstClr val="black">
                  <a:lumMod val="85000"/>
                  <a:lumOff val="15000"/>
                </a:prstClr>
              </a:solidFill>
            </a:endParaRP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т. Невинномысская (ОАО «Невинномысский Азот»)</a:t>
            </a: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т. </a:t>
            </a:r>
            <a:r>
              <a:rPr lang="ru-RU" sz="900" dirty="0" err="1">
                <a:solidFill>
                  <a:schemeClr val="tx1"/>
                </a:solidFill>
              </a:rPr>
              <a:t>Маклец</a:t>
            </a:r>
            <a:r>
              <a:rPr lang="ru-RU" sz="900" dirty="0">
                <a:solidFill>
                  <a:schemeClr val="tx1"/>
                </a:solidFill>
              </a:rPr>
              <a:t>, ст. Северная (ОАО НАК «Азот»)</a:t>
            </a:r>
          </a:p>
          <a:p>
            <a:endParaRPr lang="ru-RU" sz="900" b="1" dirty="0">
              <a:solidFill>
                <a:schemeClr val="tx1"/>
              </a:solidFill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131"/>
          <a:stretch>
            <a:fillRect/>
          </a:stretch>
        </p:blipFill>
        <p:spPr>
          <a:xfrm>
            <a:off x="2400300" y="6243239"/>
            <a:ext cx="272325" cy="255304"/>
          </a:xfrm>
          <a:prstGeom prst="rect">
            <a:avLst/>
          </a:prstGeom>
        </p:spPr>
      </p:pic>
      <p:sp>
        <p:nvSpPr>
          <p:cNvPr id="34" name="Подзаголовок 3"/>
          <p:cNvSpPr txBox="1">
            <a:spLocks/>
          </p:cNvSpPr>
          <p:nvPr/>
        </p:nvSpPr>
        <p:spPr>
          <a:xfrm>
            <a:off x="2655857" y="6280301"/>
            <a:ext cx="2808312" cy="5040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ea typeface="+mn-ea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ПАО «</a:t>
            </a:r>
            <a:r>
              <a:rPr lang="ru-RU" sz="900" b="1" dirty="0" err="1">
                <a:solidFill>
                  <a:prstClr val="black">
                    <a:lumMod val="85000"/>
                    <a:lumOff val="15000"/>
                  </a:prstClr>
                </a:solidFill>
              </a:rPr>
              <a:t>КуйбышевАзот</a:t>
            </a:r>
            <a:r>
              <a:rPr lang="ru-RU" sz="900" b="1" dirty="0">
                <a:solidFill>
                  <a:prstClr val="black">
                    <a:lumMod val="85000"/>
                    <a:lumOff val="15000"/>
                  </a:prstClr>
                </a:solidFill>
              </a:rPr>
              <a:t>»</a:t>
            </a: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т. </a:t>
            </a:r>
            <a:r>
              <a:rPr lang="ru-RU" sz="900" dirty="0" err="1">
                <a:solidFill>
                  <a:schemeClr val="tx1"/>
                </a:solidFill>
              </a:rPr>
              <a:t>Химзаводская</a:t>
            </a:r>
            <a:endParaRPr lang="ru-RU" sz="900" dirty="0">
              <a:solidFill>
                <a:schemeClr val="tx1"/>
              </a:solidFill>
            </a:endParaRP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т. Обшаровка</a:t>
            </a:r>
          </a:p>
          <a:p>
            <a:endParaRPr lang="ru-RU" sz="900" b="1" dirty="0">
              <a:solidFill>
                <a:schemeClr val="tx1"/>
              </a:solidFill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32"/>
          <a:stretch>
            <a:fillRect/>
          </a:stretch>
        </p:blipFill>
        <p:spPr>
          <a:xfrm>
            <a:off x="5884883" y="5810658"/>
            <a:ext cx="277225" cy="235221"/>
          </a:xfrm>
          <a:prstGeom prst="rect">
            <a:avLst/>
          </a:prstGeom>
        </p:spPr>
      </p:pic>
      <p:sp>
        <p:nvSpPr>
          <p:cNvPr id="36" name="Подзаголовок 3"/>
          <p:cNvSpPr txBox="1">
            <a:spLocks/>
          </p:cNvSpPr>
          <p:nvPr/>
        </p:nvSpPr>
        <p:spPr>
          <a:xfrm>
            <a:off x="6123530" y="5757846"/>
            <a:ext cx="2527080" cy="4320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ea typeface="+mn-ea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ЗАО «Корпорация «</a:t>
            </a:r>
            <a:r>
              <a:rPr lang="ru-RU" sz="900" b="1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Тольяттиазот</a:t>
            </a:r>
            <a:r>
              <a:rPr lang="ru-RU" sz="9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»</a:t>
            </a: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т. </a:t>
            </a:r>
            <a:r>
              <a:rPr lang="ru-RU" sz="900" dirty="0" err="1">
                <a:solidFill>
                  <a:schemeClr val="tx1"/>
                </a:solidFill>
              </a:rPr>
              <a:t>Химзаводская</a:t>
            </a:r>
            <a:endParaRPr lang="ru-RU" sz="900" dirty="0">
              <a:solidFill>
                <a:schemeClr val="tx1"/>
              </a:solidFill>
            </a:endParaRP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клад</a:t>
            </a: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133"/>
          <a:stretch>
            <a:fillRect/>
          </a:stretch>
        </p:blipFill>
        <p:spPr>
          <a:xfrm>
            <a:off x="5903057" y="6402816"/>
            <a:ext cx="256028" cy="216024"/>
          </a:xfrm>
          <a:prstGeom prst="rect">
            <a:avLst/>
          </a:prstGeom>
        </p:spPr>
      </p:pic>
      <p:sp>
        <p:nvSpPr>
          <p:cNvPr id="38" name="Подзаголовок 3"/>
          <p:cNvSpPr txBox="1">
            <a:spLocks/>
          </p:cNvSpPr>
          <p:nvPr/>
        </p:nvSpPr>
        <p:spPr>
          <a:xfrm>
            <a:off x="6112281" y="6402815"/>
            <a:ext cx="2527080" cy="3600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ea typeface="+mn-ea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ООО «Газпром </a:t>
            </a:r>
            <a:r>
              <a:rPr lang="ru-RU" sz="900" b="1" dirty="0" err="1">
                <a:solidFill>
                  <a:prstClr val="black">
                    <a:lumMod val="75000"/>
                    <a:lumOff val="25000"/>
                  </a:prstClr>
                </a:solidFill>
              </a:rPr>
              <a:t>нефтехим</a:t>
            </a:r>
            <a:r>
              <a:rPr lang="ru-RU" sz="9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 Салават» </a:t>
            </a: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т. Салават</a:t>
            </a: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134"/>
          <a:stretch>
            <a:fillRect/>
          </a:stretch>
        </p:blipFill>
        <p:spPr>
          <a:xfrm>
            <a:off x="8294358" y="5757728"/>
            <a:ext cx="279786" cy="245872"/>
          </a:xfrm>
          <a:prstGeom prst="rect">
            <a:avLst/>
          </a:prstGeom>
        </p:spPr>
      </p:pic>
      <p:sp>
        <p:nvSpPr>
          <p:cNvPr id="40" name="Подзаголовок 3"/>
          <p:cNvSpPr txBox="1">
            <a:spLocks/>
          </p:cNvSpPr>
          <p:nvPr/>
        </p:nvSpPr>
        <p:spPr>
          <a:xfrm>
            <a:off x="8517970" y="5757728"/>
            <a:ext cx="3439568" cy="5040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ea typeface="+mn-ea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ООО «ТД «УРАЛХИМ» </a:t>
            </a:r>
            <a:r>
              <a:rPr lang="ru-RU" sz="900" dirty="0">
                <a:solidFill>
                  <a:prstClr val="black">
                    <a:lumMod val="75000"/>
                    <a:lumOff val="25000"/>
                  </a:prstClr>
                </a:solidFill>
              </a:rPr>
              <a:t>(АО «ОХК «УРАЛХИМ»)</a:t>
            </a: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т. Заячья Горка (Филиал «Азот» АО «ОХК «УРАЛХИМ»)</a:t>
            </a: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т. Чепецкая (Филиал  «КЧХК» АО «ОХК «УРАЛХИМ»)</a:t>
            </a: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135"/>
          <a:stretch>
            <a:fillRect/>
          </a:stretch>
        </p:blipFill>
        <p:spPr>
          <a:xfrm>
            <a:off x="8372296" y="6420048"/>
            <a:ext cx="261740" cy="261740"/>
          </a:xfrm>
          <a:prstGeom prst="rect">
            <a:avLst/>
          </a:prstGeom>
        </p:spPr>
      </p:pic>
      <p:sp>
        <p:nvSpPr>
          <p:cNvPr id="42" name="Подзаголовок 3"/>
          <p:cNvSpPr txBox="1">
            <a:spLocks/>
          </p:cNvSpPr>
          <p:nvPr/>
        </p:nvSpPr>
        <p:spPr>
          <a:xfrm>
            <a:off x="8588320" y="6420048"/>
            <a:ext cx="3024336" cy="50405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ea typeface="+mn-ea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КАО «Азот» </a:t>
            </a:r>
            <a:r>
              <a:rPr lang="ru-RU" sz="900" dirty="0">
                <a:solidFill>
                  <a:prstClr val="black">
                    <a:lumMod val="75000"/>
                    <a:lumOff val="25000"/>
                  </a:prstClr>
                </a:solidFill>
              </a:rPr>
              <a:t>(г. Кемерово)</a:t>
            </a:r>
          </a:p>
          <a:p>
            <a:pPr marL="177800" indent="-92075">
              <a:buFont typeface="Wingdings" panose="05000000000000000000" pitchFamily="2" charset="2"/>
              <a:buChar char="§"/>
            </a:pPr>
            <a:r>
              <a:rPr lang="ru-RU" sz="900" dirty="0">
                <a:solidFill>
                  <a:schemeClr val="tx1"/>
                </a:solidFill>
              </a:rPr>
              <a:t>склад</a:t>
            </a:r>
          </a:p>
        </p:txBody>
      </p:sp>
      <p:sp>
        <p:nvSpPr>
          <p:cNvPr id="7" name="Блок-схема: узел 6"/>
          <p:cNvSpPr/>
          <p:nvPr/>
        </p:nvSpPr>
        <p:spPr>
          <a:xfrm>
            <a:off x="3275499" y="5007658"/>
            <a:ext cx="208628" cy="188845"/>
          </a:xfrm>
          <a:prstGeom prst="flowChartConnector">
            <a:avLst/>
          </a:prstGeom>
          <a:noFill/>
          <a:ln w="31750">
            <a:solidFill>
              <a:srgbClr val="CF39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  <a:endParaRPr lang="ru-RU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65" name="Блок-схема: узел 164"/>
          <p:cNvSpPr/>
          <p:nvPr/>
        </p:nvSpPr>
        <p:spPr>
          <a:xfrm>
            <a:off x="3559779" y="4280830"/>
            <a:ext cx="208628" cy="188845"/>
          </a:xfrm>
          <a:prstGeom prst="flowChartConnector">
            <a:avLst/>
          </a:prstGeom>
          <a:noFill/>
          <a:ln w="31750">
            <a:solidFill>
              <a:srgbClr val="CF39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3</a:t>
            </a:r>
            <a:endParaRPr lang="ru-RU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66" name="Блок-схема: узел 165"/>
          <p:cNvSpPr/>
          <p:nvPr/>
        </p:nvSpPr>
        <p:spPr>
          <a:xfrm>
            <a:off x="3694570" y="4380685"/>
            <a:ext cx="208628" cy="188845"/>
          </a:xfrm>
          <a:prstGeom prst="flowChartConnector">
            <a:avLst/>
          </a:prstGeom>
          <a:solidFill>
            <a:srgbClr val="FF0000"/>
          </a:solidFill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cxnSp>
        <p:nvCxnSpPr>
          <p:cNvPr id="169" name="Прямая соединительная линия 168"/>
          <p:cNvCxnSpPr/>
          <p:nvPr/>
        </p:nvCxnSpPr>
        <p:spPr>
          <a:xfrm flipH="1">
            <a:off x="3012729" y="4494474"/>
            <a:ext cx="583773" cy="5234"/>
          </a:xfrm>
          <a:prstGeom prst="line">
            <a:avLst/>
          </a:prstGeom>
          <a:ln w="19050">
            <a:solidFill>
              <a:srgbClr val="2E89C9"/>
            </a:solidFill>
            <a:prstDash val="sys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Блок-схема: узел 169"/>
          <p:cNvSpPr/>
          <p:nvPr/>
        </p:nvSpPr>
        <p:spPr>
          <a:xfrm>
            <a:off x="6777762" y="5204029"/>
            <a:ext cx="208628" cy="188845"/>
          </a:xfrm>
          <a:prstGeom prst="flowChartConnector">
            <a:avLst/>
          </a:prstGeom>
          <a:noFill/>
          <a:ln w="317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8 </a:t>
            </a:r>
            <a:endParaRPr lang="ru-RU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1" name="Блок-схема: узел 170"/>
          <p:cNvSpPr/>
          <p:nvPr/>
        </p:nvSpPr>
        <p:spPr>
          <a:xfrm>
            <a:off x="5344615" y="3814841"/>
            <a:ext cx="208628" cy="188845"/>
          </a:xfrm>
          <a:prstGeom prst="flowChartConnector">
            <a:avLst/>
          </a:prstGeom>
          <a:noFill/>
          <a:ln w="3175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7 </a:t>
            </a:r>
            <a:endParaRPr lang="ru-RU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2" name="Блок-схема: узел 171"/>
          <p:cNvSpPr/>
          <p:nvPr/>
        </p:nvSpPr>
        <p:spPr>
          <a:xfrm>
            <a:off x="5054474" y="4228085"/>
            <a:ext cx="208628" cy="188845"/>
          </a:xfrm>
          <a:prstGeom prst="flowChartConnector">
            <a:avLst/>
          </a:prstGeom>
          <a:noFill/>
          <a:ln w="31750">
            <a:solidFill>
              <a:srgbClr val="3A67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6</a:t>
            </a:r>
          </a:p>
        </p:txBody>
      </p:sp>
      <p:sp>
        <p:nvSpPr>
          <p:cNvPr id="173" name="Блок-схема: узел 172"/>
          <p:cNvSpPr/>
          <p:nvPr/>
        </p:nvSpPr>
        <p:spPr>
          <a:xfrm>
            <a:off x="4374545" y="3530562"/>
            <a:ext cx="208628" cy="188845"/>
          </a:xfrm>
          <a:prstGeom prst="flowChartConnector">
            <a:avLst/>
          </a:prstGeom>
          <a:noFill/>
          <a:ln w="31750">
            <a:solidFill>
              <a:srgbClr val="7FA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ru-RU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4" name="Блок-схема: узел 173"/>
          <p:cNvSpPr/>
          <p:nvPr/>
        </p:nvSpPr>
        <p:spPr>
          <a:xfrm>
            <a:off x="4315926" y="4184121"/>
            <a:ext cx="208628" cy="188845"/>
          </a:xfrm>
          <a:prstGeom prst="flowChartConnector">
            <a:avLst/>
          </a:prstGeom>
          <a:noFill/>
          <a:ln w="317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</a:t>
            </a:r>
          </a:p>
        </p:txBody>
      </p:sp>
      <p:sp>
        <p:nvSpPr>
          <p:cNvPr id="175" name="Блок-схема: узел 174"/>
          <p:cNvSpPr/>
          <p:nvPr/>
        </p:nvSpPr>
        <p:spPr>
          <a:xfrm>
            <a:off x="4485910" y="3993621"/>
            <a:ext cx="208628" cy="188845"/>
          </a:xfrm>
          <a:prstGeom prst="flowChartConnector">
            <a:avLst/>
          </a:prstGeom>
          <a:noFill/>
          <a:ln w="317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5</a:t>
            </a:r>
            <a:endParaRPr lang="ru-RU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7" name="Блок-схема: узел 176"/>
          <p:cNvSpPr/>
          <p:nvPr/>
        </p:nvSpPr>
        <p:spPr>
          <a:xfrm>
            <a:off x="4087334" y="4359971"/>
            <a:ext cx="208628" cy="188845"/>
          </a:xfrm>
          <a:prstGeom prst="flowChartConnector">
            <a:avLst/>
          </a:prstGeom>
          <a:noFill/>
          <a:ln w="31750">
            <a:solidFill>
              <a:srgbClr val="7FA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  <a:endParaRPr lang="ru-RU" sz="16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8" name="Блок-схема: узел 177"/>
          <p:cNvSpPr/>
          <p:nvPr/>
        </p:nvSpPr>
        <p:spPr>
          <a:xfrm>
            <a:off x="3852869" y="3597972"/>
            <a:ext cx="208628" cy="188845"/>
          </a:xfrm>
          <a:prstGeom prst="flowChartConnector">
            <a:avLst/>
          </a:prstGeom>
          <a:noFill/>
          <a:ln w="317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</a:p>
        </p:txBody>
      </p:sp>
      <p:sp>
        <p:nvSpPr>
          <p:cNvPr id="181" name="Подзаголовок 3"/>
          <p:cNvSpPr txBox="1">
            <a:spLocks/>
          </p:cNvSpPr>
          <p:nvPr/>
        </p:nvSpPr>
        <p:spPr>
          <a:xfrm>
            <a:off x="2170250" y="4338891"/>
            <a:ext cx="956921" cy="4016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 UI Light" pitchFamily="34" charset="0"/>
                <a:ea typeface="+mn-ea"/>
                <a:cs typeface="Segoe UI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 smtClean="0">
                <a:solidFill>
                  <a:schemeClr val="tx1"/>
                </a:solidFill>
              </a:rPr>
              <a:t>Липецкая область</a:t>
            </a:r>
            <a:endParaRPr lang="ru-RU" sz="1200" b="1" dirty="0">
              <a:solidFill>
                <a:schemeClr val="tx1"/>
              </a:solidFill>
            </a:endParaRPr>
          </a:p>
          <a:p>
            <a:endParaRPr lang="ru-RU" sz="800" b="1" dirty="0">
              <a:solidFill>
                <a:schemeClr val="tx1"/>
              </a:solidFill>
            </a:endParaRPr>
          </a:p>
        </p:txBody>
      </p:sp>
      <p:sp>
        <p:nvSpPr>
          <p:cNvPr id="182" name="Прямоугольник 181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22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98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23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исы поставки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Прямоугольник 181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23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2495820" y="1442788"/>
          <a:ext cx="9558800" cy="52018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74779">
                  <a:extLst>
                    <a:ext uri="{9D8B030D-6E8A-4147-A177-3AD203B41FA5}">
                      <a16:colId xmlns:a16="http://schemas.microsoft.com/office/drawing/2014/main" val="2699946788"/>
                    </a:ext>
                  </a:extLst>
                </a:gridCol>
                <a:gridCol w="4384021">
                  <a:extLst>
                    <a:ext uri="{9D8B030D-6E8A-4147-A177-3AD203B41FA5}">
                      <a16:colId xmlns:a16="http://schemas.microsoft.com/office/drawing/2014/main" val="219546363"/>
                    </a:ext>
                  </a:extLst>
                </a:gridCol>
              </a:tblGrid>
              <a:tr h="14410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70C0"/>
                          </a:solidFill>
                        </a:rPr>
                        <a:t>АО «Апатит» </a:t>
                      </a:r>
                      <a:r>
                        <a:rPr lang="ru-RU" sz="1400" dirty="0" smtClean="0">
                          <a:solidFill>
                            <a:srgbClr val="0070C0"/>
                          </a:solidFill>
                        </a:rPr>
                        <a:t>(ПАО «ФосАгро»)</a:t>
                      </a:r>
                    </a:p>
                    <a:p>
                      <a:r>
                        <a:rPr lang="ru-RU" sz="1400" i="1" dirty="0" smtClean="0">
                          <a:solidFill>
                            <a:schemeClr val="tx1"/>
                          </a:solidFill>
                        </a:rPr>
                        <a:t>Франко-вагон</a:t>
                      </a:r>
                      <a:r>
                        <a:rPr lang="ru-RU" sz="1400" i="1" baseline="0" dirty="0" smtClean="0">
                          <a:solidFill>
                            <a:schemeClr val="tx1"/>
                          </a:solidFill>
                        </a:rPr>
                        <a:t> станция отправления</a:t>
                      </a:r>
                    </a:p>
                    <a:p>
                      <a:pPr marL="273050" indent="-185738">
                        <a:buFont typeface="Wingdings" panose="05000000000000000000" pitchFamily="2" charset="2"/>
                        <a:buChar char="§"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</a:rPr>
                        <a:t>ст. Череповец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II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</a:rPr>
                        <a:t>, Северная ЖД (код 302507)</a:t>
                      </a:r>
                    </a:p>
                    <a:p>
                      <a:pPr marL="273050" indent="-185738">
                        <a:buFont typeface="Wingdings" panose="05000000000000000000" pitchFamily="2" charset="2"/>
                        <a:buChar char="§"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</a:rPr>
                        <a:t>ст. </a:t>
                      </a:r>
                      <a:r>
                        <a:rPr lang="ru-RU" sz="1400" b="0" dirty="0" err="1" smtClean="0">
                          <a:solidFill>
                            <a:schemeClr val="tx1"/>
                          </a:solidFill>
                        </a:rPr>
                        <a:t>Юльевка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</a:rPr>
                        <a:t>, Приволжская ЖД (код 625200) </a:t>
                      </a:r>
                    </a:p>
                    <a:p>
                      <a:pPr marL="85725" indent="-85725">
                        <a:buFont typeface="Wingdings" panose="05000000000000000000" pitchFamily="2" charset="2"/>
                        <a:buNone/>
                      </a:pPr>
                      <a:r>
                        <a:rPr lang="ru-RU" sz="1400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амовывоз железнодорожным транспортом</a:t>
                      </a:r>
                    </a:p>
                    <a:p>
                      <a:pPr marL="2667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</a:rPr>
                        <a:t>ст. Череповец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II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</a:rPr>
                        <a:t>, Северная ЖД (код 302507)</a:t>
                      </a:r>
                      <a:endParaRPr lang="ru-RU" sz="1400" b="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70C0"/>
                          </a:solidFill>
                        </a:rPr>
                        <a:t>ООО «ТД «УРАЛХИМ» </a:t>
                      </a:r>
                      <a:r>
                        <a:rPr lang="ru-RU" sz="1400" dirty="0" smtClean="0">
                          <a:solidFill>
                            <a:srgbClr val="0070C0"/>
                          </a:solidFill>
                        </a:rPr>
                        <a:t>(АО «ОХК «УРАЛХИМ»)</a:t>
                      </a:r>
                    </a:p>
                    <a:p>
                      <a:pPr marL="8572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400" b="1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ранко-вагон станция отправления</a:t>
                      </a:r>
                    </a:p>
                    <a:p>
                      <a:pPr marL="360363" indent="-184150">
                        <a:buFont typeface="Wingdings" panose="05000000000000000000" pitchFamily="2" charset="2"/>
                        <a:buChar char="§"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</a:rPr>
                        <a:t>ст. Заячья Горка, Свердловская ЖД (код 769407) </a:t>
                      </a:r>
                    </a:p>
                    <a:p>
                      <a:pPr marL="360363" indent="-184150">
                        <a:buFont typeface="Wingdings" panose="05000000000000000000" pitchFamily="2" charset="2"/>
                        <a:buChar char="§"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</a:rPr>
                        <a:t>ст. Чепецкая,  Горьковская ЖД (код 273605)</a:t>
                      </a:r>
                      <a:endParaRPr lang="ru-RU" sz="1400" b="1" dirty="0" smtClean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endParaRPr>
                    </a:p>
                    <a:p>
                      <a:endParaRPr lang="ru-RU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1221412"/>
                  </a:ext>
                </a:extLst>
              </a:tr>
              <a:tr h="132763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4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ПАО «Акрон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ранко-вагон станция отправления</a:t>
                      </a:r>
                    </a:p>
                    <a:p>
                      <a:pPr marL="266700" indent="-177800">
                        <a:buFont typeface="Wingdings" panose="05000000000000000000" pitchFamily="2" charset="2"/>
                        <a:buChar char="§"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ст. Новгород на Волхове, </a:t>
                      </a:r>
                      <a:r>
                        <a:rPr lang="ru-RU" sz="1400" dirty="0" smtClean="0"/>
                        <a:t>Октябрьская ЖД (код 040101)</a:t>
                      </a:r>
                      <a:endParaRPr lang="ru-RU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358775" indent="-358775">
                        <a:buFont typeface="Wingdings" panose="05000000000000000000" pitchFamily="2" charset="2"/>
                        <a:buNone/>
                      </a:pPr>
                      <a:r>
                        <a:rPr lang="ru-RU" sz="1400" b="1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амовывоз автомобильным транспортом</a:t>
                      </a:r>
                      <a:endParaRPr lang="ru-RU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66700" indent="-177800">
                        <a:buFont typeface="Wingdings" panose="05000000000000000000" pitchFamily="2" charset="2"/>
                        <a:buChar char="§"/>
                      </a:pPr>
                      <a:r>
                        <a:rPr lang="ru-RU" sz="1400" dirty="0" smtClean="0"/>
                        <a:t>склад ПАО «Акрон», г. Великий Новгород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70C0"/>
                          </a:solidFill>
                        </a:rPr>
                        <a:t>ПАО «</a:t>
                      </a:r>
                      <a:r>
                        <a:rPr lang="ru-RU" sz="1400" b="1" dirty="0" err="1" smtClean="0">
                          <a:solidFill>
                            <a:srgbClr val="0070C0"/>
                          </a:solidFill>
                        </a:rPr>
                        <a:t>КуйбышевАзот</a:t>
                      </a:r>
                      <a:r>
                        <a:rPr lang="ru-RU" sz="1400" b="1" dirty="0" smtClean="0">
                          <a:solidFill>
                            <a:srgbClr val="0070C0"/>
                          </a:solidFill>
                        </a:rPr>
                        <a:t>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ранко-вагон станция отправления</a:t>
                      </a:r>
                    </a:p>
                    <a:p>
                      <a:pPr marL="360363" indent="-184150">
                        <a:buFont typeface="Wingdings" panose="05000000000000000000" pitchFamily="2" charset="2"/>
                        <a:buChar char="§"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ст. </a:t>
                      </a:r>
                      <a:r>
                        <a:rPr lang="ru-RU" sz="1400" dirty="0" err="1" smtClean="0">
                          <a:solidFill>
                            <a:schemeClr val="tx1"/>
                          </a:solidFill>
                        </a:rPr>
                        <a:t>Химзаводская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ru-RU" sz="1400" dirty="0" smtClean="0"/>
                        <a:t>Куйбышевская ЖД (код 637208)</a:t>
                      </a:r>
                      <a:endParaRPr lang="ru-RU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360363" indent="-184150">
                        <a:buFont typeface="Wingdings" panose="05000000000000000000" pitchFamily="2" charset="2"/>
                        <a:buChar char="§"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ст. Обшаровка, </a:t>
                      </a:r>
                      <a:r>
                        <a:rPr lang="ru-RU" sz="1400" dirty="0" smtClean="0"/>
                        <a:t>Куйбышевская ЖД (код 638304) 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9865130"/>
                  </a:ext>
                </a:extLst>
              </a:tr>
              <a:tr h="1274882">
                <a:tc>
                  <a:txBody>
                    <a:bodyPr/>
                    <a:lstStyle/>
                    <a:p>
                      <a:r>
                        <a:rPr lang="ru-RU" sz="14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ООО «</a:t>
                      </a:r>
                      <a:r>
                        <a:rPr lang="ru-RU" sz="1400" b="1" kern="1200" dirty="0" err="1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ЕвроХимТрейдинг</a:t>
                      </a:r>
                      <a:r>
                        <a:rPr lang="ru-RU" sz="14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 Русс» </a:t>
                      </a:r>
                      <a:r>
                        <a:rPr lang="ru-RU" sz="1400" dirty="0" smtClean="0"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</a:rPr>
                        <a:t>(АО «МХК «</a:t>
                      </a:r>
                      <a:r>
                        <a:rPr lang="ru-RU" sz="1400" dirty="0" err="1" smtClean="0"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</a:rPr>
                        <a:t>ЕвроХим</a:t>
                      </a:r>
                      <a:r>
                        <a:rPr lang="ru-RU" sz="1400" dirty="0" smtClean="0"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</a:rPr>
                        <a:t>»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ранко-вагон станция отправления</a:t>
                      </a:r>
                    </a:p>
                    <a:p>
                      <a:pPr marL="266700" indent="-177800">
                        <a:buFont typeface="Wingdings" panose="05000000000000000000" pitchFamily="2" charset="2"/>
                        <a:buChar char="§"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ст. Невинномысская, </a:t>
                      </a:r>
                      <a:r>
                        <a:rPr lang="ru-RU" sz="1400" dirty="0" smtClean="0"/>
                        <a:t>Северо-Кавказская ЖД (код 531304)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266700" indent="-177800">
                        <a:buFont typeface="Wingdings" panose="05000000000000000000" pitchFamily="2" charset="2"/>
                        <a:buChar char="§"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ст. </a:t>
                      </a:r>
                      <a:r>
                        <a:rPr lang="ru-RU" sz="1400" dirty="0" err="1" smtClean="0">
                          <a:solidFill>
                            <a:schemeClr val="tx1"/>
                          </a:solidFill>
                        </a:rPr>
                        <a:t>Маклец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ru-RU" sz="1400" dirty="0" smtClean="0"/>
                        <a:t>Московская ЖД  (код 226407)</a:t>
                      </a:r>
                      <a:endParaRPr lang="ru-RU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667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ст. Северная, </a:t>
                      </a:r>
                      <a:r>
                        <a:rPr lang="ru-RU" sz="1400" dirty="0" smtClean="0"/>
                        <a:t>Московская ЖД  (код 226500)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ЗАО «Корпорация «</a:t>
                      </a:r>
                      <a:r>
                        <a:rPr lang="ru-RU" sz="1400" b="1" kern="1200" dirty="0" err="1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Тольяттиазот</a:t>
                      </a:r>
                      <a:r>
                        <a:rPr lang="ru-RU" sz="14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ранко-вагон станция отправления</a:t>
                      </a:r>
                    </a:p>
                    <a:p>
                      <a:pPr marL="360363" marR="0" lvl="0" indent="-1841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ст. </a:t>
                      </a:r>
                      <a:r>
                        <a:rPr lang="ru-RU" sz="1400" dirty="0" err="1" smtClean="0">
                          <a:solidFill>
                            <a:schemeClr val="tx1"/>
                          </a:solidFill>
                        </a:rPr>
                        <a:t>Химзаводская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ru-RU" sz="1400" dirty="0" smtClean="0"/>
                        <a:t>Куйбышевская ЖД (код 637208)</a:t>
                      </a:r>
                    </a:p>
                    <a:p>
                      <a:pPr marL="176213" marR="0" lvl="0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400" b="1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амовывоз автомобильным транспортом</a:t>
                      </a:r>
                      <a:endParaRPr lang="ru-RU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360363" indent="-184150">
                        <a:buFont typeface="Wingdings" panose="05000000000000000000" pitchFamily="2" charset="2"/>
                        <a:buChar char="§"/>
                      </a:pPr>
                      <a:r>
                        <a:rPr lang="ru-RU" sz="1400" dirty="0" smtClean="0"/>
                        <a:t>склад ПАО «</a:t>
                      </a:r>
                      <a:r>
                        <a:rPr lang="ru-RU" sz="1400" dirty="0" err="1" smtClean="0"/>
                        <a:t>Тольяттиазот</a:t>
                      </a:r>
                      <a:r>
                        <a:rPr lang="ru-RU" sz="1400" dirty="0" smtClean="0"/>
                        <a:t>, г. Тольятти</a:t>
                      </a:r>
                      <a:endParaRPr lang="ru-RU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5777582"/>
                  </a:ext>
                </a:extLst>
              </a:tr>
              <a:tr h="92932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4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ООО «Газпром </a:t>
                      </a:r>
                      <a:r>
                        <a:rPr lang="ru-RU" sz="1400" b="1" kern="1200" dirty="0" err="1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нефтехим</a:t>
                      </a:r>
                      <a:r>
                        <a:rPr lang="ru-RU" sz="14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 Салават»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ранко-вагон станция отправления</a:t>
                      </a:r>
                    </a:p>
                    <a:p>
                      <a:pPr marL="266700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ст. Салават, </a:t>
                      </a:r>
                      <a:r>
                        <a:rPr lang="ru-RU" sz="1400" dirty="0" smtClean="0"/>
                        <a:t>Куйбышевская ЖД (код 653003)</a:t>
                      </a:r>
                      <a:endParaRPr lang="ru-RU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7800" indent="-92075">
                        <a:buFont typeface="Wingdings" panose="05000000000000000000" pitchFamily="2" charset="2"/>
                        <a:buChar char="§"/>
                      </a:pPr>
                      <a:endParaRPr lang="ru-RU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 smtClean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КАО «Азот» </a:t>
                      </a:r>
                      <a:r>
                        <a:rPr lang="ru-RU" sz="1400" dirty="0" smtClean="0">
                          <a:solidFill>
                            <a:prstClr val="black">
                              <a:lumMod val="75000"/>
                              <a:lumOff val="25000"/>
                            </a:prstClr>
                          </a:solidFill>
                        </a:rPr>
                        <a:t>(г. Кемерово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амовывоз автомобильным транспортом</a:t>
                      </a:r>
                      <a:endParaRPr lang="ru-RU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360363" indent="-184150">
                        <a:buFont typeface="Wingdings" panose="05000000000000000000" pitchFamily="2" charset="2"/>
                        <a:buChar char="§"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Склад </a:t>
                      </a:r>
                      <a:r>
                        <a:rPr lang="ru-RU" sz="1400" dirty="0" smtClean="0"/>
                        <a:t>КАО «Азот», г. Кемерово</a:t>
                      </a:r>
                      <a:endParaRPr lang="ru-RU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ru-RU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24577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432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24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электронных торгов (СЭТ)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24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2024" y="4727415"/>
            <a:ext cx="9872596" cy="1420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7981" y="1922752"/>
            <a:ext cx="9596030" cy="1938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542" y="1629448"/>
            <a:ext cx="7309273" cy="4844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116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25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ы по итогам биржевых торгов 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25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135766" y="1518077"/>
            <a:ext cx="9736443" cy="4909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b="1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 итогам торгов для каждого Участника, заключившего биржевой договор в текущий день, формируется отчет о заключенных биржевых договорах.</a:t>
            </a:r>
            <a:r>
              <a:rPr lang="ru-RU" sz="1400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чет содержит данные о заключенных биржевых договорах с указанием контрагентов и параметров биржевых договоров.</a:t>
            </a:r>
            <a:endParaRPr lang="en-US" sz="1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ru-RU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четы рассылаются  в </a:t>
            </a:r>
            <a:r>
              <a:rPr lang="ru-RU" b="1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ичный кабинет </a:t>
            </a:r>
            <a:r>
              <a:rPr lang="ru-RU" sz="1400" dirty="0" smtClean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частника торгов</a:t>
            </a:r>
            <a:endParaRPr lang="ru-RU" sz="1400" dirty="0">
              <a:solidFill>
                <a:prstClr val="black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spcAft>
                <a:spcPts val="600"/>
              </a:spcAft>
            </a:pPr>
            <a:r>
              <a:rPr lang="ru-RU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писок отчетов, рассылаемых Участникам: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b="1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юллетень по итогам торгов  </a:t>
            </a:r>
            <a:r>
              <a:rPr lang="ru-RU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содержит информацию об итогах торгов в день проведения торгов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b="1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писка из Реестра заключенных договоров </a:t>
            </a:r>
            <a:r>
              <a:rPr lang="ru-RU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содержит информацию о Договорах этого Участника торгов, заключенных в день торгов, как от собственного имени, так и от имени и по поручению его Клиентов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b="1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водная выписка из Реестра заключенных договоров </a:t>
            </a:r>
            <a:r>
              <a:rPr lang="ru-RU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содержит информацию о Договорах этого Участника торгов, заключенных в день торгов, как от собственного имени, так и от имени и по поручению его Клиентов. Информация о Договорах в Сводной выписке из реестра договоров сгруппирована по позиционным регистрам (Участника торгов или его Клиента в Клиринговой организации), а в рамках каждого позиционного регистра – по типам Инструментов, в отношении которых заключены эти Договор</a:t>
            </a:r>
            <a:r>
              <a:rPr lang="ru-RU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ы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b="1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писка из реестра заявок</a:t>
            </a:r>
            <a:r>
              <a:rPr lang="ru-RU" dirty="0">
                <a:solidFill>
                  <a:srgbClr val="0070C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мируется для каждого Участника торгов и содержит информацию о Заявках этого Участника торгов, поданных в день торгов, как от собственного имени, так и от имени и по поручению его Клиентов. Информация о Заявках в Выписке из реестра заявок сгруппирована по позиционным регистрам (Участника торгов или его Клиента в Клиринговой организации)</a:t>
            </a:r>
          </a:p>
        </p:txBody>
      </p:sp>
    </p:spTree>
    <p:extLst>
      <p:ext uri="{BB962C8B-B14F-4D97-AF65-F5344CB8AC3E}">
        <p14:creationId xmlns:p14="http://schemas.microsoft.com/office/powerpoint/2010/main" val="375723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26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хема документооборота 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26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0682450"/>
              </p:ext>
            </p:extLst>
          </p:nvPr>
        </p:nvGraphicFramePr>
        <p:xfrm>
          <a:off x="2093842" y="1365616"/>
          <a:ext cx="10098157" cy="54923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6658">
                  <a:extLst>
                    <a:ext uri="{9D8B030D-6E8A-4147-A177-3AD203B41FA5}">
                      <a16:colId xmlns:a16="http://schemas.microsoft.com/office/drawing/2014/main" val="1648324227"/>
                    </a:ext>
                  </a:extLst>
                </a:gridCol>
                <a:gridCol w="9461499">
                  <a:extLst>
                    <a:ext uri="{9D8B030D-6E8A-4147-A177-3AD203B41FA5}">
                      <a16:colId xmlns:a16="http://schemas.microsoft.com/office/drawing/2014/main" val="634301727"/>
                    </a:ext>
                  </a:extLst>
                </a:gridCol>
              </a:tblGrid>
              <a:tr h="46281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Дата/</a:t>
                      </a:r>
                    </a:p>
                    <a:p>
                      <a:pPr algn="ctr"/>
                      <a:r>
                        <a:rPr lang="ru-RU" sz="1200" dirty="0" smtClean="0"/>
                        <a:t>Срок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Действие</a:t>
                      </a:r>
                      <a:endParaRPr lang="ru-RU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83070226"/>
                  </a:ext>
                </a:extLst>
              </a:tr>
              <a:tr h="507437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о торгов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купатель и Продавец – не Контролер поставки зачисляет в клиринговую организацию денежные средства </a:t>
                      </a:r>
                      <a:r>
                        <a:rPr lang="ru-RU" sz="1200" baseline="0" dirty="0" smtClean="0"/>
                        <a:t>гарантийного обеспечения (</a:t>
                      </a:r>
                      <a:r>
                        <a:rPr lang="ru-RU" sz="1200" dirty="0" smtClean="0"/>
                        <a:t>ГО).</a:t>
                      </a:r>
                    </a:p>
                    <a:p>
                      <a:r>
                        <a:rPr lang="ru-RU" sz="1200" dirty="0" smtClean="0"/>
                        <a:t>Продавец-Контролер поставки сообщает клиринговой организации о товарных лимитах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1944819"/>
                  </a:ext>
                </a:extLst>
              </a:tr>
              <a:tr h="279689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FF0000"/>
                          </a:solidFill>
                        </a:rPr>
                        <a:t>Т+0</a:t>
                      </a:r>
                      <a:endParaRPr lang="ru-RU" sz="12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Заключение Договора на торгах</a:t>
                      </a:r>
                      <a:endParaRPr lang="ru-RU" altLang="ru-RU" sz="1200" b="1" kern="1200" baseline="0" noProof="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7402642"/>
                  </a:ext>
                </a:extLst>
              </a:tr>
              <a:tr h="46281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Т+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купатель направляет Продавцу учредительные документы.  Продавец направляет для подписания Покупателю Дополнительное Соглашение </a:t>
                      </a:r>
                      <a:r>
                        <a:rPr kumimoji="0" lang="ru-RU" alt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 способах расчета стоимости транспортировки </a:t>
                      </a:r>
                      <a:r>
                        <a:rPr lang="ru-RU" sz="1200" dirty="0" smtClean="0"/>
                        <a:t>(если не подписано рамочное соглашение). 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0762961"/>
                  </a:ext>
                </a:extLst>
              </a:tr>
              <a:tr h="462812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Т+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Покупатель направляет Продавцу</a:t>
                      </a:r>
                      <a:r>
                        <a:rPr lang="ru-RU" sz="1200" baseline="0" dirty="0" smtClean="0"/>
                        <a:t> п</a:t>
                      </a:r>
                      <a:r>
                        <a:rPr lang="ru-RU" sz="1200" dirty="0" smtClean="0"/>
                        <a:t>одписанное Дополнительное Соглашение,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Реквизитную заявку</a:t>
                      </a:r>
                      <a:r>
                        <a:rPr lang="ru-RU" sz="1200" baseline="0" dirty="0" smtClean="0"/>
                        <a:t>, </a:t>
                      </a:r>
                      <a:r>
                        <a:rPr lang="ru-RU" sz="1200" dirty="0" smtClean="0"/>
                        <a:t>информацию, необходимую для оформления перевозочных документов</a:t>
                      </a: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7110345"/>
                  </a:ext>
                </a:extLst>
              </a:tr>
              <a:tr h="5013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Т+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ru-RU" sz="1200" dirty="0" smtClean="0"/>
                        <a:t>Продавец согласует Реквизитную заявку или отказывает с объяснением причин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r>
                        <a:rPr lang="ru-RU" sz="1200" dirty="0" smtClean="0"/>
                        <a:t>Продавец выставляет счет на транспортные услуги </a:t>
                      </a:r>
                      <a:r>
                        <a:rPr lang="ru-RU" sz="1200" i="1" dirty="0" smtClean="0"/>
                        <a:t>(если это предусмотрено способом поставки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649526"/>
                  </a:ext>
                </a:extLst>
              </a:tr>
              <a:tr h="83306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Т+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FF0000"/>
                          </a:solidFill>
                        </a:rPr>
                        <a:t>Дата обеспечения  Договора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Покупатель:</a:t>
                      </a:r>
                    </a:p>
                    <a:p>
                      <a:pPr marL="171450" indent="-171450" algn="just"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еспечивает наличие в клиринговой организации оплаты за весь объем товара;</a:t>
                      </a:r>
                    </a:p>
                    <a:p>
                      <a:pPr marL="171450" marR="0" lvl="0" indent="-1714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200" dirty="0" smtClean="0"/>
                        <a:t>перечисляет Продавцу плату за транспортные услуги </a:t>
                      </a:r>
                      <a:r>
                        <a:rPr lang="ru-RU" sz="1200" i="1" dirty="0" smtClean="0"/>
                        <a:t>(если это предусмотрено способом поставки);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6361676"/>
                  </a:ext>
                </a:extLst>
              </a:tr>
              <a:tr h="8716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Т+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ru-RU" sz="1200" dirty="0" smtClean="0"/>
                        <a:t>Продавец извещает клиринговую организацию  о получении необходимых для поставки документов (Реквизитная заявка)  и оплате транспортных услуг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Клиринговая организация </a:t>
                      </a:r>
                      <a:r>
                        <a:rPr lang="ru-RU" sz="1200" b="1" dirty="0" smtClean="0"/>
                        <a:t>подтверждает договор к поставке </a:t>
                      </a:r>
                      <a:r>
                        <a:rPr lang="ru-RU" sz="1200" b="0" dirty="0" smtClean="0"/>
                        <a:t>и</a:t>
                      </a:r>
                      <a:r>
                        <a:rPr lang="ru-RU" sz="1200" dirty="0" smtClean="0"/>
                        <a:t> разблокирует ГО Покупателя (при условии поставки – «франко-вагон станция отправления») или направляет ГО Покупателя Продавцу (если Покупатель признан несостоятельным по Договору)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3098227"/>
                  </a:ext>
                </a:extLst>
              </a:tr>
              <a:tr h="4628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FF0000"/>
                          </a:solidFill>
                        </a:rPr>
                        <a:t>П</a:t>
                      </a:r>
                      <a:endParaRPr lang="ru-RU" sz="12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rgbClr val="FF0000"/>
                          </a:solidFill>
                        </a:rPr>
                        <a:t>Дата окончания поставки</a:t>
                      </a:r>
                    </a:p>
                    <a:p>
                      <a:r>
                        <a:rPr lang="ru-RU" sz="1200" dirty="0" smtClean="0"/>
                        <a:t>Продавец исполняет свои обязательства (дата сдачи товара Покупателю на базисе поставки)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9775009"/>
                  </a:ext>
                </a:extLst>
              </a:tr>
              <a:tr h="6479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+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родавец направляет в клиринговую организацию документы (информацию) о количестве и стоимости фактически отгруженного товара, включая НДС; Клиринговая организация перечисляет деньги за фактически отгруженный товар Продавцу, разблокирует ГО Покупателя (при поставке на условиях «самовывоз железнодорожным транспортом» или «самовывоз автомобильным транспортом»);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52165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680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27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тать участников торгов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27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3"/>
          </p:nvPr>
        </p:nvSpPr>
        <p:spPr>
          <a:xfrm>
            <a:off x="2135767" y="1697327"/>
            <a:ext cx="9611733" cy="5042411"/>
          </a:xfrm>
        </p:spPr>
        <p:txBody>
          <a:bodyPr>
            <a:normAutofit lnSpcReduction="10000"/>
          </a:bodyPr>
          <a:lstStyle/>
          <a:p>
            <a:pPr marL="285750" lvl="0" indent="-285750" algn="just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ределиться со статусом </a:t>
            </a:r>
            <a:r>
              <a:rPr lang="ru-RU" sz="1800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клиент брокера, непосредственный участник торгов или брокер) </a:t>
            </a:r>
            <a:r>
              <a:rPr lang="en-US" sz="1800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1800" dirty="0" smtClean="0">
              <a:solidFill>
                <a:srgbClr val="0070C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algn="just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рать соответствующую категорию участия</a:t>
            </a:r>
            <a:r>
              <a:rPr lang="ru-RU" sz="1800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посетитель </a:t>
            </a:r>
            <a:r>
              <a:rPr lang="ru-RU" sz="1800" dirty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ргов, временный член Секции, член Секции, член Биржи</a:t>
            </a:r>
            <a:r>
              <a:rPr lang="ru-RU" sz="1800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); </a:t>
            </a:r>
            <a:endParaRPr lang="ru-RU" sz="1800" dirty="0">
              <a:solidFill>
                <a:srgbClr val="0070C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algn="just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1800" b="1" dirty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равить </a:t>
            </a:r>
            <a:r>
              <a:rPr lang="ru-RU" sz="1800" b="1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андартный </a:t>
            </a:r>
            <a:r>
              <a:rPr lang="ru-RU" sz="1800" b="1" dirty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акет </a:t>
            </a:r>
            <a:r>
              <a:rPr lang="ru-RU" sz="1800" b="1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кументов </a:t>
            </a:r>
            <a:r>
              <a:rPr lang="ru-RU" sz="1800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образец заявления и перечень документов размещен на сайте Биржи); </a:t>
            </a:r>
            <a:endParaRPr lang="ru-RU" sz="1800" dirty="0">
              <a:solidFill>
                <a:srgbClr val="0070C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algn="just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1800" b="1" dirty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лючить </a:t>
            </a:r>
            <a:r>
              <a:rPr lang="ru-RU" sz="1800" b="1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говоры с биржей и клиринговой организацией </a:t>
            </a:r>
            <a:r>
              <a:rPr lang="ru-RU" sz="1800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договоры будут присланы Биржей); </a:t>
            </a:r>
            <a:endParaRPr lang="ru-RU" sz="1800" dirty="0">
              <a:solidFill>
                <a:srgbClr val="0070C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algn="just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1800" b="1" dirty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латить право участия в </a:t>
            </a:r>
            <a:r>
              <a:rPr lang="ru-RU" sz="1800" b="1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ргах </a:t>
            </a:r>
            <a:r>
              <a:rPr lang="ru-RU" sz="1800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от 5000 руб. в год в зависимости от категории участника торгов); </a:t>
            </a:r>
            <a:endParaRPr lang="ru-RU" sz="1800" dirty="0">
              <a:solidFill>
                <a:srgbClr val="0070C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lvl="0" indent="-285750" algn="just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ккредитовать </a:t>
            </a:r>
            <a:r>
              <a:rPr lang="ru-RU" sz="1800" b="1" dirty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ставителей </a:t>
            </a:r>
            <a:r>
              <a:rPr lang="ru-RU" sz="1800" b="1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мпании, участвующих в торгах;  </a:t>
            </a:r>
          </a:p>
          <a:p>
            <a:pPr marL="285750" lvl="0" indent="-285750" algn="just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равить заявление о включении в реестр брокеров </a:t>
            </a:r>
            <a:r>
              <a:rPr lang="ru-RU" sz="1800" dirty="0" smtClean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В случае оказания  брокерских услуг)</a:t>
            </a:r>
          </a:p>
          <a:p>
            <a:pPr algn="just"/>
            <a:r>
              <a:rPr lang="ru-RU" dirty="0" smtClean="0"/>
              <a:t>Более </a:t>
            </a:r>
            <a:r>
              <a:rPr lang="ru-RU" dirty="0"/>
              <a:t>подробная информация на сайте Биржи в разделе Участникам/Как стать участником торгов (</a:t>
            </a:r>
            <a:r>
              <a:rPr lang="ru-RU" u="sng" dirty="0">
                <a:hlinkClick r:id="rId5"/>
              </a:rPr>
              <a:t>http://spimex.com/participant/how_to/</a:t>
            </a:r>
            <a:r>
              <a:rPr lang="ru-RU" dirty="0"/>
              <a:t>), Клиринг/Как стать участником клиринга (</a:t>
            </a:r>
            <a:r>
              <a:rPr lang="ru-RU" u="sng" dirty="0">
                <a:hlinkClick r:id="rId6"/>
              </a:rPr>
              <a:t>http://spimex.com/clearing/how_to/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3787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28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тать участников торгов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28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339" y="1463884"/>
            <a:ext cx="1446102" cy="690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1052" y="1424469"/>
            <a:ext cx="1717750" cy="7301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xtLst/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1360810"/>
              </p:ext>
            </p:extLst>
          </p:nvPr>
        </p:nvGraphicFramePr>
        <p:xfrm>
          <a:off x="2312339" y="2252339"/>
          <a:ext cx="9454940" cy="439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88729">
                  <a:extLst>
                    <a:ext uri="{9D8B030D-6E8A-4147-A177-3AD203B41FA5}">
                      <a16:colId xmlns:a16="http://schemas.microsoft.com/office/drawing/2014/main" val="2701190460"/>
                    </a:ext>
                  </a:extLst>
                </a:gridCol>
                <a:gridCol w="3566211">
                  <a:extLst>
                    <a:ext uri="{9D8B030D-6E8A-4147-A177-3AD203B41FA5}">
                      <a16:colId xmlns:a16="http://schemas.microsoft.com/office/drawing/2014/main" val="375772471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Выбрать статус участника торгов: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Посетитель торгов;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Временный член Секции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Член Секции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Член Биржи</a:t>
                      </a:r>
                      <a:endParaRPr lang="ru-RU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Выбрать брокерскую компанию, имеющую право обслуживать клиентов в выбранной Секции, на сайте биржи </a:t>
                      </a:r>
                      <a:r>
                        <a:rPr lang="en-US" sz="1800" u="sng" dirty="0" smtClean="0">
                          <a:solidFill>
                            <a:srgbClr val="0070C0"/>
                          </a:solidFill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pimex.com/participant/brokers/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7656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Заключить договор с Биржей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и оплатить вступительный взнос. 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Заключить договор с брокером о брокерском обслуживании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0389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Пройти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аккредитацию в клиринговой организации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Пройти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аккредитацию в клиринговой организации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78991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Заключить договор об оказании услуг по предоставлению программных и технических средств удаленного доступа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Можно давать поручения брокеру о покупке</a:t>
                      </a: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продаже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товара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1994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Зарегистрировать представителя компании в качестве трейдера и получить ключ ЭЦП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32016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Можно выставлять заявки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 на покупку</a:t>
                      </a:r>
                      <a:r>
                        <a:rPr lang="en-US" baseline="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ru-RU" baseline="0" dirty="0" smtClean="0">
                          <a:solidFill>
                            <a:schemeClr val="tx1"/>
                          </a:solidFill>
                        </a:rPr>
                        <a:t>продажу товара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63131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6654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29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онные взносы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29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442722" y="1626063"/>
            <a:ext cx="9304777" cy="1389904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prstClr val="white"/>
                </a:solidFill>
              </a:rPr>
              <a:t>В секции «Минеральное сырье и химическая продукция» действует </a:t>
            </a:r>
            <a:r>
              <a:rPr lang="ru-RU" sz="3200" b="1" dirty="0" smtClean="0">
                <a:solidFill>
                  <a:prstClr val="white"/>
                </a:solidFill>
              </a:rPr>
              <a:t>МАРКЕТИНГОВЫЙ ПЕРИОД </a:t>
            </a:r>
            <a:r>
              <a:rPr lang="ru-RU" sz="2800" dirty="0" smtClean="0">
                <a:solidFill>
                  <a:prstClr val="white"/>
                </a:solidFill>
              </a:rPr>
              <a:t>с пониженными регистрационными взносами для участников</a:t>
            </a:r>
            <a:endParaRPr lang="ru-RU" sz="2800" dirty="0">
              <a:solidFill>
                <a:prstClr val="white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215719"/>
              </p:ext>
            </p:extLst>
          </p:nvPr>
        </p:nvGraphicFramePr>
        <p:xfrm>
          <a:off x="2442719" y="3015967"/>
          <a:ext cx="9304780" cy="238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9759">
                  <a:extLst>
                    <a:ext uri="{9D8B030D-6E8A-4147-A177-3AD203B41FA5}">
                      <a16:colId xmlns:a16="http://schemas.microsoft.com/office/drawing/2014/main" val="1052804251"/>
                    </a:ext>
                  </a:extLst>
                </a:gridCol>
                <a:gridCol w="4207691">
                  <a:extLst>
                    <a:ext uri="{9D8B030D-6E8A-4147-A177-3AD203B41FA5}">
                      <a16:colId xmlns:a16="http://schemas.microsoft.com/office/drawing/2014/main" val="1247248322"/>
                    </a:ext>
                  </a:extLst>
                </a:gridCol>
                <a:gridCol w="1451429">
                  <a:extLst>
                    <a:ext uri="{9D8B030D-6E8A-4147-A177-3AD203B41FA5}">
                      <a16:colId xmlns:a16="http://schemas.microsoft.com/office/drawing/2014/main" val="3426204953"/>
                    </a:ext>
                  </a:extLst>
                </a:gridCol>
                <a:gridCol w="1485901">
                  <a:extLst>
                    <a:ext uri="{9D8B030D-6E8A-4147-A177-3AD203B41FA5}">
                      <a16:colId xmlns:a16="http://schemas.microsoft.com/office/drawing/2014/main" val="6103237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Статус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олномоч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Срок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Тариф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02263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Посетитель торгов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Участие</a:t>
                      </a:r>
                      <a:r>
                        <a:rPr lang="ru-RU" sz="2000" baseline="0" dirty="0" smtClean="0"/>
                        <a:t> в торгах в Секции от своего имени и за свой счет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1 год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5 000</a:t>
                      </a:r>
                      <a:r>
                        <a:rPr lang="ru-RU" sz="2000" baseline="0" dirty="0" smtClean="0"/>
                        <a:t> руб. в год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42132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Временный член секции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Участие в торгах: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sz="2000" dirty="0" smtClean="0"/>
                        <a:t>От своего имени и за</a:t>
                      </a:r>
                      <a:r>
                        <a:rPr lang="ru-RU" sz="2000" baseline="0" dirty="0" smtClean="0"/>
                        <a:t> свой счет,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sz="2000" baseline="0" dirty="0" smtClean="0"/>
                        <a:t>В интересах и за счет других лиц (брокерские услуги)</a:t>
                      </a:r>
                      <a:r>
                        <a:rPr lang="ru-RU" sz="2000" dirty="0" smtClean="0"/>
                        <a:t> 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1 год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35 000 руб. в год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292479"/>
                  </a:ext>
                </a:extLst>
              </a:tr>
            </a:tbl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2442720" y="5398487"/>
            <a:ext cx="9304779" cy="493430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dirty="0" smtClean="0">
                <a:solidFill>
                  <a:prstClr val="white"/>
                </a:solidFill>
              </a:rPr>
              <a:t>Дополнительные расходы участников торгов</a:t>
            </a:r>
            <a:r>
              <a:rPr lang="ru-RU" dirty="0" smtClean="0">
                <a:solidFill>
                  <a:prstClr val="white"/>
                </a:solidFill>
              </a:rPr>
              <a:t> 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442719" y="5887899"/>
            <a:ext cx="9304781" cy="400110"/>
          </a:xfrm>
          <a:prstGeom prst="rect">
            <a:avLst/>
          </a:prstGeom>
          <a:ln w="9525">
            <a:solidFill>
              <a:srgbClr val="77BAE7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2000" dirty="0" smtClean="0">
                <a:solidFill>
                  <a:srgbClr val="0070C0"/>
                </a:solidFill>
              </a:rPr>
              <a:t>Получение </a:t>
            </a:r>
            <a:r>
              <a:rPr lang="ru-RU" sz="2000" dirty="0">
                <a:solidFill>
                  <a:srgbClr val="0070C0"/>
                </a:solidFill>
              </a:rPr>
              <a:t>ЭЦП в регистрационном центре – </a:t>
            </a:r>
            <a:r>
              <a:rPr lang="ru-RU" sz="2000" dirty="0" smtClean="0">
                <a:solidFill>
                  <a:srgbClr val="0070C0"/>
                </a:solidFill>
              </a:rPr>
              <a:t>10 тыс. </a:t>
            </a:r>
            <a:r>
              <a:rPr lang="ru-RU" sz="2000">
                <a:solidFill>
                  <a:srgbClr val="0070C0"/>
                </a:solidFill>
              </a:rPr>
              <a:t>руб</a:t>
            </a:r>
            <a:r>
              <a:rPr lang="ru-RU" sz="2000" smtClean="0">
                <a:solidFill>
                  <a:srgbClr val="0070C0"/>
                </a:solidFill>
              </a:rPr>
              <a:t>. </a:t>
            </a:r>
            <a:endParaRPr lang="ru-RU" sz="2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86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7183C2A7-7D4A-4417-A2FC-27F90490F71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8"/>
            <a:ext cx="12192000" cy="6856144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612DE06-20FF-41A9-9D07-C037161155B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98D237B-3203-49B9-A634-B43AD4390AAA}"/>
              </a:ext>
            </a:extLst>
          </p:cNvPr>
          <p:cNvSpPr/>
          <p:nvPr/>
        </p:nvSpPr>
        <p:spPr>
          <a:xfrm>
            <a:off x="2495826" y="698356"/>
            <a:ext cx="7522818" cy="4770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биржевых товарных рынков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6B1426A-38AF-4517-84F9-AD4CC4A27971}"/>
              </a:ext>
            </a:extLst>
          </p:cNvPr>
          <p:cNvSpPr/>
          <p:nvPr/>
        </p:nvSpPr>
        <p:spPr>
          <a:xfrm>
            <a:off x="2531165" y="1620031"/>
            <a:ext cx="202758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smtClean="0">
                <a:solidFill>
                  <a:srgbClr val="0088CE"/>
                </a:solidFill>
                <a:latin typeface="Arial Black" panose="020B0A04020102020204" pitchFamily="34" charset="0"/>
              </a:rPr>
              <a:t>2199+</a:t>
            </a:r>
            <a:endParaRPr lang="ru-RU" sz="3200" dirty="0">
              <a:solidFill>
                <a:srgbClr val="0088CE"/>
              </a:solidFill>
              <a:latin typeface="Arial Black" panose="020B0A04020102020204" pitchFamily="34" charset="0"/>
            </a:endParaRPr>
          </a:p>
          <a:p>
            <a:r>
              <a:rPr lang="ru-RU" sz="1500" b="1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Й-</a:t>
            </a:r>
          </a:p>
          <a:p>
            <a:r>
              <a:rPr lang="ru-RU" sz="1500" b="1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НИКОВ</a:t>
            </a:r>
          </a:p>
          <a:p>
            <a:r>
              <a:rPr lang="ru-RU" sz="1500" b="1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1FB220C-E7C5-4133-B462-3034074DC3E5}"/>
              </a:ext>
            </a:extLst>
          </p:cNvPr>
          <p:cNvSpPr/>
          <p:nvPr/>
        </p:nvSpPr>
        <p:spPr>
          <a:xfrm>
            <a:off x="4827252" y="1620031"/>
            <a:ext cx="2027583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>
                <a:solidFill>
                  <a:srgbClr val="0088CE"/>
                </a:solidFill>
                <a:latin typeface="Arial Black" panose="020B0A04020102020204" pitchFamily="34" charset="0"/>
              </a:rPr>
              <a:t>2000+</a:t>
            </a:r>
          </a:p>
          <a:p>
            <a:r>
              <a:rPr lang="ru-RU" sz="1500" b="1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УЕМЫХ</a:t>
            </a:r>
          </a:p>
          <a:p>
            <a:r>
              <a:rPr lang="ru-RU" sz="1500" b="1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ОВ </a:t>
            </a:r>
          </a:p>
          <a:p>
            <a:r>
              <a:rPr lang="ru-RU" sz="1050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НОГО</a:t>
            </a:r>
          </a:p>
          <a:p>
            <a:r>
              <a:rPr lang="ru-RU" sz="1050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СРОЧНОГО РЫНКОВ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C118DF1-77ED-4311-BBE4-D3E8AB891B7C}"/>
              </a:ext>
            </a:extLst>
          </p:cNvPr>
          <p:cNvSpPr/>
          <p:nvPr/>
        </p:nvSpPr>
        <p:spPr>
          <a:xfrm>
            <a:off x="7123339" y="1620031"/>
            <a:ext cx="2027583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>
                <a:solidFill>
                  <a:srgbClr val="0088CE"/>
                </a:solidFill>
                <a:latin typeface="Arial Black" panose="020B0A04020102020204" pitchFamily="34" charset="0"/>
              </a:rPr>
              <a:t>99%</a:t>
            </a:r>
          </a:p>
          <a:p>
            <a:r>
              <a:rPr lang="ru-RU" sz="1500" b="1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ОВ</a:t>
            </a:r>
            <a:r>
              <a:rPr lang="ru-RU" sz="1050" b="1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Й</a:t>
            </a:r>
          </a:p>
          <a:p>
            <a:r>
              <a:rPr lang="ru-RU" sz="1050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ЖЕВОЙ ТОВАРНОЙ</a:t>
            </a:r>
          </a:p>
          <a:p>
            <a:r>
              <a:rPr lang="ru-RU" sz="1050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ЛИ РОССИ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3B3E5FC-46C5-43BC-ABC8-F9F7BE49285C}"/>
              </a:ext>
            </a:extLst>
          </p:cNvPr>
          <p:cNvSpPr/>
          <p:nvPr/>
        </p:nvSpPr>
        <p:spPr>
          <a:xfrm>
            <a:off x="9419427" y="1620031"/>
            <a:ext cx="2340064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>
                <a:solidFill>
                  <a:srgbClr val="0088CE"/>
                </a:solidFill>
                <a:latin typeface="Arial Black" panose="020B0A04020102020204" pitchFamily="34" charset="0"/>
              </a:rPr>
              <a:t>400</a:t>
            </a:r>
          </a:p>
          <a:p>
            <a:r>
              <a:rPr lang="ru-RU" sz="1500" b="1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ЖЕВЫХ</a:t>
            </a:r>
          </a:p>
          <a:p>
            <a:r>
              <a:rPr lang="ru-RU" sz="1500" b="1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ВНЕБИРЖЕВЫХ</a:t>
            </a:r>
          </a:p>
          <a:p>
            <a:r>
              <a:rPr lang="ru-RU" sz="1500" b="1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ЕКСОВ</a:t>
            </a:r>
            <a:r>
              <a:rPr lang="ru-RU" sz="1050" b="1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ЫРЬЕВЫЕ</a:t>
            </a:r>
          </a:p>
          <a:p>
            <a:r>
              <a:rPr lang="ru-RU" sz="1050" dirty="0">
                <a:solidFill>
                  <a:srgbClr val="0088C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Ы ПО ВСЕЙ РОССИИ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D59DE5B-8E36-4B2F-87EA-7226ABCF956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18227" y="3536920"/>
            <a:ext cx="2460251" cy="2460110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75C7760-BAF2-49D5-986A-0AB4D7F7A396}"/>
              </a:ext>
            </a:extLst>
          </p:cNvPr>
          <p:cNvSpPr/>
          <p:nvPr/>
        </p:nvSpPr>
        <p:spPr>
          <a:xfrm>
            <a:off x="5314089" y="3253362"/>
            <a:ext cx="3598870" cy="2770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4300"/>
              </a:lnSpc>
              <a:spcBef>
                <a:spcPts val="0"/>
              </a:spcBef>
            </a:pPr>
            <a:r>
              <a:rPr lang="ru-RU" sz="2000" b="1" dirty="0">
                <a:solidFill>
                  <a:srgbClr val="512C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ЕПРОДУКТЫ</a:t>
            </a:r>
          </a:p>
          <a:p>
            <a:pPr>
              <a:lnSpc>
                <a:spcPts val="4300"/>
              </a:lnSpc>
              <a:spcBef>
                <a:spcPts val="0"/>
              </a:spcBef>
            </a:pP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НЕФТЬ</a:t>
            </a:r>
          </a:p>
          <a:p>
            <a:pPr>
              <a:lnSpc>
                <a:spcPts val="4300"/>
              </a:lnSpc>
              <a:spcBef>
                <a:spcPts val="0"/>
              </a:spcBef>
            </a:pPr>
            <a:r>
              <a:rPr lang="ru-RU" sz="2000" b="1" dirty="0">
                <a:solidFill>
                  <a:srgbClr val="00A0E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РОДНЫЙ ГАЗ</a:t>
            </a:r>
          </a:p>
          <a:p>
            <a:pPr>
              <a:lnSpc>
                <a:spcPts val="4300"/>
              </a:lnSpc>
              <a:spcBef>
                <a:spcPts val="0"/>
              </a:spcBef>
            </a:pPr>
            <a:r>
              <a:rPr lang="ru-RU" sz="2000" b="1" dirty="0">
                <a:solidFill>
                  <a:srgbClr val="73A1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С и СТРОЙМАТЕРИАЛЫ</a:t>
            </a:r>
          </a:p>
          <a:p>
            <a:pPr>
              <a:lnSpc>
                <a:spcPts val="4300"/>
              </a:lnSpc>
              <a:spcBef>
                <a:spcPts val="0"/>
              </a:spcBef>
            </a:pP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ЧНЫЙ РЫНОК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8E5C3BF-9F0D-4778-A7A5-E1E2B23CA41E}"/>
              </a:ext>
            </a:extLst>
          </p:cNvPr>
          <p:cNvSpPr/>
          <p:nvPr/>
        </p:nvSpPr>
        <p:spPr>
          <a:xfrm>
            <a:off x="3272906" y="4445772"/>
            <a:ext cx="1150892" cy="646331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>
              <a:spcBef>
                <a:spcPts val="0"/>
              </a:spcBef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екабрь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D416AC4-45AC-4B9E-919D-5F42C30897EE}"/>
              </a:ext>
            </a:extLst>
          </p:cNvPr>
          <p:cNvSpPr/>
          <p:nvPr/>
        </p:nvSpPr>
        <p:spPr>
          <a:xfrm>
            <a:off x="10852878" y="3449847"/>
            <a:ext cx="125707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</a:pPr>
            <a:r>
              <a:rPr lang="ru-RU" sz="1100" b="1" dirty="0">
                <a:solidFill>
                  <a:srgbClr val="512C2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МЛН ТОНН</a:t>
            </a:r>
          </a:p>
          <a:p>
            <a:pPr>
              <a:spcBef>
                <a:spcPts val="0"/>
              </a:spcBef>
            </a:pPr>
            <a:r>
              <a:rPr lang="ru-RU" sz="1100" dirty="0">
                <a:solidFill>
                  <a:srgbClr val="512C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ОВАНО</a:t>
            </a:r>
            <a:endParaRPr lang="ru-RU" sz="11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6EA87C9A-3D6C-434C-9A99-A12C7BFEB0B1}"/>
              </a:ext>
            </a:extLst>
          </p:cNvPr>
          <p:cNvSpPr/>
          <p:nvPr/>
        </p:nvSpPr>
        <p:spPr>
          <a:xfrm>
            <a:off x="10852878" y="4002465"/>
            <a:ext cx="125707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</a:pPr>
            <a:r>
              <a:rPr lang="ru-RU" sz="1100" b="1" dirty="0">
                <a:latin typeface="Arial Black" panose="020B0A04020102020204" pitchFamily="34" charset="0"/>
                <a:cs typeface="Arial" panose="020B0604020202020204" pitchFamily="34" charset="0"/>
              </a:rPr>
              <a:t>МЛН ТОНН</a:t>
            </a:r>
          </a:p>
          <a:p>
            <a:pPr>
              <a:spcBef>
                <a:spcPts val="0"/>
              </a:spcBef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РЕАЛИЗОВАНО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EAA8218-868D-4302-854C-492EFB987B55}"/>
              </a:ext>
            </a:extLst>
          </p:cNvPr>
          <p:cNvSpPr/>
          <p:nvPr/>
        </p:nvSpPr>
        <p:spPr>
          <a:xfrm>
            <a:off x="10852878" y="4554287"/>
            <a:ext cx="125707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ru-RU" sz="1100" b="1" dirty="0">
                <a:solidFill>
                  <a:srgbClr val="00A0E3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МЛРД М</a:t>
            </a:r>
            <a:r>
              <a:rPr lang="ru-RU" sz="1100" b="1" baseline="30000" dirty="0">
                <a:solidFill>
                  <a:srgbClr val="00A0E3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3</a:t>
            </a:r>
          </a:p>
          <a:p>
            <a:pPr>
              <a:spcBef>
                <a:spcPts val="0"/>
              </a:spcBef>
            </a:pPr>
            <a:r>
              <a:rPr lang="ru-RU" sz="1100" dirty="0">
                <a:solidFill>
                  <a:srgbClr val="00A0E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ОВАНО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3000EB9-5ECD-4FE6-9E56-2D9BD24AA4C1}"/>
              </a:ext>
            </a:extLst>
          </p:cNvPr>
          <p:cNvSpPr/>
          <p:nvPr/>
        </p:nvSpPr>
        <p:spPr>
          <a:xfrm>
            <a:off x="10852878" y="5094066"/>
            <a:ext cx="125707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ru-RU" sz="1100" b="1" dirty="0" smtClean="0">
                <a:solidFill>
                  <a:srgbClr val="73A133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МЛН М 3</a:t>
            </a:r>
            <a:endParaRPr lang="ru-RU" sz="1100" b="1" baseline="30000" dirty="0">
              <a:solidFill>
                <a:srgbClr val="73A133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ru-RU" sz="1100" dirty="0">
                <a:solidFill>
                  <a:srgbClr val="73A1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ОВАНО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C6ADE895-32E6-4199-B074-D100C0FADAB3}"/>
              </a:ext>
            </a:extLst>
          </p:cNvPr>
          <p:cNvSpPr/>
          <p:nvPr/>
        </p:nvSpPr>
        <p:spPr>
          <a:xfrm>
            <a:off x="10852878" y="5641821"/>
            <a:ext cx="125707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ru-RU" sz="1100" b="1" dirty="0" smtClean="0">
                <a:solidFill>
                  <a:srgbClr val="FF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МЛН КОНТРАКТОВ</a:t>
            </a:r>
            <a:endParaRPr lang="ru-RU" sz="1100" b="1" dirty="0">
              <a:solidFill>
                <a:srgbClr val="FF00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ru-RU" sz="11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ОВАНО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CA9D6377-B928-4267-A465-9FAC39D321A8}"/>
              </a:ext>
            </a:extLst>
          </p:cNvPr>
          <p:cNvCxnSpPr/>
          <p:nvPr/>
        </p:nvCxnSpPr>
        <p:spPr>
          <a:xfrm>
            <a:off x="5399964" y="3880204"/>
            <a:ext cx="3653051" cy="0"/>
          </a:xfrm>
          <a:prstGeom prst="line">
            <a:avLst/>
          </a:prstGeom>
          <a:ln w="19050">
            <a:solidFill>
              <a:srgbClr val="512C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95AD4900-6D78-4F6D-AA0D-0D8DF7860047}"/>
              </a:ext>
            </a:extLst>
          </p:cNvPr>
          <p:cNvCxnSpPr/>
          <p:nvPr/>
        </p:nvCxnSpPr>
        <p:spPr>
          <a:xfrm>
            <a:off x="5399964" y="4420245"/>
            <a:ext cx="365305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9A65DFD6-4673-441D-88AF-5FAEA86236A2}"/>
              </a:ext>
            </a:extLst>
          </p:cNvPr>
          <p:cNvCxnSpPr/>
          <p:nvPr/>
        </p:nvCxnSpPr>
        <p:spPr>
          <a:xfrm>
            <a:off x="5399964" y="4996172"/>
            <a:ext cx="3653051" cy="0"/>
          </a:xfrm>
          <a:prstGeom prst="line">
            <a:avLst/>
          </a:prstGeom>
          <a:ln w="19050">
            <a:solidFill>
              <a:srgbClr val="00A0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3C67E67B-6065-47C7-8512-F277CDAAE955}"/>
              </a:ext>
            </a:extLst>
          </p:cNvPr>
          <p:cNvCxnSpPr/>
          <p:nvPr/>
        </p:nvCxnSpPr>
        <p:spPr>
          <a:xfrm>
            <a:off x="5399964" y="5533367"/>
            <a:ext cx="3653051" cy="0"/>
          </a:xfrm>
          <a:prstGeom prst="line">
            <a:avLst/>
          </a:prstGeom>
          <a:ln w="19050">
            <a:solidFill>
              <a:srgbClr val="73A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198417BB-184D-4F9B-964A-CEF8639F041D}"/>
              </a:ext>
            </a:extLst>
          </p:cNvPr>
          <p:cNvCxnSpPr/>
          <p:nvPr/>
        </p:nvCxnSpPr>
        <p:spPr>
          <a:xfrm>
            <a:off x="5399964" y="6031080"/>
            <a:ext cx="3653051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2469F1D9-DDB4-4368-B4C3-0F1D595E6562}"/>
              </a:ext>
            </a:extLst>
          </p:cNvPr>
          <p:cNvSpPr/>
          <p:nvPr/>
        </p:nvSpPr>
        <p:spPr>
          <a:xfrm>
            <a:off x="7815448" y="3448602"/>
            <a:ext cx="116460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00" b="1" dirty="0">
                <a:solidFill>
                  <a:srgbClr val="512C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также отдельные категории</a:t>
            </a:r>
          </a:p>
          <a:p>
            <a:r>
              <a:rPr lang="ru-RU" sz="500" b="1" dirty="0">
                <a:solidFill>
                  <a:srgbClr val="512C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ов, выработанных</a:t>
            </a:r>
          </a:p>
          <a:p>
            <a:r>
              <a:rPr lang="ru-RU" sz="500" b="1" dirty="0">
                <a:solidFill>
                  <a:srgbClr val="512C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нефти и газа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8B087DED-C33A-4A97-9894-A60F1783A9F7}"/>
              </a:ext>
            </a:extLst>
          </p:cNvPr>
          <p:cNvSpPr/>
          <p:nvPr/>
        </p:nvSpPr>
        <p:spPr>
          <a:xfrm>
            <a:off x="9053015" y="3342226"/>
            <a:ext cx="1962397" cy="2849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4300"/>
              </a:lnSpc>
              <a:spcBef>
                <a:spcPts val="0"/>
              </a:spcBef>
            </a:pPr>
            <a:r>
              <a:rPr lang="en-US" sz="3200" b="1" dirty="0" smtClean="0">
                <a:solidFill>
                  <a:srgbClr val="512C2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29</a:t>
            </a:r>
            <a:r>
              <a:rPr lang="ru-RU" sz="3200" b="1" dirty="0" smtClean="0">
                <a:solidFill>
                  <a:srgbClr val="512C2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,</a:t>
            </a:r>
            <a:r>
              <a:rPr lang="en-US" sz="3200" b="1" dirty="0" smtClean="0">
                <a:solidFill>
                  <a:srgbClr val="512C2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75</a:t>
            </a:r>
            <a:r>
              <a:rPr lang="ru-RU" sz="3200" b="1" dirty="0" smtClean="0">
                <a:solidFill>
                  <a:srgbClr val="512C2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+</a:t>
            </a:r>
            <a:endParaRPr lang="ru-RU" sz="3200" b="1" dirty="0">
              <a:solidFill>
                <a:srgbClr val="512C2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4300"/>
              </a:lnSpc>
              <a:spcBef>
                <a:spcPts val="0"/>
              </a:spcBef>
            </a:pPr>
            <a:r>
              <a:rPr lang="en-US" sz="32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3</a:t>
            </a:r>
            <a:r>
              <a:rPr lang="ru-RU" sz="32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,</a:t>
            </a:r>
            <a:r>
              <a:rPr lang="ru-RU" sz="3200" b="1" dirty="0">
                <a:latin typeface="Arial Black" panose="020B0A04020102020204" pitchFamily="34" charset="0"/>
                <a:cs typeface="Arial" panose="020B0604020202020204" pitchFamily="34" charset="0"/>
              </a:rPr>
              <a:t>5</a:t>
            </a:r>
            <a:r>
              <a:rPr lang="ru-RU" sz="32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+</a:t>
            </a:r>
            <a:endParaRPr lang="ru-RU" sz="3200" b="1" dirty="0"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4300"/>
              </a:lnSpc>
              <a:spcBef>
                <a:spcPts val="0"/>
              </a:spcBef>
            </a:pPr>
            <a:r>
              <a:rPr lang="en-US" sz="3200" b="1" dirty="0" smtClean="0">
                <a:solidFill>
                  <a:srgbClr val="00A0E3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6</a:t>
            </a:r>
            <a:r>
              <a:rPr lang="ru-RU" sz="3200" b="1" dirty="0" smtClean="0">
                <a:solidFill>
                  <a:srgbClr val="00A0E3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0,5+</a:t>
            </a:r>
            <a:endParaRPr lang="ru-RU" sz="3200" b="1" dirty="0">
              <a:solidFill>
                <a:srgbClr val="00A0E3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4300"/>
              </a:lnSpc>
              <a:spcBef>
                <a:spcPts val="0"/>
              </a:spcBef>
            </a:pPr>
            <a:r>
              <a:rPr lang="ru-RU" sz="3200" b="1" dirty="0" smtClean="0">
                <a:solidFill>
                  <a:srgbClr val="73A133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,042+</a:t>
            </a:r>
            <a:endParaRPr lang="ru-RU" sz="3200" b="1" dirty="0">
              <a:solidFill>
                <a:srgbClr val="73A133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4300"/>
              </a:lnSpc>
              <a:spcBef>
                <a:spcPts val="0"/>
              </a:spcBef>
            </a:pPr>
            <a:r>
              <a:rPr lang="ru-RU" sz="3200" b="1" dirty="0" smtClean="0">
                <a:solidFill>
                  <a:srgbClr val="FF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1</a:t>
            </a:r>
            <a:r>
              <a:rPr lang="en-US" sz="3200" b="1" dirty="0" smtClean="0">
                <a:solidFill>
                  <a:srgbClr val="FF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,86</a:t>
            </a:r>
            <a:r>
              <a:rPr lang="ru-RU" sz="3200" b="1" dirty="0" smtClean="0">
                <a:solidFill>
                  <a:srgbClr val="FF0000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+</a:t>
            </a:r>
            <a:endParaRPr lang="ru-RU" sz="3200" b="1" dirty="0">
              <a:solidFill>
                <a:srgbClr val="FF0000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260809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30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ифы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30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502894" y="3772377"/>
            <a:ext cx="9475740" cy="433761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prstClr val="white"/>
                </a:solidFill>
              </a:rPr>
              <a:t>Плата за заключение договоров на организованных торгах</a:t>
            </a:r>
            <a:endParaRPr lang="ru-RU" sz="2800" b="1" dirty="0">
              <a:solidFill>
                <a:prstClr val="white"/>
              </a:solidFill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0949069"/>
              </p:ext>
            </p:extLst>
          </p:nvPr>
        </p:nvGraphicFramePr>
        <p:xfrm>
          <a:off x="2495826" y="4206138"/>
          <a:ext cx="9475740" cy="188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9010">
                  <a:extLst>
                    <a:ext uri="{9D8B030D-6E8A-4147-A177-3AD203B41FA5}">
                      <a16:colId xmlns:a16="http://schemas.microsoft.com/office/drawing/2014/main" val="2428753237"/>
                    </a:ext>
                  </a:extLst>
                </a:gridCol>
                <a:gridCol w="7036730">
                  <a:extLst>
                    <a:ext uri="{9D8B030D-6E8A-4147-A177-3AD203B41FA5}">
                      <a16:colId xmlns:a16="http://schemas.microsoft.com/office/drawing/2014/main" val="403331442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иржевой сбор</a:t>
                      </a:r>
                      <a:endParaRPr lang="ru-RU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,06% </a:t>
                      </a:r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 объема договора, заключенного на организованных торгах в Секции (в рублях, за вычетом НДС *)</a:t>
                      </a:r>
                      <a:endParaRPr lang="ru-RU" sz="1600" b="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04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Клиринговый сбор </a:t>
                      </a:r>
                      <a:endParaRPr lang="ru-RU" b="1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,03% </a:t>
                      </a:r>
                      <a:r>
                        <a:rPr lang="ru-RU" sz="16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 объема денежного</a:t>
                      </a:r>
                      <a:r>
                        <a:rPr lang="ru-RU" sz="160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обязательства, в случае, если Продавец – Участник клиринга категории «А» (Контролер поставки) (</a:t>
                      </a:r>
                      <a:r>
                        <a:rPr lang="ru-RU" sz="16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рублях,</a:t>
                      </a:r>
                      <a:r>
                        <a:rPr lang="ru-RU" sz="160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 вычетом НДС*).</a:t>
                      </a:r>
                    </a:p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0,057% </a:t>
                      </a:r>
                      <a:r>
                        <a:rPr lang="ru-RU" sz="16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 объема денежного</a:t>
                      </a:r>
                      <a:r>
                        <a:rPr lang="ru-RU" sz="160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обязательства, в случае, если Продавец – Участник клиринга – основной категории  (</a:t>
                      </a:r>
                      <a:r>
                        <a:rPr lang="ru-RU" sz="16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в рублях, за вычетом НДС*).</a:t>
                      </a:r>
                      <a:endParaRPr lang="ru-RU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590620"/>
                  </a:ext>
                </a:extLst>
              </a:tr>
            </a:tbl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2502894" y="1508031"/>
            <a:ext cx="9475740" cy="396526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prstClr val="white"/>
                </a:solidFill>
              </a:rPr>
              <a:t>Плата за технический доступ к организованным торгам</a:t>
            </a:r>
            <a:endParaRPr lang="ru-RU" sz="2800" b="1" dirty="0">
              <a:solidFill>
                <a:prstClr val="white"/>
              </a:solidFill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9864363"/>
              </p:ext>
            </p:extLst>
          </p:nvPr>
        </p:nvGraphicFramePr>
        <p:xfrm>
          <a:off x="2495826" y="1895418"/>
          <a:ext cx="9475740" cy="1889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08170">
                  <a:extLst>
                    <a:ext uri="{9D8B030D-6E8A-4147-A177-3AD203B41FA5}">
                      <a16:colId xmlns:a16="http://schemas.microsoft.com/office/drawing/2014/main" val="2428753237"/>
                    </a:ext>
                  </a:extLst>
                </a:gridCol>
                <a:gridCol w="5267570">
                  <a:extLst>
                    <a:ext uri="{9D8B030D-6E8A-4147-A177-3AD203B41FA5}">
                      <a16:colId xmlns:a16="http://schemas.microsoft.com/office/drawing/2014/main" val="403331442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лата за предоставление удаленного доступа к СЭТ с использованием АРМ Пользователя и сервису </a:t>
                      </a:r>
                      <a:r>
                        <a:rPr lang="ru-RU" sz="1600" b="1" dirty="0" err="1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Бэк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-офис Личного кабинета</a:t>
                      </a: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1 000 руб. в месяц </a:t>
                      </a:r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за каждое АРМ* 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лата взимается отдельно по каждой Секции товарного рынка.</a:t>
                      </a:r>
                      <a:endParaRPr lang="ru-RU" sz="1600" b="0" i="0" dirty="0" smtClean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804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еспечительный платёж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20 000 руб. </a:t>
                      </a:r>
                      <a:r>
                        <a:rPr lang="ru-RU" sz="16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Платёж</a:t>
                      </a:r>
                      <a:r>
                        <a:rPr lang="ru-RU" sz="160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взимается с целью обеспечения исполнения обязательств по оплате услуг по предоставлению удаленного доступа к СЭТ</a:t>
                      </a:r>
                      <a:endParaRPr lang="ru-RU" sz="1600" i="0" baseline="0" dirty="0" smtClean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590620"/>
                  </a:ext>
                </a:extLst>
              </a:tr>
            </a:tbl>
          </a:graphicData>
        </a:graphic>
      </p:graphicFrame>
      <p:sp>
        <p:nvSpPr>
          <p:cNvPr id="17" name="TextBox 16"/>
          <p:cNvSpPr txBox="1"/>
          <p:nvPr/>
        </p:nvSpPr>
        <p:spPr>
          <a:xfrm>
            <a:off x="2452237" y="6104330"/>
            <a:ext cx="938888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 smtClean="0"/>
              <a:t>*  Не подлежит налогообложению НДС пп.12.2 т.149 НК РФ</a:t>
            </a:r>
          </a:p>
          <a:p>
            <a:pPr algn="just"/>
            <a:r>
              <a:rPr lang="ru-RU" sz="1000" dirty="0" smtClean="0"/>
              <a:t>** Подлежит уплате Участником торгов в категории Временный Член Секции, </a:t>
            </a:r>
            <a:r>
              <a:rPr lang="ru-RU" sz="1000" dirty="0"/>
              <a:t>Посетитель торгов, Посетитель </a:t>
            </a:r>
            <a:r>
              <a:rPr lang="ru-RU" sz="1000" dirty="0" smtClean="0"/>
              <a:t>торгов Сегмента Секции.</a:t>
            </a:r>
          </a:p>
          <a:p>
            <a:pPr algn="just"/>
            <a:r>
              <a:rPr lang="ru-RU" sz="1000" dirty="0"/>
              <a:t> </a:t>
            </a:r>
            <a:r>
              <a:rPr lang="ru-RU" sz="1000" dirty="0" smtClean="0"/>
              <a:t>   Возвращается при расторжении /прекращении действия договора оказания услуг при условии полного и надлежащего исполнения обязательств.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20491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631513" y="6381329"/>
            <a:ext cx="1008509" cy="432048"/>
          </a:xfrm>
        </p:spPr>
        <p:txBody>
          <a:bodyPr/>
          <a:lstStyle/>
          <a:p>
            <a:r>
              <a:rPr lang="ru-RU" dirty="0" smtClean="0">
                <a:solidFill>
                  <a:prstClr val="white"/>
                </a:solidFill>
              </a:rPr>
              <a:t>Слайд </a:t>
            </a:r>
            <a:fld id="{8A883B3C-0F63-49CF-83A2-AD4574F642BA}" type="slidenum">
              <a:rPr lang="ru-RU" smtClean="0">
                <a:solidFill>
                  <a:prstClr val="white"/>
                </a:solidFill>
              </a:rPr>
              <a:pPr/>
              <a:t>31</a:t>
            </a:fld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2101362" cy="686679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2191999" cy="136561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49595" y="173886"/>
            <a:ext cx="2105025" cy="1085850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76C98C9-FD7E-4B57-A534-CBAD31EA7C84}"/>
              </a:ext>
            </a:extLst>
          </p:cNvPr>
          <p:cNvSpPr/>
          <p:nvPr/>
        </p:nvSpPr>
        <p:spPr>
          <a:xfrm>
            <a:off x="2495826" y="331713"/>
            <a:ext cx="7522818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минеральных удобрений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океры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0F6231F-680F-4F27-B2E1-E40E63D7C96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31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469655" y="1762448"/>
            <a:ext cx="3938961" cy="1389904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white"/>
                </a:solidFill>
              </a:rPr>
              <a:t>Аккредитованные на бирже брокеры, выразившие заинтересованность в работе на рынке минеральных удобрений 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321169" y="3152352"/>
            <a:ext cx="4455734" cy="2062103"/>
          </a:xfrm>
          <a:prstGeom prst="rect">
            <a:avLst/>
          </a:prstGeom>
          <a:ln w="9525">
            <a:solidFill>
              <a:srgbClr val="77BAE7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3200" dirty="0" smtClean="0">
                <a:solidFill>
                  <a:srgbClr val="0070C0"/>
                </a:solidFill>
              </a:rPr>
              <a:t>ООО «</a:t>
            </a:r>
            <a:r>
              <a:rPr lang="ru-RU" sz="3200" dirty="0" err="1" smtClean="0">
                <a:solidFill>
                  <a:srgbClr val="0070C0"/>
                </a:solidFill>
              </a:rPr>
              <a:t>Сургутэкс</a:t>
            </a:r>
            <a:r>
              <a:rPr lang="ru-RU" sz="3200" dirty="0" smtClean="0">
                <a:solidFill>
                  <a:srgbClr val="0070C0"/>
                </a:solidFill>
              </a:rPr>
              <a:t>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3200" dirty="0" smtClean="0">
                <a:solidFill>
                  <a:srgbClr val="0070C0"/>
                </a:solidFill>
              </a:rPr>
              <a:t>ООО «СОВИНК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3200" dirty="0" smtClean="0">
                <a:solidFill>
                  <a:srgbClr val="0070C0"/>
                </a:solidFill>
              </a:rPr>
              <a:t>ООО «СБ Брокер»</a:t>
            </a:r>
            <a:endParaRPr lang="en-US" sz="3200" dirty="0" smtClean="0">
              <a:solidFill>
                <a:srgbClr val="0070C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3200" dirty="0" smtClean="0">
                <a:solidFill>
                  <a:srgbClr val="0070C0"/>
                </a:solidFill>
              </a:rPr>
              <a:t>ООО «СТК-петролеум»</a:t>
            </a:r>
            <a:endParaRPr lang="ru-RU" sz="3200" dirty="0">
              <a:solidFill>
                <a:srgbClr val="0070C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776908" y="1762448"/>
            <a:ext cx="4825479" cy="1068207"/>
          </a:xfrm>
          <a:prstGeom prst="rect">
            <a:avLst/>
          </a:prstGeom>
          <a:solidFill>
            <a:srgbClr val="77B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white"/>
                </a:solidFill>
              </a:rPr>
              <a:t>Аккредитованные на Бирже брокеры, имеющие право работать в секции «Минеральное сырье и химическая продукция»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776905" y="2830655"/>
            <a:ext cx="4825480" cy="3539430"/>
          </a:xfrm>
          <a:prstGeom prst="rect">
            <a:avLst/>
          </a:prstGeom>
          <a:ln w="9525">
            <a:solidFill>
              <a:srgbClr val="77BAE7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</a:t>
            </a:r>
            <a:r>
              <a:rPr lang="ru-RU" sz="1600" dirty="0" err="1" smtClean="0">
                <a:solidFill>
                  <a:srgbClr val="0070C0"/>
                </a:solidFill>
              </a:rPr>
              <a:t>Сургутэкс</a:t>
            </a:r>
            <a:r>
              <a:rPr lang="ru-RU" sz="1600" dirty="0" smtClean="0">
                <a:solidFill>
                  <a:srgbClr val="0070C0"/>
                </a:solidFill>
              </a:rPr>
              <a:t>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СОВИНК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СБ Брокер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Алгоритм топливный	 интегратор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АО «Инвестиционная компания «Ай-</a:t>
            </a:r>
            <a:r>
              <a:rPr lang="ru-RU" sz="1600" dirty="0" err="1" smtClean="0">
                <a:solidFill>
                  <a:srgbClr val="0070C0"/>
                </a:solidFill>
              </a:rPr>
              <a:t>Ти</a:t>
            </a:r>
            <a:r>
              <a:rPr lang="ru-RU" sz="1600" dirty="0" smtClean="0">
                <a:solidFill>
                  <a:srgbClr val="0070C0"/>
                </a:solidFill>
              </a:rPr>
              <a:t> </a:t>
            </a:r>
            <a:r>
              <a:rPr lang="ru-RU" sz="1600" dirty="0">
                <a:solidFill>
                  <a:srgbClr val="0070C0"/>
                </a:solidFill>
              </a:rPr>
              <a:t>И</a:t>
            </a:r>
            <a:r>
              <a:rPr lang="ru-RU" sz="1600" dirty="0" smtClean="0">
                <a:solidFill>
                  <a:srgbClr val="0070C0"/>
                </a:solidFill>
              </a:rPr>
              <a:t>нвест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Компания </a:t>
            </a:r>
            <a:r>
              <a:rPr lang="ru-RU" sz="1600" dirty="0" err="1" smtClean="0">
                <a:solidFill>
                  <a:srgbClr val="0070C0"/>
                </a:solidFill>
              </a:rPr>
              <a:t>Брокеркредитсервис</a:t>
            </a:r>
            <a:r>
              <a:rPr lang="ru-RU" sz="1600" dirty="0" smtClean="0">
                <a:solidFill>
                  <a:srgbClr val="0070C0"/>
                </a:solidFill>
              </a:rPr>
              <a:t>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Ойл Трейд Сервис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Петролеум </a:t>
            </a:r>
            <a:r>
              <a:rPr lang="ru-RU" sz="1600" dirty="0" err="1" smtClean="0">
                <a:solidFill>
                  <a:srgbClr val="0070C0"/>
                </a:solidFill>
              </a:rPr>
              <a:t>трейдинг</a:t>
            </a:r>
            <a:r>
              <a:rPr lang="ru-RU" sz="1600" dirty="0" smtClean="0">
                <a:solidFill>
                  <a:srgbClr val="0070C0"/>
                </a:solidFill>
              </a:rPr>
              <a:t>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</a:t>
            </a:r>
            <a:r>
              <a:rPr lang="ru-RU" sz="1600" dirty="0" err="1" smtClean="0">
                <a:solidFill>
                  <a:srgbClr val="0070C0"/>
                </a:solidFill>
              </a:rPr>
              <a:t>Руснефтехимснаб</a:t>
            </a:r>
            <a:r>
              <a:rPr lang="ru-RU" sz="1600" dirty="0" smtClean="0">
                <a:solidFill>
                  <a:srgbClr val="0070C0"/>
                </a:solidFill>
              </a:rPr>
              <a:t>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РУТЭК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АО «</a:t>
            </a:r>
            <a:r>
              <a:rPr lang="ru-RU" sz="1600" dirty="0" err="1" smtClean="0">
                <a:solidFill>
                  <a:srgbClr val="0070C0"/>
                </a:solidFill>
              </a:rPr>
              <a:t>Солид</a:t>
            </a:r>
            <a:r>
              <a:rPr lang="ru-RU" sz="1600" dirty="0" smtClean="0">
                <a:solidFill>
                  <a:srgbClr val="0070C0"/>
                </a:solidFill>
              </a:rPr>
              <a:t>-товарные рынки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Стелла Инвест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ТСБ-Брокер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rgbClr val="0070C0"/>
                </a:solidFill>
              </a:rPr>
              <a:t>ООО «</a:t>
            </a:r>
            <a:r>
              <a:rPr lang="ru-RU" sz="1600" dirty="0" err="1" smtClean="0">
                <a:solidFill>
                  <a:srgbClr val="0070C0"/>
                </a:solidFill>
              </a:rPr>
              <a:t>ЭйДжи</a:t>
            </a:r>
            <a:r>
              <a:rPr lang="ru-RU" sz="1600" dirty="0" smtClean="0">
                <a:solidFill>
                  <a:srgbClr val="0070C0"/>
                </a:solidFill>
              </a:rPr>
              <a:t>-Ойл»</a:t>
            </a:r>
            <a:endParaRPr lang="ru-RU" sz="1600" dirty="0">
              <a:solidFill>
                <a:srgbClr val="0070C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469656" y="5283806"/>
            <a:ext cx="3938960" cy="1384995"/>
          </a:xfrm>
          <a:prstGeom prst="rect">
            <a:avLst/>
          </a:prstGeom>
          <a:ln w="9525">
            <a:solidFill>
              <a:srgbClr val="77BAE7"/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70C0"/>
                </a:solidFill>
              </a:rPr>
              <a:t>Если объем приобретения минеральных удобрений </a:t>
            </a:r>
            <a:r>
              <a:rPr lang="ru-RU" sz="1400" b="1" dirty="0" smtClean="0">
                <a:solidFill>
                  <a:srgbClr val="0070C0"/>
                </a:solidFill>
              </a:rPr>
              <a:t>менее 180 т в месяц (менее 2000 т в год)</a:t>
            </a:r>
            <a:r>
              <a:rPr lang="ru-RU" sz="1400" dirty="0" smtClean="0">
                <a:solidFill>
                  <a:srgbClr val="0070C0"/>
                </a:solidFill>
              </a:rPr>
              <a:t>, - выгоднее пользоваться услугами брокера. </a:t>
            </a:r>
          </a:p>
          <a:p>
            <a:r>
              <a:rPr lang="ru-RU" sz="1400" dirty="0" smtClean="0">
                <a:solidFill>
                  <a:srgbClr val="0070C0"/>
                </a:solidFill>
              </a:rPr>
              <a:t>Если объем приобретения </a:t>
            </a:r>
            <a:r>
              <a:rPr lang="ru-RU" sz="1400" b="1" dirty="0" smtClean="0">
                <a:solidFill>
                  <a:srgbClr val="0070C0"/>
                </a:solidFill>
              </a:rPr>
              <a:t>более 180 т в месяц (более 2000 т в год) </a:t>
            </a:r>
            <a:r>
              <a:rPr lang="ru-RU" sz="1400" dirty="0" smtClean="0">
                <a:solidFill>
                  <a:srgbClr val="0070C0"/>
                </a:solidFill>
              </a:rPr>
              <a:t>– выгоднее выходить на биржевые торги напрямую.</a:t>
            </a:r>
            <a:endParaRPr lang="ru-RU" sz="1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232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Группа 26"/>
          <p:cNvGrpSpPr/>
          <p:nvPr/>
        </p:nvGrpSpPr>
        <p:grpSpPr>
          <a:xfrm>
            <a:off x="186" y="0"/>
            <a:ext cx="12191814" cy="6858000"/>
            <a:chOff x="372" y="1345223"/>
            <a:chExt cx="12191814" cy="6858000"/>
          </a:xfrm>
        </p:grpSpPr>
        <p:pic>
          <p:nvPicPr>
            <p:cNvPr id="28" name="Рисунок 27">
              <a:extLst>
                <a:ext uri="{FF2B5EF4-FFF2-40B4-BE49-F238E27FC236}">
                  <a16:creationId xmlns:a16="http://schemas.microsoft.com/office/drawing/2014/main" id="{0A190C27-12F4-4353-B8A8-CF23415629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2" y="1345223"/>
              <a:ext cx="12191814" cy="6858000"/>
            </a:xfrm>
            <a:prstGeom prst="rect">
              <a:avLst/>
            </a:prstGeom>
          </p:spPr>
        </p:pic>
        <p:sp>
          <p:nvSpPr>
            <p:cNvPr id="29" name="Прямоугольник 28"/>
            <p:cNvSpPr/>
            <p:nvPr/>
          </p:nvSpPr>
          <p:spPr>
            <a:xfrm>
              <a:off x="2094029" y="1345223"/>
              <a:ext cx="10098157" cy="1345223"/>
            </a:xfrm>
            <a:prstGeom prst="rect">
              <a:avLst/>
            </a:prstGeom>
            <a:solidFill>
              <a:srgbClr val="B3A1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" name="Прямоугольник 14"/>
          <p:cNvSpPr/>
          <p:nvPr/>
        </p:nvSpPr>
        <p:spPr>
          <a:xfrm>
            <a:off x="4583833" y="1772816"/>
            <a:ext cx="720080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/>
            <a:endParaRPr lang="ru-RU" sz="2400" dirty="0">
              <a:latin typeface="Segoe UI" pitchFamily="34" charset="0"/>
              <a:cs typeface="Segoe UI" pitchFamily="34" charset="0"/>
            </a:endParaRPr>
          </a:p>
          <a:p>
            <a:pPr hangingPunct="0"/>
            <a:endParaRPr lang="ru-RU" sz="2400" dirty="0">
              <a:latin typeface="Segoe UI" pitchFamily="34" charset="0"/>
              <a:cs typeface="Segoe UI" pitchFamily="34" charset="0"/>
            </a:endParaRPr>
          </a:p>
          <a:p>
            <a:endParaRPr lang="ru-RU" sz="2400" dirty="0">
              <a:latin typeface="Segoe UI" pitchFamily="34" charset="0"/>
              <a:cs typeface="Segoe UI" pitchFamily="34" charset="0"/>
            </a:endParaRPr>
          </a:p>
          <a:p>
            <a:r>
              <a:rPr lang="en-US" sz="2400" dirty="0">
                <a:latin typeface="Segoe UI" pitchFamily="34" charset="0"/>
                <a:cs typeface="Segoe UI" pitchFamily="34" charset="0"/>
              </a:rPr>
              <a:t> </a:t>
            </a:r>
            <a:endParaRPr lang="ru-RU" sz="2400" dirty="0">
              <a:latin typeface="Segoe UI" pitchFamily="34" charset="0"/>
              <a:cs typeface="Segoe UI" pitchFamily="34" charset="0"/>
            </a:endParaRPr>
          </a:p>
          <a:p>
            <a:endParaRPr lang="ru-RU" sz="2400" dirty="0"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071599" y="1981458"/>
            <a:ext cx="1296144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дрес: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402813" y="2006051"/>
            <a:ext cx="37518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0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осква,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ул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Тимура Фрунзе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.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04797" y="2550878"/>
            <a:ext cx="75151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ел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432475" y="2567402"/>
            <a:ext cx="21675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+7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(495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) 380-04-24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067050" y="3110027"/>
            <a:ext cx="1761146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айт: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501372" y="3100576"/>
            <a:ext cx="2029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www.spimex.com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itchFamily="34" charset="0"/>
                <a:cs typeface="Segoe UI" pitchFamily="34" charset="0"/>
              </a:rPr>
              <a:t> 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104118" y="3714617"/>
            <a:ext cx="173005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-mail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492733" y="3690764"/>
            <a:ext cx="20842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info@spimex.com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itchFamily="34" charset="0"/>
                <a:cs typeface="Segoe UI" pitchFamily="34" charset="0"/>
              </a:rPr>
              <a:t> 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2" name="Рисунок 21">
            <a:hlinkClick r:id="rId4"/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0408" y="4509120"/>
            <a:ext cx="1723308" cy="1723308"/>
          </a:xfrm>
          <a:prstGeom prst="rect">
            <a:avLst/>
          </a:prstGeom>
        </p:spPr>
      </p:pic>
      <p:pic>
        <p:nvPicPr>
          <p:cNvPr id="23" name="Picture 2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91743" y="5007236"/>
            <a:ext cx="576000" cy="57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63952" y="5007236"/>
            <a:ext cx="576000" cy="57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4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30856" y="5007236"/>
            <a:ext cx="576000" cy="57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5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00056" y="5007236"/>
            <a:ext cx="576000" cy="57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Прямоугольник 30"/>
          <p:cNvSpPr/>
          <p:nvPr/>
        </p:nvSpPr>
        <p:spPr>
          <a:xfrm>
            <a:off x="2249956" y="378669"/>
            <a:ext cx="816228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акты</a:t>
            </a:r>
            <a:r>
              <a:rPr lang="en-US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</a:t>
            </a:r>
            <a:r>
              <a:rPr lang="ru-RU" sz="30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бМТСБ</a:t>
            </a: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en-US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0A85079F-872E-4C1A-8587-A8B309BB9FBF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32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0" y="0"/>
            <a:ext cx="2093843" cy="1347673"/>
          </a:xfrm>
          <a:prstGeom prst="rect">
            <a:avLst/>
          </a:prstGeom>
        </p:spPr>
      </p:pic>
      <p:sp>
        <p:nvSpPr>
          <p:cNvPr id="34" name="Freeform 6"/>
          <p:cNvSpPr>
            <a:spLocks noEditPoints="1"/>
          </p:cNvSpPr>
          <p:nvPr/>
        </p:nvSpPr>
        <p:spPr bwMode="auto">
          <a:xfrm>
            <a:off x="10722341" y="317011"/>
            <a:ext cx="523998" cy="711200"/>
          </a:xfrm>
          <a:custGeom>
            <a:avLst/>
            <a:gdLst>
              <a:gd name="T0" fmla="*/ 170 w 7158"/>
              <a:gd name="T1" fmla="*/ 8357 h 9070"/>
              <a:gd name="T2" fmla="*/ 93 w 7158"/>
              <a:gd name="T3" fmla="*/ 8326 h 9070"/>
              <a:gd name="T4" fmla="*/ 36 w 7158"/>
              <a:gd name="T5" fmla="*/ 8268 h 9070"/>
              <a:gd name="T6" fmla="*/ 4 w 7158"/>
              <a:gd name="T7" fmla="*/ 8192 h 9070"/>
              <a:gd name="T8" fmla="*/ 1 w 7158"/>
              <a:gd name="T9" fmla="*/ 2458 h 9070"/>
              <a:gd name="T10" fmla="*/ 26 w 7158"/>
              <a:gd name="T11" fmla="*/ 2378 h 9070"/>
              <a:gd name="T12" fmla="*/ 2330 w 7158"/>
              <a:gd name="T13" fmla="*/ 62 h 9070"/>
              <a:gd name="T14" fmla="*/ 2400 w 7158"/>
              <a:gd name="T15" fmla="*/ 15 h 9070"/>
              <a:gd name="T16" fmla="*/ 2481 w 7158"/>
              <a:gd name="T17" fmla="*/ 0 h 9070"/>
              <a:gd name="T18" fmla="*/ 6300 w 7158"/>
              <a:gd name="T19" fmla="*/ 9 h 9070"/>
              <a:gd name="T20" fmla="*/ 6372 w 7158"/>
              <a:gd name="T21" fmla="*/ 48 h 9070"/>
              <a:gd name="T22" fmla="*/ 6424 w 7158"/>
              <a:gd name="T23" fmla="*/ 111 h 9070"/>
              <a:gd name="T24" fmla="*/ 6448 w 7158"/>
              <a:gd name="T25" fmla="*/ 190 h 9070"/>
              <a:gd name="T26" fmla="*/ 6445 w 7158"/>
              <a:gd name="T27" fmla="*/ 8192 h 9070"/>
              <a:gd name="T28" fmla="*/ 6414 w 7158"/>
              <a:gd name="T29" fmla="*/ 8268 h 9070"/>
              <a:gd name="T30" fmla="*/ 6356 w 7158"/>
              <a:gd name="T31" fmla="*/ 8326 h 9070"/>
              <a:gd name="T32" fmla="*/ 6280 w 7158"/>
              <a:gd name="T33" fmla="*/ 8357 h 9070"/>
              <a:gd name="T34" fmla="*/ 2268 w 7158"/>
              <a:gd name="T35" fmla="*/ 2268 h 9070"/>
              <a:gd name="T36" fmla="*/ 2693 w 7158"/>
              <a:gd name="T37" fmla="*/ 425 h 9070"/>
              <a:gd name="T38" fmla="*/ 2684 w 7158"/>
              <a:gd name="T39" fmla="*/ 2543 h 9070"/>
              <a:gd name="T40" fmla="*/ 2645 w 7158"/>
              <a:gd name="T41" fmla="*/ 2615 h 9070"/>
              <a:gd name="T42" fmla="*/ 2582 w 7158"/>
              <a:gd name="T43" fmla="*/ 2667 h 9070"/>
              <a:gd name="T44" fmla="*/ 2502 w 7158"/>
              <a:gd name="T45" fmla="*/ 2691 h 9070"/>
              <a:gd name="T46" fmla="*/ 6025 w 7158"/>
              <a:gd name="T47" fmla="*/ 7937 h 9070"/>
              <a:gd name="T48" fmla="*/ 3401 w 7158"/>
              <a:gd name="T49" fmla="*/ 1843 h 9070"/>
              <a:gd name="T50" fmla="*/ 5315 w 7158"/>
              <a:gd name="T51" fmla="*/ 4392 h 9070"/>
              <a:gd name="T52" fmla="*/ 5315 w 7158"/>
              <a:gd name="T53" fmla="*/ 4392 h 9070"/>
              <a:gd name="T54" fmla="*/ 5315 w 7158"/>
              <a:gd name="T55" fmla="*/ 2268 h 9070"/>
              <a:gd name="T56" fmla="*/ 3401 w 7158"/>
              <a:gd name="T57" fmla="*/ 4817 h 9070"/>
              <a:gd name="T58" fmla="*/ 3401 w 7158"/>
              <a:gd name="T59" fmla="*/ 6092 h 9070"/>
              <a:gd name="T60" fmla="*/ 5315 w 7158"/>
              <a:gd name="T61" fmla="*/ 6942 h 9070"/>
              <a:gd name="T62" fmla="*/ 5315 w 7158"/>
              <a:gd name="T63" fmla="*/ 6942 h 9070"/>
              <a:gd name="T64" fmla="*/ 6988 w 7158"/>
              <a:gd name="T65" fmla="*/ 713 h 9070"/>
              <a:gd name="T66" fmla="*/ 7064 w 7158"/>
              <a:gd name="T67" fmla="*/ 745 h 9070"/>
              <a:gd name="T68" fmla="*/ 7122 w 7158"/>
              <a:gd name="T69" fmla="*/ 802 h 9070"/>
              <a:gd name="T70" fmla="*/ 7154 w 7158"/>
              <a:gd name="T71" fmla="*/ 879 h 9070"/>
              <a:gd name="T72" fmla="*/ 7157 w 7158"/>
              <a:gd name="T73" fmla="*/ 8331 h 9070"/>
              <a:gd name="T74" fmla="*/ 7134 w 7158"/>
              <a:gd name="T75" fmla="*/ 8485 h 9070"/>
              <a:gd name="T76" fmla="*/ 7082 w 7158"/>
              <a:gd name="T77" fmla="*/ 8629 h 9070"/>
              <a:gd name="T78" fmla="*/ 7002 w 7158"/>
              <a:gd name="T79" fmla="*/ 8758 h 9070"/>
              <a:gd name="T80" fmla="*/ 6902 w 7158"/>
              <a:gd name="T81" fmla="*/ 8868 h 9070"/>
              <a:gd name="T82" fmla="*/ 6782 w 7158"/>
              <a:gd name="T83" fmla="*/ 8958 h 9070"/>
              <a:gd name="T84" fmla="*/ 6647 w 7158"/>
              <a:gd name="T85" fmla="*/ 9024 h 9070"/>
              <a:gd name="T86" fmla="*/ 6497 w 7158"/>
              <a:gd name="T87" fmla="*/ 9061 h 9070"/>
              <a:gd name="T88" fmla="*/ 921 w 7158"/>
              <a:gd name="T89" fmla="*/ 9070 h 9070"/>
              <a:gd name="T90" fmla="*/ 838 w 7158"/>
              <a:gd name="T91" fmla="*/ 9054 h 9070"/>
              <a:gd name="T92" fmla="*/ 772 w 7158"/>
              <a:gd name="T93" fmla="*/ 9008 h 9070"/>
              <a:gd name="T94" fmla="*/ 726 w 7158"/>
              <a:gd name="T95" fmla="*/ 8940 h 9070"/>
              <a:gd name="T96" fmla="*/ 708 w 7158"/>
              <a:gd name="T97" fmla="*/ 8858 h 9070"/>
              <a:gd name="T98" fmla="*/ 6396 w 7158"/>
              <a:gd name="T99" fmla="*/ 8645 h 9070"/>
              <a:gd name="T100" fmla="*/ 6467 w 7158"/>
              <a:gd name="T101" fmla="*/ 8634 h 9070"/>
              <a:gd name="T102" fmla="*/ 6532 w 7158"/>
              <a:gd name="T103" fmla="*/ 8611 h 9070"/>
              <a:gd name="T104" fmla="*/ 6591 w 7158"/>
              <a:gd name="T105" fmla="*/ 8575 h 9070"/>
              <a:gd name="T106" fmla="*/ 6641 w 7158"/>
              <a:gd name="T107" fmla="*/ 8529 h 9070"/>
              <a:gd name="T108" fmla="*/ 6681 w 7158"/>
              <a:gd name="T109" fmla="*/ 8474 h 9070"/>
              <a:gd name="T110" fmla="*/ 6712 w 7158"/>
              <a:gd name="T111" fmla="*/ 8412 h 9070"/>
              <a:gd name="T112" fmla="*/ 6729 w 7158"/>
              <a:gd name="T113" fmla="*/ 8344 h 9070"/>
              <a:gd name="T114" fmla="*/ 6733 w 7158"/>
              <a:gd name="T115" fmla="*/ 920 h 90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158" h="9070">
                <a:moveTo>
                  <a:pt x="6236" y="8362"/>
                </a:moveTo>
                <a:lnTo>
                  <a:pt x="213" y="8362"/>
                </a:lnTo>
                <a:lnTo>
                  <a:pt x="191" y="8360"/>
                </a:lnTo>
                <a:lnTo>
                  <a:pt x="170" y="8357"/>
                </a:lnTo>
                <a:lnTo>
                  <a:pt x="150" y="8353"/>
                </a:lnTo>
                <a:lnTo>
                  <a:pt x="129" y="8346"/>
                </a:lnTo>
                <a:lnTo>
                  <a:pt x="111" y="8336"/>
                </a:lnTo>
                <a:lnTo>
                  <a:pt x="93" y="8326"/>
                </a:lnTo>
                <a:lnTo>
                  <a:pt x="78" y="8314"/>
                </a:lnTo>
                <a:lnTo>
                  <a:pt x="62" y="8300"/>
                </a:lnTo>
                <a:lnTo>
                  <a:pt x="49" y="8284"/>
                </a:lnTo>
                <a:lnTo>
                  <a:pt x="36" y="8268"/>
                </a:lnTo>
                <a:lnTo>
                  <a:pt x="26" y="8251"/>
                </a:lnTo>
                <a:lnTo>
                  <a:pt x="17" y="8232"/>
                </a:lnTo>
                <a:lnTo>
                  <a:pt x="10" y="8212"/>
                </a:lnTo>
                <a:lnTo>
                  <a:pt x="4" y="8192"/>
                </a:lnTo>
                <a:lnTo>
                  <a:pt x="1" y="8171"/>
                </a:lnTo>
                <a:lnTo>
                  <a:pt x="0" y="8150"/>
                </a:lnTo>
                <a:lnTo>
                  <a:pt x="0" y="2480"/>
                </a:lnTo>
                <a:lnTo>
                  <a:pt x="1" y="2458"/>
                </a:lnTo>
                <a:lnTo>
                  <a:pt x="4" y="2437"/>
                </a:lnTo>
                <a:lnTo>
                  <a:pt x="10" y="2416"/>
                </a:lnTo>
                <a:lnTo>
                  <a:pt x="17" y="2396"/>
                </a:lnTo>
                <a:lnTo>
                  <a:pt x="26" y="2378"/>
                </a:lnTo>
                <a:lnTo>
                  <a:pt x="37" y="2360"/>
                </a:lnTo>
                <a:lnTo>
                  <a:pt x="50" y="2343"/>
                </a:lnTo>
                <a:lnTo>
                  <a:pt x="65" y="2329"/>
                </a:lnTo>
                <a:lnTo>
                  <a:pt x="2330" y="62"/>
                </a:lnTo>
                <a:lnTo>
                  <a:pt x="2347" y="48"/>
                </a:lnTo>
                <a:lnTo>
                  <a:pt x="2363" y="35"/>
                </a:lnTo>
                <a:lnTo>
                  <a:pt x="2382" y="23"/>
                </a:lnTo>
                <a:lnTo>
                  <a:pt x="2400" y="15"/>
                </a:lnTo>
                <a:lnTo>
                  <a:pt x="2419" y="9"/>
                </a:lnTo>
                <a:lnTo>
                  <a:pt x="2439" y="3"/>
                </a:lnTo>
                <a:lnTo>
                  <a:pt x="2459" y="0"/>
                </a:lnTo>
                <a:lnTo>
                  <a:pt x="2481" y="0"/>
                </a:lnTo>
                <a:lnTo>
                  <a:pt x="6236" y="0"/>
                </a:lnTo>
                <a:lnTo>
                  <a:pt x="6258" y="0"/>
                </a:lnTo>
                <a:lnTo>
                  <a:pt x="6280" y="5"/>
                </a:lnTo>
                <a:lnTo>
                  <a:pt x="6300" y="9"/>
                </a:lnTo>
                <a:lnTo>
                  <a:pt x="6320" y="16"/>
                </a:lnTo>
                <a:lnTo>
                  <a:pt x="6339" y="25"/>
                </a:lnTo>
                <a:lnTo>
                  <a:pt x="6356" y="36"/>
                </a:lnTo>
                <a:lnTo>
                  <a:pt x="6372" y="48"/>
                </a:lnTo>
                <a:lnTo>
                  <a:pt x="6388" y="62"/>
                </a:lnTo>
                <a:lnTo>
                  <a:pt x="6401" y="77"/>
                </a:lnTo>
                <a:lnTo>
                  <a:pt x="6414" y="94"/>
                </a:lnTo>
                <a:lnTo>
                  <a:pt x="6424" y="111"/>
                </a:lnTo>
                <a:lnTo>
                  <a:pt x="6432" y="130"/>
                </a:lnTo>
                <a:lnTo>
                  <a:pt x="6439" y="149"/>
                </a:lnTo>
                <a:lnTo>
                  <a:pt x="6445" y="169"/>
                </a:lnTo>
                <a:lnTo>
                  <a:pt x="6448" y="190"/>
                </a:lnTo>
                <a:lnTo>
                  <a:pt x="6450" y="212"/>
                </a:lnTo>
                <a:lnTo>
                  <a:pt x="6450" y="8150"/>
                </a:lnTo>
                <a:lnTo>
                  <a:pt x="6448" y="8171"/>
                </a:lnTo>
                <a:lnTo>
                  <a:pt x="6445" y="8192"/>
                </a:lnTo>
                <a:lnTo>
                  <a:pt x="6439" y="8212"/>
                </a:lnTo>
                <a:lnTo>
                  <a:pt x="6432" y="8232"/>
                </a:lnTo>
                <a:lnTo>
                  <a:pt x="6424" y="8251"/>
                </a:lnTo>
                <a:lnTo>
                  <a:pt x="6414" y="8268"/>
                </a:lnTo>
                <a:lnTo>
                  <a:pt x="6401" y="8284"/>
                </a:lnTo>
                <a:lnTo>
                  <a:pt x="6388" y="8300"/>
                </a:lnTo>
                <a:lnTo>
                  <a:pt x="6372" y="8314"/>
                </a:lnTo>
                <a:lnTo>
                  <a:pt x="6356" y="8326"/>
                </a:lnTo>
                <a:lnTo>
                  <a:pt x="6339" y="8336"/>
                </a:lnTo>
                <a:lnTo>
                  <a:pt x="6320" y="8346"/>
                </a:lnTo>
                <a:lnTo>
                  <a:pt x="6300" y="8353"/>
                </a:lnTo>
                <a:lnTo>
                  <a:pt x="6280" y="8357"/>
                </a:lnTo>
                <a:lnTo>
                  <a:pt x="6258" y="8362"/>
                </a:lnTo>
                <a:lnTo>
                  <a:pt x="6236" y="8362"/>
                </a:lnTo>
                <a:lnTo>
                  <a:pt x="6236" y="8362"/>
                </a:lnTo>
                <a:close/>
                <a:moveTo>
                  <a:pt x="2268" y="2268"/>
                </a:moveTo>
                <a:lnTo>
                  <a:pt x="2268" y="726"/>
                </a:lnTo>
                <a:lnTo>
                  <a:pt x="726" y="2268"/>
                </a:lnTo>
                <a:lnTo>
                  <a:pt x="2268" y="2268"/>
                </a:lnTo>
                <a:close/>
                <a:moveTo>
                  <a:pt x="2693" y="425"/>
                </a:moveTo>
                <a:lnTo>
                  <a:pt x="2693" y="2480"/>
                </a:lnTo>
                <a:lnTo>
                  <a:pt x="2693" y="2501"/>
                </a:lnTo>
                <a:lnTo>
                  <a:pt x="2688" y="2523"/>
                </a:lnTo>
                <a:lnTo>
                  <a:pt x="2684" y="2543"/>
                </a:lnTo>
                <a:lnTo>
                  <a:pt x="2677" y="2563"/>
                </a:lnTo>
                <a:lnTo>
                  <a:pt x="2668" y="2581"/>
                </a:lnTo>
                <a:lnTo>
                  <a:pt x="2657" y="2599"/>
                </a:lnTo>
                <a:lnTo>
                  <a:pt x="2645" y="2615"/>
                </a:lnTo>
                <a:lnTo>
                  <a:pt x="2631" y="2631"/>
                </a:lnTo>
                <a:lnTo>
                  <a:pt x="2616" y="2644"/>
                </a:lnTo>
                <a:lnTo>
                  <a:pt x="2599" y="2657"/>
                </a:lnTo>
                <a:lnTo>
                  <a:pt x="2582" y="2667"/>
                </a:lnTo>
                <a:lnTo>
                  <a:pt x="2563" y="2676"/>
                </a:lnTo>
                <a:lnTo>
                  <a:pt x="2544" y="2683"/>
                </a:lnTo>
                <a:lnTo>
                  <a:pt x="2523" y="2689"/>
                </a:lnTo>
                <a:lnTo>
                  <a:pt x="2502" y="2691"/>
                </a:lnTo>
                <a:lnTo>
                  <a:pt x="2481" y="2693"/>
                </a:lnTo>
                <a:lnTo>
                  <a:pt x="425" y="2693"/>
                </a:lnTo>
                <a:lnTo>
                  <a:pt x="425" y="7937"/>
                </a:lnTo>
                <a:lnTo>
                  <a:pt x="6025" y="7937"/>
                </a:lnTo>
                <a:lnTo>
                  <a:pt x="6025" y="425"/>
                </a:lnTo>
                <a:lnTo>
                  <a:pt x="2693" y="425"/>
                </a:lnTo>
                <a:close/>
                <a:moveTo>
                  <a:pt x="5315" y="1843"/>
                </a:moveTo>
                <a:lnTo>
                  <a:pt x="3401" y="1843"/>
                </a:lnTo>
                <a:lnTo>
                  <a:pt x="3401" y="1417"/>
                </a:lnTo>
                <a:lnTo>
                  <a:pt x="5315" y="1417"/>
                </a:lnTo>
                <a:lnTo>
                  <a:pt x="5315" y="1843"/>
                </a:lnTo>
                <a:close/>
                <a:moveTo>
                  <a:pt x="5315" y="4392"/>
                </a:moveTo>
                <a:lnTo>
                  <a:pt x="3401" y="4392"/>
                </a:lnTo>
                <a:lnTo>
                  <a:pt x="3401" y="3967"/>
                </a:lnTo>
                <a:lnTo>
                  <a:pt x="5315" y="3967"/>
                </a:lnTo>
                <a:lnTo>
                  <a:pt x="5315" y="4392"/>
                </a:lnTo>
                <a:close/>
                <a:moveTo>
                  <a:pt x="5315" y="2693"/>
                </a:moveTo>
                <a:lnTo>
                  <a:pt x="3401" y="2693"/>
                </a:lnTo>
                <a:lnTo>
                  <a:pt x="3401" y="2268"/>
                </a:lnTo>
                <a:lnTo>
                  <a:pt x="5315" y="2268"/>
                </a:lnTo>
                <a:lnTo>
                  <a:pt x="5315" y="2693"/>
                </a:lnTo>
                <a:close/>
                <a:moveTo>
                  <a:pt x="5315" y="5243"/>
                </a:moveTo>
                <a:lnTo>
                  <a:pt x="3401" y="5243"/>
                </a:lnTo>
                <a:lnTo>
                  <a:pt x="3401" y="4817"/>
                </a:lnTo>
                <a:lnTo>
                  <a:pt x="5315" y="4817"/>
                </a:lnTo>
                <a:lnTo>
                  <a:pt x="5315" y="5243"/>
                </a:lnTo>
                <a:close/>
                <a:moveTo>
                  <a:pt x="5315" y="6092"/>
                </a:moveTo>
                <a:lnTo>
                  <a:pt x="3401" y="6092"/>
                </a:lnTo>
                <a:lnTo>
                  <a:pt x="3401" y="5666"/>
                </a:lnTo>
                <a:lnTo>
                  <a:pt x="5315" y="5666"/>
                </a:lnTo>
                <a:lnTo>
                  <a:pt x="5315" y="6092"/>
                </a:lnTo>
                <a:close/>
                <a:moveTo>
                  <a:pt x="5315" y="6942"/>
                </a:moveTo>
                <a:lnTo>
                  <a:pt x="3401" y="6942"/>
                </a:lnTo>
                <a:lnTo>
                  <a:pt x="3401" y="6517"/>
                </a:lnTo>
                <a:lnTo>
                  <a:pt x="5315" y="6517"/>
                </a:lnTo>
                <a:lnTo>
                  <a:pt x="5315" y="6942"/>
                </a:lnTo>
                <a:close/>
                <a:moveTo>
                  <a:pt x="6733" y="709"/>
                </a:moveTo>
                <a:lnTo>
                  <a:pt x="6945" y="709"/>
                </a:lnTo>
                <a:lnTo>
                  <a:pt x="6968" y="709"/>
                </a:lnTo>
                <a:lnTo>
                  <a:pt x="6988" y="713"/>
                </a:lnTo>
                <a:lnTo>
                  <a:pt x="7008" y="717"/>
                </a:lnTo>
                <a:lnTo>
                  <a:pt x="7028" y="725"/>
                </a:lnTo>
                <a:lnTo>
                  <a:pt x="7047" y="735"/>
                </a:lnTo>
                <a:lnTo>
                  <a:pt x="7064" y="745"/>
                </a:lnTo>
                <a:lnTo>
                  <a:pt x="7080" y="756"/>
                </a:lnTo>
                <a:lnTo>
                  <a:pt x="7096" y="771"/>
                </a:lnTo>
                <a:lnTo>
                  <a:pt x="7109" y="785"/>
                </a:lnTo>
                <a:lnTo>
                  <a:pt x="7122" y="802"/>
                </a:lnTo>
                <a:lnTo>
                  <a:pt x="7132" y="820"/>
                </a:lnTo>
                <a:lnTo>
                  <a:pt x="7141" y="838"/>
                </a:lnTo>
                <a:lnTo>
                  <a:pt x="7148" y="857"/>
                </a:lnTo>
                <a:lnTo>
                  <a:pt x="7154" y="879"/>
                </a:lnTo>
                <a:lnTo>
                  <a:pt x="7157" y="899"/>
                </a:lnTo>
                <a:lnTo>
                  <a:pt x="7158" y="920"/>
                </a:lnTo>
                <a:lnTo>
                  <a:pt x="7158" y="8291"/>
                </a:lnTo>
                <a:lnTo>
                  <a:pt x="7157" y="8331"/>
                </a:lnTo>
                <a:lnTo>
                  <a:pt x="7154" y="8370"/>
                </a:lnTo>
                <a:lnTo>
                  <a:pt x="7149" y="8409"/>
                </a:lnTo>
                <a:lnTo>
                  <a:pt x="7142" y="8448"/>
                </a:lnTo>
                <a:lnTo>
                  <a:pt x="7134" y="8485"/>
                </a:lnTo>
                <a:lnTo>
                  <a:pt x="7123" y="8523"/>
                </a:lnTo>
                <a:lnTo>
                  <a:pt x="7110" y="8559"/>
                </a:lnTo>
                <a:lnTo>
                  <a:pt x="7096" y="8595"/>
                </a:lnTo>
                <a:lnTo>
                  <a:pt x="7082" y="8629"/>
                </a:lnTo>
                <a:lnTo>
                  <a:pt x="7064" y="8662"/>
                </a:lnTo>
                <a:lnTo>
                  <a:pt x="7046" y="8696"/>
                </a:lnTo>
                <a:lnTo>
                  <a:pt x="7024" y="8727"/>
                </a:lnTo>
                <a:lnTo>
                  <a:pt x="7002" y="8758"/>
                </a:lnTo>
                <a:lnTo>
                  <a:pt x="6979" y="8786"/>
                </a:lnTo>
                <a:lnTo>
                  <a:pt x="6955" y="8815"/>
                </a:lnTo>
                <a:lnTo>
                  <a:pt x="6929" y="8842"/>
                </a:lnTo>
                <a:lnTo>
                  <a:pt x="6902" y="8868"/>
                </a:lnTo>
                <a:lnTo>
                  <a:pt x="6874" y="8893"/>
                </a:lnTo>
                <a:lnTo>
                  <a:pt x="6844" y="8916"/>
                </a:lnTo>
                <a:lnTo>
                  <a:pt x="6814" y="8937"/>
                </a:lnTo>
                <a:lnTo>
                  <a:pt x="6782" y="8958"/>
                </a:lnTo>
                <a:lnTo>
                  <a:pt x="6749" y="8976"/>
                </a:lnTo>
                <a:lnTo>
                  <a:pt x="6716" y="8994"/>
                </a:lnTo>
                <a:lnTo>
                  <a:pt x="6681" y="9009"/>
                </a:lnTo>
                <a:lnTo>
                  <a:pt x="6647" y="9024"/>
                </a:lnTo>
                <a:lnTo>
                  <a:pt x="6609" y="9035"/>
                </a:lnTo>
                <a:lnTo>
                  <a:pt x="6573" y="9045"/>
                </a:lnTo>
                <a:lnTo>
                  <a:pt x="6536" y="9054"/>
                </a:lnTo>
                <a:lnTo>
                  <a:pt x="6497" y="9061"/>
                </a:lnTo>
                <a:lnTo>
                  <a:pt x="6458" y="9067"/>
                </a:lnTo>
                <a:lnTo>
                  <a:pt x="6418" y="9070"/>
                </a:lnTo>
                <a:lnTo>
                  <a:pt x="6379" y="9070"/>
                </a:lnTo>
                <a:lnTo>
                  <a:pt x="921" y="9070"/>
                </a:lnTo>
                <a:lnTo>
                  <a:pt x="900" y="9070"/>
                </a:lnTo>
                <a:lnTo>
                  <a:pt x="878" y="9066"/>
                </a:lnTo>
                <a:lnTo>
                  <a:pt x="858" y="9061"/>
                </a:lnTo>
                <a:lnTo>
                  <a:pt x="838" y="9054"/>
                </a:lnTo>
                <a:lnTo>
                  <a:pt x="821" y="9045"/>
                </a:lnTo>
                <a:lnTo>
                  <a:pt x="802" y="9034"/>
                </a:lnTo>
                <a:lnTo>
                  <a:pt x="786" y="9022"/>
                </a:lnTo>
                <a:lnTo>
                  <a:pt x="772" y="9008"/>
                </a:lnTo>
                <a:lnTo>
                  <a:pt x="757" y="8994"/>
                </a:lnTo>
                <a:lnTo>
                  <a:pt x="746" y="8976"/>
                </a:lnTo>
                <a:lnTo>
                  <a:pt x="734" y="8959"/>
                </a:lnTo>
                <a:lnTo>
                  <a:pt x="726" y="8940"/>
                </a:lnTo>
                <a:lnTo>
                  <a:pt x="718" y="8922"/>
                </a:lnTo>
                <a:lnTo>
                  <a:pt x="713" y="8901"/>
                </a:lnTo>
                <a:lnTo>
                  <a:pt x="710" y="8880"/>
                </a:lnTo>
                <a:lnTo>
                  <a:pt x="708" y="8858"/>
                </a:lnTo>
                <a:lnTo>
                  <a:pt x="708" y="8645"/>
                </a:lnTo>
                <a:lnTo>
                  <a:pt x="1134" y="8645"/>
                </a:lnTo>
                <a:lnTo>
                  <a:pt x="6379" y="8645"/>
                </a:lnTo>
                <a:lnTo>
                  <a:pt x="6396" y="8645"/>
                </a:lnTo>
                <a:lnTo>
                  <a:pt x="6415" y="8644"/>
                </a:lnTo>
                <a:lnTo>
                  <a:pt x="6432" y="8641"/>
                </a:lnTo>
                <a:lnTo>
                  <a:pt x="6450" y="8638"/>
                </a:lnTo>
                <a:lnTo>
                  <a:pt x="6467" y="8634"/>
                </a:lnTo>
                <a:lnTo>
                  <a:pt x="6484" y="8629"/>
                </a:lnTo>
                <a:lnTo>
                  <a:pt x="6500" y="8624"/>
                </a:lnTo>
                <a:lnTo>
                  <a:pt x="6516" y="8618"/>
                </a:lnTo>
                <a:lnTo>
                  <a:pt x="6532" y="8611"/>
                </a:lnTo>
                <a:lnTo>
                  <a:pt x="6547" y="8602"/>
                </a:lnTo>
                <a:lnTo>
                  <a:pt x="6562" y="8593"/>
                </a:lnTo>
                <a:lnTo>
                  <a:pt x="6576" y="8585"/>
                </a:lnTo>
                <a:lnTo>
                  <a:pt x="6591" y="8575"/>
                </a:lnTo>
                <a:lnTo>
                  <a:pt x="6604" y="8565"/>
                </a:lnTo>
                <a:lnTo>
                  <a:pt x="6617" y="8553"/>
                </a:lnTo>
                <a:lnTo>
                  <a:pt x="6628" y="8542"/>
                </a:lnTo>
                <a:lnTo>
                  <a:pt x="6641" y="8529"/>
                </a:lnTo>
                <a:lnTo>
                  <a:pt x="6651" y="8516"/>
                </a:lnTo>
                <a:lnTo>
                  <a:pt x="6663" y="8503"/>
                </a:lnTo>
                <a:lnTo>
                  <a:pt x="6673" y="8488"/>
                </a:lnTo>
                <a:lnTo>
                  <a:pt x="6681" y="8474"/>
                </a:lnTo>
                <a:lnTo>
                  <a:pt x="6690" y="8459"/>
                </a:lnTo>
                <a:lnTo>
                  <a:pt x="6697" y="8444"/>
                </a:lnTo>
                <a:lnTo>
                  <a:pt x="6704" y="8429"/>
                </a:lnTo>
                <a:lnTo>
                  <a:pt x="6712" y="8412"/>
                </a:lnTo>
                <a:lnTo>
                  <a:pt x="6717" y="8396"/>
                </a:lnTo>
                <a:lnTo>
                  <a:pt x="6722" y="8379"/>
                </a:lnTo>
                <a:lnTo>
                  <a:pt x="6726" y="8362"/>
                </a:lnTo>
                <a:lnTo>
                  <a:pt x="6729" y="8344"/>
                </a:lnTo>
                <a:lnTo>
                  <a:pt x="6730" y="8327"/>
                </a:lnTo>
                <a:lnTo>
                  <a:pt x="6732" y="8310"/>
                </a:lnTo>
                <a:lnTo>
                  <a:pt x="6733" y="8291"/>
                </a:lnTo>
                <a:lnTo>
                  <a:pt x="6733" y="920"/>
                </a:lnTo>
                <a:lnTo>
                  <a:pt x="6733" y="920"/>
                </a:lnTo>
                <a:lnTo>
                  <a:pt x="6733" y="709"/>
                </a:lnTo>
                <a:close/>
              </a:path>
            </a:pathLst>
          </a:custGeom>
          <a:solidFill>
            <a:srgbClr val="DCD3E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841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F004596-91F9-40AB-9001-5CF6E5B3E45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" y="0"/>
            <a:ext cx="12191814" cy="68580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0B3F63A-AEAE-4EC2-97E8-DF97540979B5}"/>
              </a:ext>
            </a:extLst>
          </p:cNvPr>
          <p:cNvSpPr/>
          <p:nvPr/>
        </p:nvSpPr>
        <p:spPr>
          <a:xfrm>
            <a:off x="2495826" y="716433"/>
            <a:ext cx="7522818" cy="4770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endParaRPr lang="ru-RU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41FEDCC-1059-4C29-991C-ECFCE2248A66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4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152338" y="1407926"/>
            <a:ext cx="9921474" cy="427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just" eaLnBrk="1" fontAlgn="auto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</a:pP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ступность информации по ценам на основные биржевые товары  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213193" y="306647"/>
            <a:ext cx="445307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нефтепродуктов:</a:t>
            </a:r>
          </a:p>
          <a:p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зор рынка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34523" y="5906505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 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6010" y="1864185"/>
            <a:ext cx="7772400" cy="489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694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7183C2A7-7D4A-4417-A2FC-27F90490F71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28"/>
            <a:ext cx="12192000" cy="6856144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612DE06-20FF-41A9-9D07-C037161155BA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98D237B-3203-49B9-A634-B43AD4390AAA}"/>
              </a:ext>
            </a:extLst>
          </p:cNvPr>
          <p:cNvSpPr/>
          <p:nvPr/>
        </p:nvSpPr>
        <p:spPr>
          <a:xfrm>
            <a:off x="2181225" y="688551"/>
            <a:ext cx="8056250" cy="4770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имущества работы на биржевом рынке</a:t>
            </a:r>
            <a:endParaRPr lang="ru-RU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6136" y="1366018"/>
            <a:ext cx="2099978" cy="549105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666187" y="1579903"/>
            <a:ext cx="8953468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SzPct val="140000"/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остоянный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ступ к биржевому товару</a:t>
            </a:r>
          </a:p>
          <a:p>
            <a:pPr marL="342900" indent="-342900" algn="just">
              <a:spcAft>
                <a:spcPts val="1200"/>
              </a:spcAft>
              <a:buSzPct val="140000"/>
              <a:buFont typeface="Wingdings" panose="05000000000000000000" pitchFamily="2" charset="2"/>
              <a:buChar char="Ø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Единый договор поставки </a:t>
            </a:r>
          </a:p>
          <a:p>
            <a:pPr marL="342900" indent="-342900" algn="just">
              <a:spcAft>
                <a:spcPts val="1200"/>
              </a:spcAft>
              <a:buSzPct val="140000"/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ланирования закупок</a:t>
            </a:r>
          </a:p>
          <a:p>
            <a:pPr marL="342900" indent="-342900" algn="just">
              <a:spcAft>
                <a:spcPts val="1200"/>
              </a:spcAft>
              <a:buSzPct val="140000"/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Гарантия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воевременной отгрузки вне зависимости от сезона</a:t>
            </a:r>
          </a:p>
          <a:p>
            <a:pPr marL="342900" indent="-342900" algn="just">
              <a:spcAft>
                <a:spcPts val="1200"/>
              </a:spcAft>
              <a:buSzPct val="140000"/>
              <a:buFont typeface="Wingdings" panose="05000000000000000000" pitchFamily="2" charset="2"/>
              <a:buChar char="Ø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Гарантия качества и легального происхождения товара</a:t>
            </a:r>
          </a:p>
          <a:p>
            <a:pPr marL="342900" indent="-342900" algn="just">
              <a:spcAft>
                <a:spcPts val="1200"/>
              </a:spcAft>
              <a:buSzPct val="140000"/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Индикаторы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рыночной цены,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которые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можно использовать в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договорах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spcAft>
                <a:spcPts val="1200"/>
              </a:spcAft>
              <a:buSzPct val="140000"/>
              <a:buFont typeface="Wingdings" panose="05000000000000000000" pitchFamily="2" charset="2"/>
              <a:buChar char="Ø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озможность оказания брокерских услуг</a:t>
            </a:r>
          </a:p>
          <a:p>
            <a:pPr marL="342900" indent="-342900" algn="just">
              <a:spcAft>
                <a:spcPts val="1200"/>
              </a:spcAft>
              <a:buSzPct val="140000"/>
              <a:buFont typeface="Wingdings" panose="05000000000000000000" pitchFamily="2" charset="2"/>
              <a:buChar char="Ø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озможность принимать участие в торгах в качестве клиента брокера</a:t>
            </a:r>
          </a:p>
          <a:p>
            <a:pPr marL="342900" indent="-342900" algn="just">
              <a:spcAft>
                <a:spcPts val="1200"/>
              </a:spcAft>
              <a:buSzPct val="140000"/>
              <a:buFont typeface="Wingdings" panose="05000000000000000000" pitchFamily="2" charset="2"/>
              <a:buChar char="Ø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тсутствие ограничений на поставку в другие регионы</a:t>
            </a:r>
          </a:p>
          <a:p>
            <a:pPr marL="342900" indent="-342900" algn="just">
              <a:spcAft>
                <a:spcPts val="1200"/>
              </a:spcAft>
              <a:buSzPct val="140000"/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Доверие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клиентов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татус участника биржевых торгов подтверждает состоятельность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ании 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352550"/>
            <a:ext cx="2095500" cy="5505450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466477D-B06B-4AF7-9893-E6FFDE0E3D5E}"/>
              </a:ext>
            </a:extLst>
          </p:cNvPr>
          <p:cNvSpPr/>
          <p:nvPr/>
        </p:nvSpPr>
        <p:spPr>
          <a:xfrm>
            <a:off x="-7794" y="5598076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5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05B9A93-110F-4512-BBF4-C98D3222E30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814" cy="6858000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05DB7FF-7F54-45D3-AF77-3F3EFC42B874}"/>
              </a:ext>
            </a:extLst>
          </p:cNvPr>
          <p:cNvSpPr/>
          <p:nvPr/>
        </p:nvSpPr>
        <p:spPr>
          <a:xfrm>
            <a:off x="2093843" y="1652477"/>
            <a:ext cx="742893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ЕПРОДУКТЫ</a:t>
            </a:r>
            <a:endParaRPr lang="ru-RU" sz="4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466477D-B06B-4AF7-9893-E6FFDE0E3D5E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 smtClean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6</a:t>
            </a:r>
            <a:endParaRPr lang="ru-RU" sz="7200" dirty="0">
              <a:solidFill>
                <a:schemeClr val="bg1"/>
              </a:solidFill>
              <a:latin typeface="Arial Nova Light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F004596-91F9-40AB-9001-5CF6E5B3E45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" y="0"/>
            <a:ext cx="12191814" cy="68580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0B3F63A-AEAE-4EC2-97E8-DF97540979B5}"/>
              </a:ext>
            </a:extLst>
          </p:cNvPr>
          <p:cNvSpPr/>
          <p:nvPr/>
        </p:nvSpPr>
        <p:spPr>
          <a:xfrm>
            <a:off x="2240618" y="353572"/>
            <a:ext cx="9574254" cy="86177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истика торговой активности</a:t>
            </a:r>
          </a:p>
          <a:p>
            <a:pPr>
              <a:lnSpc>
                <a:spcPts val="3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торгов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2F71941-384D-4297-A3B5-2551825BE60B}"/>
              </a:ext>
            </a:extLst>
          </p:cNvPr>
          <p:cNvSpPr/>
          <p:nvPr/>
        </p:nvSpPr>
        <p:spPr>
          <a:xfrm>
            <a:off x="2495825" y="1611809"/>
            <a:ext cx="398686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 руб.</a:t>
            </a:r>
            <a:endParaRPr lang="ru-RU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7880885-91CE-4262-9850-99975A50287C}"/>
              </a:ext>
            </a:extLst>
          </p:cNvPr>
          <p:cNvSpPr/>
          <p:nvPr/>
        </p:nvSpPr>
        <p:spPr>
          <a:xfrm>
            <a:off x="7828010" y="1654700"/>
            <a:ext cx="398686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ыс. тонн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41FEDCC-1059-4C29-991C-ECFCE2248A66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4108851"/>
              </p:ext>
            </p:extLst>
          </p:nvPr>
        </p:nvGraphicFramePr>
        <p:xfrm>
          <a:off x="2093843" y="2171700"/>
          <a:ext cx="5417098" cy="3729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8763419"/>
              </p:ext>
            </p:extLst>
          </p:nvPr>
        </p:nvGraphicFramePr>
        <p:xfrm>
          <a:off x="6825342" y="2054810"/>
          <a:ext cx="5366657" cy="3886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F004596-91F9-40AB-9001-5CF6E5B3E45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814" cy="68580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0B3F63A-AEAE-4EC2-97E8-DF97540979B5}"/>
              </a:ext>
            </a:extLst>
          </p:cNvPr>
          <p:cNvSpPr/>
          <p:nvPr/>
        </p:nvSpPr>
        <p:spPr>
          <a:xfrm>
            <a:off x="2495826" y="716433"/>
            <a:ext cx="7522818" cy="4770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endParaRPr lang="ru-RU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41FEDCC-1059-4C29-991C-ECFCE2248A66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6272" y="2075877"/>
            <a:ext cx="5334462" cy="273734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8283772" y="4996725"/>
            <a:ext cx="3738504" cy="14957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eaLnBrk="1" fontAlgn="auto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орги нефтепродуктами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водятся на базисах большого числа НПЗ, расположенных по всей территории РФ. </a:t>
            </a:r>
          </a:p>
          <a:p>
            <a:pPr marL="0" lvl="4" eaLnBrk="1" fontAlgn="auto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Любой покупатель имеет возможность обеспечить поставки товара, приобретенного на бирже, на ж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д станцию на территории РФ.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6272" y="3315691"/>
            <a:ext cx="4840644" cy="1316850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2213192" y="1820531"/>
            <a:ext cx="4932127" cy="1507286"/>
          </a:xfrm>
          <a:prstGeom prst="rect">
            <a:avLst/>
          </a:prstGeom>
          <a:noFill/>
        </p:spPr>
        <p:txBody>
          <a:bodyPr wrap="square" numCol="2" spcCol="0">
            <a:normAutofit lnSpcReduction="10000"/>
          </a:bodyPr>
          <a:lstStyle/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анко-вагон </a:t>
            </a:r>
            <a:r>
              <a:rPr lang="ru-RU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ция отправления;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овывоз автотранспортом;</a:t>
            </a:r>
            <a:endParaRPr lang="ru-RU" sz="1400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анко-резервуар;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овывоз </a:t>
            </a:r>
            <a:r>
              <a:rPr lang="ru-RU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/д </a:t>
            </a:r>
            <a:r>
              <a:rPr lang="ru-RU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ортом</a:t>
            </a:r>
            <a:r>
              <a:rPr lang="en-US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400" dirty="0" smtClean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lang="ru-RU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ко-резервуар ОТП</a:t>
            </a:r>
            <a:r>
              <a:rPr lang="en-US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400" dirty="0" smtClean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анко-вагон станция назначения</a:t>
            </a:r>
            <a:r>
              <a:rPr lang="en-US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анко-труба;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анко-борт</a:t>
            </a:r>
            <a:r>
              <a:rPr lang="en-US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400" dirty="0" smtClean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lang="ru-RU" sz="1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ко-пункт назначения</a:t>
            </a:r>
            <a:endParaRPr lang="ru-RU" sz="1400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13193" y="306647"/>
            <a:ext cx="445307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нефтепродуктов:</a:t>
            </a:r>
          </a:p>
          <a:p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зор рынка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13192" y="3319695"/>
            <a:ext cx="42002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Структура торгов по условиям поставки в 2018г:</a:t>
            </a:r>
            <a:endParaRPr lang="ru-RU" sz="14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7398148" y="1789485"/>
            <a:ext cx="42002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Призаводские базисы поставки на территории РФ:</a:t>
            </a:r>
            <a:endParaRPr lang="ru-RU" sz="1400" b="1" dirty="0"/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/>
          </p:nvPr>
        </p:nvGraphicFramePr>
        <p:xfrm>
          <a:off x="1994296" y="3599189"/>
          <a:ext cx="5577278" cy="3349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2213193" y="1429957"/>
            <a:ext cx="42002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Поставка на условиях: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335264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F004596-91F9-40AB-9001-5CF6E5B3E45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" y="0"/>
            <a:ext cx="12191814" cy="68580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0B3F63A-AEAE-4EC2-97E8-DF97540979B5}"/>
              </a:ext>
            </a:extLst>
          </p:cNvPr>
          <p:cNvSpPr/>
          <p:nvPr/>
        </p:nvSpPr>
        <p:spPr>
          <a:xfrm>
            <a:off x="2495826" y="716433"/>
            <a:ext cx="7522818" cy="47705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>
              <a:lnSpc>
                <a:spcPts val="3000"/>
              </a:lnSpc>
            </a:pPr>
            <a:endParaRPr lang="ru-RU" sz="3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41FEDCC-1059-4C29-991C-ECFCE2248A66}"/>
              </a:ext>
            </a:extLst>
          </p:cNvPr>
          <p:cNvSpPr/>
          <p:nvPr/>
        </p:nvSpPr>
        <p:spPr>
          <a:xfrm>
            <a:off x="0" y="5539409"/>
            <a:ext cx="20938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7200" dirty="0">
                <a:solidFill>
                  <a:schemeClr val="bg1"/>
                </a:solidFill>
                <a:latin typeface="Arial Nova Light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152338" y="1407926"/>
            <a:ext cx="9921474" cy="427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just" eaLnBrk="1" fontAlgn="auto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</a:pP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лижайшие к Липецкой области нефтеперерабатывающие заводы: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213193" y="306647"/>
            <a:ext cx="445307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нефтепродуктов:</a:t>
            </a:r>
          </a:p>
          <a:p>
            <a:r>
              <a:rPr lang="ru-RU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зор рынка</a:t>
            </a:r>
            <a:endParaRPr lang="ru-RU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34523" y="5906505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 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11792" y="2127916"/>
            <a:ext cx="5313165" cy="4147921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8874827" y="2774133"/>
            <a:ext cx="309523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just" eaLnBrk="1" fontAlgn="auto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Рязанский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НПЗ,</a:t>
            </a:r>
          </a:p>
          <a:p>
            <a:pPr marL="0" lvl="4" algn="just" eaLnBrk="1" fontAlgn="auto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Московский НПЗ, </a:t>
            </a:r>
          </a:p>
          <a:p>
            <a:pPr marL="0" lvl="4" algn="just" eaLnBrk="1" fontAlgn="auto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аратовский НПЗ </a:t>
            </a:r>
          </a:p>
        </p:txBody>
      </p:sp>
      <p:cxnSp>
        <p:nvCxnSpPr>
          <p:cNvPr id="20" name="Прямая со стрелкой 19"/>
          <p:cNvCxnSpPr/>
          <p:nvPr/>
        </p:nvCxnSpPr>
        <p:spPr>
          <a:xfrm>
            <a:off x="4033520" y="3254229"/>
            <a:ext cx="601003" cy="139905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>
            <a:off x="4872089" y="4074160"/>
            <a:ext cx="0" cy="57912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 flipH="1" flipV="1">
            <a:off x="5119077" y="5095631"/>
            <a:ext cx="1993998" cy="359507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8873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ZGevifqaUiMeeRyzh5DT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rDPceNIECRN_RXh_Frc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9xGTEGxaUW7xaw9u_VDS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XaPPh99SkqAckHPoEinH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tYTUmaUyZh7BENwZle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Uh.zhO3kqQXpg70guBa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g6OHD7EEi6xY2G5.2yY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Tub6mwVo0Wop2FDk.ADF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TQtcyVRWkGjp5mWMZ4A5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FfpqUoU6XB11R0hyP9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nns6RcPv0qFatsds6W1H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JnTH4qBh0WlATv7PQOd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A.e3HjbKE.YWNbq9I_J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T06A_09ekGBVlueVCkVW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q6pvUI.SkmH.fEXZ.8GR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tZzA2ezRkGT5.NVHJJDA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8i8HagYTkST89OO3.wn0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ofsrNg_oEWbStWQqBo97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LqKpjxiDEKPeZNy5SQ56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As66b0iKUy23d.JPk8Kr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QGEZoiqlUqa6Ufi_LtS9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k3.x5VPE.OI23cDtEV.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GblDkC0qhnR5grOsf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EOqQLSaB02QOvVMcmWps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UAw63YHq0WuRF9SJjWz8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6e.x9bZPUaSsBw9aVU.i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F.ZafpEBUKHb9.BoLt.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T2WVS_RJ0CxqBypZv8d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lgJcsj6WUSwAukFX.TX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XyAhKRavEiXgPXjwK2S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zX2h2ePWUmv_3o4a0pv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oPJoFDAGU2JktvOBuS5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dgd9ZnutkOFWH4D1qKWG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s_96XFmfUGhrvBZeVkG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xzzTVN10eeEoXJyO.kB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OJSljBzJ0.2oN74Ybk.0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TyUDYIJe0aQH1OAhkuT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JKq5.3HdkePKe8y_pw2k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gbCaUlN802yfgM79xcT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cCquPjkuEad97GqzcMRu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tQU01pj10CdyYtr7rRS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NhpYjBydUGmNG1tC_0q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wBT1tb_rUeOS8YAW3pa3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B87Bq4SfEaAcUH_hgQV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ncQsIiU6yYjL5qG5E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MvsTVpSiEqDePQOoauj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5Yjfw4eAEqmtAbJH3Mh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UdEfj1JkUO_BmWZ35Uu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RZ5VKrX4028vBzNNhY8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5Qw_v4_20alxA9K.Q0V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XmreAiDo0.icT1Ljtk2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nLozcLfD0KR.L5Zi2bNL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j844cEHi0GDzszWl8rC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88CdTZnn0e5j0A9SKkz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x1543AtNU2Cg016ouJf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1zLpExgE0aeKddGRpeV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JvTpX8ylkmesA7gfbWa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fwQ35HqZE6MFlf5510vc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hUc0GNtbE2UVPlnLnEE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.R7RdzaCUmWOJmYBdPc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bADnSccEEGA6rIYMCr7j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J0hvuvT_0W9FjaUeMiki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tehVncxT0OXLxfejc9r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sVqnZYSUEydzbbnpcgM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1FhmKryEOvXr6Ds5pDB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KNUbCnGYke38kDJIU2hB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COxa9MT20GjB3EklUI0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03fZM_rQ0GO1iaOZpn6i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_mGDbSUWVPdCXlc3G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10B0JGkK_FD_7RV2wQ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VCV7B5xAkyIcpwgUZLH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AaLBjKQjkmgmNUe1rdU_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J_xEHLqA0SST0Cl_idW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DgWNvCdC0K2wM6mW71QI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uljX_3I2U2P1U8rbnyw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O_vvp5eUUKxelDHzjap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pePo4dPDUqdt3Ey3xzLK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iZdpOiGB06hptthpVxy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yPIYrve1Eug__oWVkivw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lT3Mkx5EEm7IlVh.umTX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0k5N6pGVUSqryrHfxe64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aEclG.F4U6Z2IXC4Y3Pk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5cBfbYZz0imtiyUdoftL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WqDwR_yHkOY1pKV4uID7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UwUKQL7tUG3xR8tSJtR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Txtb3HStUm1ADXwWxhR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NcpEAeprUi.kLQVprbzi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rJo.bt0GFCV81ISYiF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FH5v.8fLkiNoUB2zZGt_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OpsiU6r4Uqbh9PrakTt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Pjkth5wekqYYpBPGb64j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WsSv1nBgUa3Z4lta1mL_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sCgeQGP_U.PLqEe1OcIG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Xok0xVkeEy5zEYbyowcx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GAvYJEpY0KP.2TC_NBXk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ng_SAZbka7yetd5utO2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fu.03qpjUWbBOmEIQ30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uBa7Vmqe06PpPWHvsB4f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JD6UDZnUUyk0jLo18_8K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KKeFhp7n06Pii_bAazU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7vIFNcuY0OUPmy5oULxy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S14ogtVSka67yZfS7mYc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To7opZ.Q0iIdIMZ_y8t6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j1gyK2Pq0uphLfCGf_OM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Elhh6eyJEK4volrmYCnC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vetS2.9gEiYysDPMREW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o_N_gqc.USi3RnUB6JP0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J6GOh9ESPJY746eu2m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k6vmz3QU0WQn_BQ4fjZt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KoAlSLk8YEeHbT1jCJRa7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psBR7ghZUyZbAOZ7v6X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S5.Vu_Dg06HUpWOq0wo.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Shwyz7XsEG9jflbklGhy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ajz82MEv0yfZVSTEq7Nj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enRSgRhUE2O_Edxr0IH0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7X1hwyTO0yUcmPg5NiCb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oKoiZLTL0qGka6P_ltTx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q9zx3LMgEebu8Z1uSMSz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J10xqUZQEGi98_5oP71D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oU_nmlFYkK9CRv1kH9tY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idCA82lNEWDxYBO6f7M9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HQ_i4.FS069.tqOg5x2i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52</TotalTime>
  <Words>2875</Words>
  <Application>Microsoft Office PowerPoint</Application>
  <PresentationFormat>Широкоэкранный</PresentationFormat>
  <Paragraphs>516</Paragraphs>
  <Slides>32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42" baseType="lpstr">
      <vt:lpstr>Arial</vt:lpstr>
      <vt:lpstr>Arial Black</vt:lpstr>
      <vt:lpstr>Arial Nova Light</vt:lpstr>
      <vt:lpstr>Calibri</vt:lpstr>
      <vt:lpstr>Calibri Light</vt:lpstr>
      <vt:lpstr>Segoe UI</vt:lpstr>
      <vt:lpstr>Segoe UI Light</vt:lpstr>
      <vt:lpstr>Wingdings</vt:lpstr>
      <vt:lpstr>Тема Office</vt:lpstr>
      <vt:lpstr>CorelDRAW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ат Измайлов</dc:creator>
  <cp:lastModifiedBy>Гудков Александр Георгиевич</cp:lastModifiedBy>
  <cp:revision>257</cp:revision>
  <cp:lastPrinted>2018-12-12T10:47:19Z</cp:lastPrinted>
  <dcterms:created xsi:type="dcterms:W3CDTF">2018-09-13T14:04:40Z</dcterms:created>
  <dcterms:modified xsi:type="dcterms:W3CDTF">2019-02-13T12:43:30Z</dcterms:modified>
</cp:coreProperties>
</file>